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omments/modernComment_144_C3B4110F.xml" ContentType="application/vnd.ms-powerpoint.comment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163" r:id="rId4"/>
  </p:sldMasterIdLst>
  <p:notesMasterIdLst>
    <p:notesMasterId r:id="rId70"/>
  </p:notesMasterIdLst>
  <p:handoutMasterIdLst>
    <p:handoutMasterId r:id="rId71"/>
  </p:handoutMasterIdLst>
  <p:sldIdLst>
    <p:sldId id="2147480390" r:id="rId5"/>
    <p:sldId id="2147480571" r:id="rId6"/>
    <p:sldId id="2147480573" r:id="rId7"/>
    <p:sldId id="313" r:id="rId8"/>
    <p:sldId id="329" r:id="rId9"/>
    <p:sldId id="280" r:id="rId10"/>
    <p:sldId id="2147480574" r:id="rId11"/>
    <p:sldId id="2147480438" r:id="rId12"/>
    <p:sldId id="263" r:id="rId13"/>
    <p:sldId id="2147480416" r:id="rId14"/>
    <p:sldId id="258" r:id="rId15"/>
    <p:sldId id="2147480444" r:id="rId16"/>
    <p:sldId id="293" r:id="rId17"/>
    <p:sldId id="2147480447" r:id="rId18"/>
    <p:sldId id="2147480461" r:id="rId19"/>
    <p:sldId id="2147480452" r:id="rId20"/>
    <p:sldId id="2147480459" r:id="rId21"/>
    <p:sldId id="285" r:id="rId22"/>
    <p:sldId id="323" r:id="rId23"/>
    <p:sldId id="326" r:id="rId24"/>
    <p:sldId id="327" r:id="rId25"/>
    <p:sldId id="2147480563" r:id="rId26"/>
    <p:sldId id="330" r:id="rId27"/>
    <p:sldId id="332" r:id="rId28"/>
    <p:sldId id="2147480572" r:id="rId29"/>
    <p:sldId id="277" r:id="rId30"/>
    <p:sldId id="2147483646" r:id="rId31"/>
    <p:sldId id="281" r:id="rId32"/>
    <p:sldId id="300" r:id="rId33"/>
    <p:sldId id="299" r:id="rId34"/>
    <p:sldId id="333" r:id="rId35"/>
    <p:sldId id="256" r:id="rId36"/>
    <p:sldId id="336" r:id="rId37"/>
    <p:sldId id="2147483647" r:id="rId38"/>
    <p:sldId id="312" r:id="rId39"/>
    <p:sldId id="338" r:id="rId40"/>
    <p:sldId id="296" r:id="rId41"/>
    <p:sldId id="339" r:id="rId42"/>
    <p:sldId id="320" r:id="rId43"/>
    <p:sldId id="271" r:id="rId44"/>
    <p:sldId id="270" r:id="rId45"/>
    <p:sldId id="260" r:id="rId46"/>
    <p:sldId id="261" r:id="rId47"/>
    <p:sldId id="268" r:id="rId48"/>
    <p:sldId id="273" r:id="rId49"/>
    <p:sldId id="274" r:id="rId50"/>
    <p:sldId id="337" r:id="rId51"/>
    <p:sldId id="297" r:id="rId52"/>
    <p:sldId id="334" r:id="rId53"/>
    <p:sldId id="257" r:id="rId54"/>
    <p:sldId id="298" r:id="rId55"/>
    <p:sldId id="269" r:id="rId56"/>
    <p:sldId id="275" r:id="rId57"/>
    <p:sldId id="265" r:id="rId58"/>
    <p:sldId id="267" r:id="rId59"/>
    <p:sldId id="324" r:id="rId60"/>
    <p:sldId id="291" r:id="rId61"/>
    <p:sldId id="259" r:id="rId62"/>
    <p:sldId id="301" r:id="rId63"/>
    <p:sldId id="307" r:id="rId64"/>
    <p:sldId id="308" r:id="rId65"/>
    <p:sldId id="264" r:id="rId66"/>
    <p:sldId id="302" r:id="rId67"/>
    <p:sldId id="262" r:id="rId68"/>
    <p:sldId id="266" r:id="rId69"/>
  </p:sldIdLst>
  <p:sldSz cx="9144000" cy="5143500" type="screen16x9"/>
  <p:notesSz cx="6808788" cy="9940925"/>
  <p:embeddedFontLst>
    <p:embeddedFont>
      <p:font typeface="Arial Black" panose="020B0604020202020204" pitchFamily="34" charset="0"/>
      <p:bold r:id="rId72"/>
    </p:embeddedFont>
    <p:embeddedFont>
      <p:font typeface="Montserrat" pitchFamily="2" charset="77"/>
      <p:regular r:id="rId73"/>
      <p:bold r:id="rId74"/>
      <p:italic r:id="rId75"/>
      <p:boldItalic r:id="rId76"/>
    </p:embeddedFont>
    <p:embeddedFont>
      <p:font typeface="Proximus" pitchFamily="2" charset="77"/>
      <p:regular r:id="rId77"/>
      <p:bold r:id="rId78"/>
      <p:italic r:id="rId79"/>
      <p:boldItalic r:id="rId80"/>
    </p:embeddedFont>
    <p:embeddedFont>
      <p:font typeface="Proximus (Body)" pitchFamily="2" charset="77"/>
      <p:regular r:id="rId81"/>
      <p:bold r:id="rId82"/>
      <p:italic r:id="rId83"/>
      <p:boldItalic r:id="rId84"/>
    </p:embeddedFont>
    <p:embeddedFont>
      <p:font typeface="Proximus Bold" pitchFamily="2" charset="77"/>
      <p:bold r:id="rId85"/>
      <p:italic r:id="rId86"/>
      <p:boldItalic r:id="rId87"/>
    </p:embeddedFont>
    <p:embeddedFont>
      <p:font typeface="Proximus ExtraBold" pitchFamily="2" charset="77"/>
      <p:bold r:id="rId88"/>
    </p:embeddedFont>
    <p:embeddedFont>
      <p:font typeface="Proximus Light" pitchFamily="2" charset="77"/>
      <p:regular r:id="rId89"/>
      <p:italic r:id="rId90"/>
    </p:embeddedFont>
    <p:embeddedFont>
      <p:font typeface="Segoe UI" panose="020B0502040204020203" pitchFamily="34" charset="0"/>
      <p:regular r:id="rId91"/>
      <p:bold r:id="rId92"/>
      <p:italic r:id="rId93"/>
      <p:boldItalic r:id="rId94"/>
    </p:embeddedFont>
  </p:embeddedFontLst>
  <p:custDataLst>
    <p:tags r:id="rId95"/>
  </p:custDataLst>
  <p:defaultTextStyle>
    <a:defPPr>
      <a:defRPr lang="en-US"/>
    </a:defPPr>
    <a:lvl1pPr marL="0" algn="l" defTabSz="408104" rtl="0" eaLnBrk="1" latinLnBrk="0" hangingPunct="1">
      <a:defRPr sz="1620" kern="1200">
        <a:solidFill>
          <a:schemeClr val="tx1"/>
        </a:solidFill>
        <a:latin typeface="+mn-lt"/>
        <a:ea typeface="+mn-ea"/>
        <a:cs typeface="+mn-cs"/>
      </a:defRPr>
    </a:lvl1pPr>
    <a:lvl2pPr marL="408104" algn="l" defTabSz="408104" rtl="0" eaLnBrk="1" latinLnBrk="0" hangingPunct="1">
      <a:defRPr sz="1620" kern="1200">
        <a:solidFill>
          <a:schemeClr val="tx1"/>
        </a:solidFill>
        <a:latin typeface="+mn-lt"/>
        <a:ea typeface="+mn-ea"/>
        <a:cs typeface="+mn-cs"/>
      </a:defRPr>
    </a:lvl2pPr>
    <a:lvl3pPr marL="816209" algn="l" defTabSz="408104" rtl="0" eaLnBrk="1" latinLnBrk="0" hangingPunct="1">
      <a:defRPr sz="1620" kern="1200">
        <a:solidFill>
          <a:schemeClr val="tx1"/>
        </a:solidFill>
        <a:latin typeface="+mn-lt"/>
        <a:ea typeface="+mn-ea"/>
        <a:cs typeface="+mn-cs"/>
      </a:defRPr>
    </a:lvl3pPr>
    <a:lvl4pPr marL="1224314" algn="l" defTabSz="408104" rtl="0" eaLnBrk="1" latinLnBrk="0" hangingPunct="1">
      <a:defRPr sz="1620" kern="1200">
        <a:solidFill>
          <a:schemeClr val="tx1"/>
        </a:solidFill>
        <a:latin typeface="+mn-lt"/>
        <a:ea typeface="+mn-ea"/>
        <a:cs typeface="+mn-cs"/>
      </a:defRPr>
    </a:lvl4pPr>
    <a:lvl5pPr marL="1632419" algn="l" defTabSz="408104" rtl="0" eaLnBrk="1" latinLnBrk="0" hangingPunct="1">
      <a:defRPr sz="1620" kern="1200">
        <a:solidFill>
          <a:schemeClr val="tx1"/>
        </a:solidFill>
        <a:latin typeface="+mn-lt"/>
        <a:ea typeface="+mn-ea"/>
        <a:cs typeface="+mn-cs"/>
      </a:defRPr>
    </a:lvl5pPr>
    <a:lvl6pPr marL="2040523" algn="l" defTabSz="408104" rtl="0" eaLnBrk="1" latinLnBrk="0" hangingPunct="1">
      <a:defRPr sz="1620" kern="1200">
        <a:solidFill>
          <a:schemeClr val="tx1"/>
        </a:solidFill>
        <a:latin typeface="+mn-lt"/>
        <a:ea typeface="+mn-ea"/>
        <a:cs typeface="+mn-cs"/>
      </a:defRPr>
    </a:lvl6pPr>
    <a:lvl7pPr marL="2448629" algn="l" defTabSz="408104" rtl="0" eaLnBrk="1" latinLnBrk="0" hangingPunct="1">
      <a:defRPr sz="1620" kern="1200">
        <a:solidFill>
          <a:schemeClr val="tx1"/>
        </a:solidFill>
        <a:latin typeface="+mn-lt"/>
        <a:ea typeface="+mn-ea"/>
        <a:cs typeface="+mn-cs"/>
      </a:defRPr>
    </a:lvl7pPr>
    <a:lvl8pPr marL="2856731" algn="l" defTabSz="408104" rtl="0" eaLnBrk="1" latinLnBrk="0" hangingPunct="1">
      <a:defRPr sz="1620" kern="1200">
        <a:solidFill>
          <a:schemeClr val="tx1"/>
        </a:solidFill>
        <a:latin typeface="+mn-lt"/>
        <a:ea typeface="+mn-ea"/>
        <a:cs typeface="+mn-cs"/>
      </a:defRPr>
    </a:lvl8pPr>
    <a:lvl9pPr marL="3264837" algn="l" defTabSz="408104" rtl="0" eaLnBrk="1" latinLnBrk="0" hangingPunct="1">
      <a:defRPr sz="162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21" userDrawn="1">
          <p15:clr>
            <a:srgbClr val="A4A3A4"/>
          </p15:clr>
        </p15:guide>
        <p15:guide id="3" orient="horz" pos="2232" userDrawn="1">
          <p15:clr>
            <a:srgbClr val="A4A3A4"/>
          </p15:clr>
        </p15:guide>
        <p15:guide id="4" pos="2880">
          <p15:clr>
            <a:srgbClr val="A4A3A4"/>
          </p15:clr>
        </p15:guide>
        <p15:guide id="5" pos="353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4E8D0B-38FE-A974-2DB3-CDB39689669E}" name="Erik Hubin" initials="EH" userId="S::erik@jdi.be::903481c7-77a2-4d51-8b17-a05aabc600a4" providerId="AD"/>
  <p188:author id="{7492054A-7017-6914-7D0B-7EDB12434BB4}" name="SOMERS Robin (FIB/MST)" initials="RS" userId="S::robin.somers@proximus.com::e55d616e-e62c-46f2-a005-7c11f4b2335c" providerId="AD"/>
  <p188:author id="{E1E7E78B-0712-C90F-14B2-56711AEE3B86}" name="VAN HENDE Peter (BCM/BCS)" initials="VHP(" userId="S::Peter.VANHENDE@proximus.com::9a0dc8f5-b1fe-43ec-9d9f-7aa03826f60b" providerId="AD"/>
  <p188:author id="{A8D8FDC2-7ADC-233A-97F1-94E1BCE63218}" name="STEVENS Valérie (TCC/MST)" initials="VS" userId="S::valerie.stevens@proximus.com::66cb5e8d-7e0c-45c4-9e4b-629ca66868bc" providerId="AD"/>
  <p188:author id="{1E185ED0-FC51-9FCD-EBA2-B6844897355C}" name="Isabel Springuel" initials="" userId="S::isabel@jdi.be::92b7aaa4-4365-4418-997c-197315f76a72" providerId="AD"/>
  <p188:author id="{A9D404D7-E8BD-98D1-952E-9CE5C4694ED8}" name="STOCKMAN Gert-Jan (NBU/MST)" initials="GS" userId="S::gert.jan.stockman@proximus.com::4e8aca85-e747-440d-b0b0-710efebe7ab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rien" initials="K" lastIdx="11" clrIdx="0">
    <p:extLst>
      <p:ext uri="{19B8F6BF-5375-455C-9EA6-DF929625EA0E}">
        <p15:presenceInfo xmlns:p15="http://schemas.microsoft.com/office/powerpoint/2012/main" userId="S::katrien.van.liefde@proximus.com::615d3f60-701a-4fcc-b044-7a9f28e87149" providerId="AD"/>
      </p:ext>
    </p:extLst>
  </p:cmAuthor>
  <p:cmAuthor id="2" name="VAN DER AA Britt (DAG/DAN)" initials="V(" lastIdx="4" clrIdx="1">
    <p:extLst>
      <p:ext uri="{19B8F6BF-5375-455C-9EA6-DF929625EA0E}">
        <p15:presenceInfo xmlns:p15="http://schemas.microsoft.com/office/powerpoint/2012/main" userId="S::britt.van.der.aa@proximus.com::de2ddb29-f3e9-4ef2-833a-4c992b260b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4F9"/>
    <a:srgbClr val="41C3FF"/>
    <a:srgbClr val="F3800B"/>
    <a:srgbClr val="141C24"/>
    <a:srgbClr val="E48413"/>
    <a:srgbClr val="70934E"/>
    <a:srgbClr val="E70462"/>
    <a:srgbClr val="41AA80"/>
    <a:srgbClr val="BA2E58"/>
    <a:srgbClr val="E13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35"/>
    <p:restoredTop sz="75656" autoAdjust="0"/>
  </p:normalViewPr>
  <p:slideViewPr>
    <p:cSldViewPr snapToGrid="0">
      <p:cViewPr varScale="1">
        <p:scale>
          <a:sx n="144" d="100"/>
          <a:sy n="144" d="100"/>
        </p:scale>
        <p:origin x="400" y="360"/>
      </p:cViewPr>
      <p:guideLst>
        <p:guide orient="horz" pos="1121"/>
        <p:guide orient="horz" pos="2232"/>
        <p:guide pos="2880"/>
        <p:guide pos="3538"/>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font" Target="fonts/font13.fntdata"/><Relationship Id="rId89" Type="http://schemas.openxmlformats.org/officeDocument/2006/relationships/font" Target="fonts/font18.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3.fntdata"/><Relationship Id="rId79" Type="http://schemas.openxmlformats.org/officeDocument/2006/relationships/font" Target="fonts/font8.fntdata"/><Relationship Id="rId5" Type="http://schemas.openxmlformats.org/officeDocument/2006/relationships/slide" Target="slides/slide1.xml"/><Relationship Id="rId90" Type="http://schemas.openxmlformats.org/officeDocument/2006/relationships/font" Target="fonts/font19.fntdata"/><Relationship Id="rId95" Type="http://schemas.openxmlformats.org/officeDocument/2006/relationships/tags" Target="tags/tag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font" Target="fonts/font9.fntdata"/><Relationship Id="rId85" Type="http://schemas.openxmlformats.org/officeDocument/2006/relationships/font" Target="fonts/font14.fntdata"/><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font" Target="fonts/font4.fntdata"/><Relationship Id="rId83" Type="http://schemas.openxmlformats.org/officeDocument/2006/relationships/font" Target="fonts/font12.fntdata"/><Relationship Id="rId88" Type="http://schemas.openxmlformats.org/officeDocument/2006/relationships/font" Target="fonts/font17.fntdata"/><Relationship Id="rId91" Type="http://schemas.openxmlformats.org/officeDocument/2006/relationships/font" Target="fonts/font20.fntdata"/><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2.fntdata"/><Relationship Id="rId78" Type="http://schemas.openxmlformats.org/officeDocument/2006/relationships/font" Target="fonts/font7.fntdata"/><Relationship Id="rId81" Type="http://schemas.openxmlformats.org/officeDocument/2006/relationships/font" Target="fonts/font10.fntdata"/><Relationship Id="rId86" Type="http://schemas.openxmlformats.org/officeDocument/2006/relationships/font" Target="fonts/font15.fntdata"/><Relationship Id="rId94" Type="http://schemas.openxmlformats.org/officeDocument/2006/relationships/font" Target="fonts/font23.fntdata"/><Relationship Id="rId99" Type="http://schemas.openxmlformats.org/officeDocument/2006/relationships/theme" Target="theme/theme1.xml"/><Relationship Id="rId10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5.fntdata"/><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handoutMaster" Target="handoutMasters/handoutMaster1.xml"/><Relationship Id="rId92" Type="http://schemas.openxmlformats.org/officeDocument/2006/relationships/font" Target="fonts/font21.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font" Target="fonts/font16.fntdata"/><Relationship Id="rId61" Type="http://schemas.openxmlformats.org/officeDocument/2006/relationships/slide" Target="slides/slide57.xml"/><Relationship Id="rId82"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font" Target="fonts/font6.fntdata"/><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fntdata"/><Relationship Id="rId93" Type="http://schemas.openxmlformats.org/officeDocument/2006/relationships/font" Target="fonts/font22.fntdata"/><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019607843137254E-3"/>
          <c:y val="6.3725490196078427E-2"/>
          <c:w val="0.87254901960784315"/>
          <c:h val="0.87254901960784315"/>
        </c:manualLayout>
      </c:layout>
      <c:doughnutChart>
        <c:varyColors val="0"/>
        <c:ser>
          <c:idx val="0"/>
          <c:order val="0"/>
          <c:dPt>
            <c:idx val="0"/>
            <c:bubble3D val="0"/>
            <c:spPr>
              <a:gradFill>
                <a:gsLst>
                  <a:gs pos="0">
                    <a:schemeClr val="bg1"/>
                  </a:gs>
                  <a:gs pos="98000">
                    <a:schemeClr val="accent2"/>
                  </a:gs>
                </a:gsLst>
                <a:lin ang="0" scaled="1"/>
              </a:gradFill>
              <a:ln>
                <a:noFill/>
              </a:ln>
            </c:spPr>
            <c:extLst>
              <c:ext xmlns:c16="http://schemas.microsoft.com/office/drawing/2014/chart" uri="{C3380CC4-5D6E-409C-BE32-E72D297353CC}">
                <c16:uniqueId val="{00000001-FBF3-451F-ADF4-1D6DB2E66992}"/>
              </c:ext>
            </c:extLst>
          </c:dPt>
          <c:dPt>
            <c:idx val="1"/>
            <c:bubble3D val="0"/>
            <c:spPr>
              <a:solidFill>
                <a:schemeClr val="tx1"/>
              </a:solidFill>
              <a:ln>
                <a:noFill/>
              </a:ln>
            </c:spPr>
            <c:extLst>
              <c:ext xmlns:c16="http://schemas.microsoft.com/office/drawing/2014/chart" uri="{C3380CC4-5D6E-409C-BE32-E72D297353CC}">
                <c16:uniqueId val="{00000003-FBF3-451F-ADF4-1D6DB2E66992}"/>
              </c:ext>
            </c:extLst>
          </c:dPt>
          <c:val>
            <c:numRef>
              <c:f>Sheet1!$A$1:$A$2</c:f>
              <c:numCache>
                <c:formatCode>General</c:formatCode>
                <c:ptCount val="2"/>
                <c:pt idx="0">
                  <c:v>806</c:v>
                </c:pt>
                <c:pt idx="1">
                  <c:v>156</c:v>
                </c:pt>
              </c:numCache>
            </c:numRef>
          </c:val>
          <c:extLst>
            <c:ext xmlns:c16="http://schemas.microsoft.com/office/drawing/2014/chart" uri="{C3380CC4-5D6E-409C-BE32-E72D297353CC}">
              <c16:uniqueId val="{00000004-FBF3-451F-ADF4-1D6DB2E66992}"/>
            </c:ext>
          </c:extLst>
        </c:ser>
        <c:dLbls>
          <c:showLegendKey val="0"/>
          <c:showVal val="0"/>
          <c:showCatName val="0"/>
          <c:showSerName val="0"/>
          <c:showPercent val="0"/>
          <c:showBubbleSize val="0"/>
          <c:showLeaderLines val="0"/>
        </c:dLbls>
        <c:firstSliceAng val="0"/>
        <c:holeSize val="79"/>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25490196078427E-2"/>
          <c:y val="6.3725490196078427E-2"/>
          <c:w val="0.87254901960784315"/>
          <c:h val="0.87254901960784315"/>
        </c:manualLayout>
      </c:layout>
      <c:doughnutChart>
        <c:varyColors val="0"/>
        <c:ser>
          <c:idx val="0"/>
          <c:order val="0"/>
          <c:dPt>
            <c:idx val="0"/>
            <c:bubble3D val="0"/>
            <c:spPr>
              <a:gradFill>
                <a:gsLst>
                  <a:gs pos="0">
                    <a:schemeClr val="bg1"/>
                  </a:gs>
                  <a:gs pos="98000">
                    <a:schemeClr val="accent2"/>
                  </a:gs>
                </a:gsLst>
                <a:lin ang="0" scaled="1"/>
              </a:gradFill>
              <a:ln>
                <a:noFill/>
              </a:ln>
            </c:spPr>
            <c:extLst>
              <c:ext xmlns:c16="http://schemas.microsoft.com/office/drawing/2014/chart" uri="{C3380CC4-5D6E-409C-BE32-E72D297353CC}">
                <c16:uniqueId val="{00000001-03C7-40E0-A592-832B92B7B575}"/>
              </c:ext>
            </c:extLst>
          </c:dPt>
          <c:dPt>
            <c:idx val="1"/>
            <c:bubble3D val="0"/>
            <c:spPr>
              <a:solidFill>
                <a:schemeClr val="tx1"/>
              </a:solidFill>
              <a:ln>
                <a:noFill/>
              </a:ln>
            </c:spPr>
            <c:extLst>
              <c:ext xmlns:c16="http://schemas.microsoft.com/office/drawing/2014/chart" uri="{C3380CC4-5D6E-409C-BE32-E72D297353CC}">
                <c16:uniqueId val="{00000003-03C7-40E0-A592-832B92B7B575}"/>
              </c:ext>
            </c:extLst>
          </c:dPt>
          <c:val>
            <c:numRef>
              <c:f>Sheet1!$A$1:$A$2</c:f>
              <c:numCache>
                <c:formatCode>General</c:formatCode>
                <c:ptCount val="2"/>
                <c:pt idx="0">
                  <c:v>650</c:v>
                </c:pt>
                <c:pt idx="1">
                  <c:v>40</c:v>
                </c:pt>
              </c:numCache>
            </c:numRef>
          </c:val>
          <c:extLst>
            <c:ext xmlns:c16="http://schemas.microsoft.com/office/drawing/2014/chart" uri="{C3380CC4-5D6E-409C-BE32-E72D297353CC}">
              <c16:uniqueId val="{00000004-03C7-40E0-A592-832B92B7B575}"/>
            </c:ext>
          </c:extLst>
        </c:ser>
        <c:dLbls>
          <c:showLegendKey val="0"/>
          <c:showVal val="0"/>
          <c:showCatName val="0"/>
          <c:showSerName val="0"/>
          <c:showPercent val="0"/>
          <c:showBubbleSize val="0"/>
          <c:showLeaderLines val="0"/>
        </c:dLbls>
        <c:firstSliceAng val="0"/>
        <c:holeSize val="79"/>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25490196078427E-2"/>
          <c:y val="6.3725490196078427E-2"/>
          <c:w val="0.87254901960784315"/>
          <c:h val="0.87254901960784315"/>
        </c:manualLayout>
      </c:layout>
      <c:doughnutChart>
        <c:varyColors val="0"/>
        <c:ser>
          <c:idx val="0"/>
          <c:order val="0"/>
          <c:dPt>
            <c:idx val="0"/>
            <c:bubble3D val="0"/>
            <c:spPr>
              <a:gradFill>
                <a:gsLst>
                  <a:gs pos="0">
                    <a:schemeClr val="bg1"/>
                  </a:gs>
                  <a:gs pos="98000">
                    <a:schemeClr val="accent2"/>
                  </a:gs>
                </a:gsLst>
                <a:lin ang="0" scaled="1"/>
              </a:gradFill>
              <a:ln>
                <a:noFill/>
              </a:ln>
            </c:spPr>
            <c:extLst>
              <c:ext xmlns:c16="http://schemas.microsoft.com/office/drawing/2014/chart" uri="{C3380CC4-5D6E-409C-BE32-E72D297353CC}">
                <c16:uniqueId val="{00000001-58FD-4465-90CF-397EF6538B0B}"/>
              </c:ext>
            </c:extLst>
          </c:dPt>
          <c:dPt>
            <c:idx val="1"/>
            <c:bubble3D val="0"/>
            <c:spPr>
              <a:solidFill>
                <a:schemeClr val="tx1"/>
              </a:solidFill>
              <a:ln>
                <a:noFill/>
              </a:ln>
            </c:spPr>
            <c:extLst>
              <c:ext xmlns:c16="http://schemas.microsoft.com/office/drawing/2014/chart" uri="{C3380CC4-5D6E-409C-BE32-E72D297353CC}">
                <c16:uniqueId val="{00000003-58FD-4465-90CF-397EF6538B0B}"/>
              </c:ext>
            </c:extLst>
          </c:dPt>
          <c:val>
            <c:numRef>
              <c:f>Sheet1!$A$1:$A$2</c:f>
              <c:numCache>
                <c:formatCode>General</c:formatCode>
                <c:ptCount val="2"/>
                <c:pt idx="0">
                  <c:v>650</c:v>
                </c:pt>
                <c:pt idx="1">
                  <c:v>40</c:v>
                </c:pt>
              </c:numCache>
            </c:numRef>
          </c:val>
          <c:extLst>
            <c:ext xmlns:c16="http://schemas.microsoft.com/office/drawing/2014/chart" uri="{C3380CC4-5D6E-409C-BE32-E72D297353CC}">
              <c16:uniqueId val="{00000004-58FD-4465-90CF-397EF6538B0B}"/>
            </c:ext>
          </c:extLst>
        </c:ser>
        <c:dLbls>
          <c:showLegendKey val="0"/>
          <c:showVal val="0"/>
          <c:showCatName val="0"/>
          <c:showSerName val="0"/>
          <c:showPercent val="0"/>
          <c:showBubbleSize val="0"/>
          <c:showLeaderLines val="0"/>
        </c:dLbls>
        <c:firstSliceAng val="0"/>
        <c:holeSize val="79"/>
      </c:doughnutChart>
    </c:plotArea>
    <c:plotVisOnly val="0"/>
    <c:dispBlanksAs val="gap"/>
    <c:showDLblsOverMax val="1"/>
  </c:chart>
  <c:externalData r:id="rId1">
    <c:autoUpdate val="0"/>
  </c:externalData>
</c:chartSpace>
</file>

<file path=ppt/comments/modernComment_144_C3B4110F.xml><?xml version="1.0" encoding="utf-8"?>
<p188:cmLst xmlns:a="http://schemas.openxmlformats.org/drawingml/2006/main" xmlns:r="http://schemas.openxmlformats.org/officeDocument/2006/relationships" xmlns:p188="http://schemas.microsoft.com/office/powerpoint/2018/8/main">
  <p188:cm id="{ACCAF393-AD7A-AC4B-ACB8-63C053A1B819}" authorId="{FB4E8D0B-38FE-A974-2DB3-CDB39689669E}" created="2025-01-31T09:50:44.030">
    <pc:sldMkLst xmlns:pc="http://schemas.microsoft.com/office/powerpoint/2013/main/command">
      <pc:docMk/>
      <pc:sldMk cId="3283357967" sldId="324"/>
    </pc:sldMkLst>
    <p188:txBody>
      <a:bodyPr/>
      <a:lstStyle/>
      <a:p>
        <a:r>
          <a:rPr lang="en-BE"/>
          <a:t>Shouldn’t we explain first SWP? &gt; Strategic Workforce Planning. 
That’s why the previous slide was included &amp; to make a nice transition to the “What &amp; how” par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nl-BE">
              <a:latin typeface="Proximus Light" pitchFamily="2" charset="77"/>
            </a:endParaRPr>
          </a:p>
        </p:txBody>
      </p:sp>
      <p:sp>
        <p:nvSpPr>
          <p:cNvPr id="3" name="Date Placeholder 2"/>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9B1E5816-012C-4657-ABCB-5E35F34A909A}" type="datetimeFigureOut">
              <a:rPr lang="nl-BE" smtClean="0">
                <a:latin typeface="Proximus Light" pitchFamily="2" charset="77"/>
              </a:rPr>
              <a:t>3/02/2025</a:t>
            </a:fld>
            <a:endParaRPr lang="nl-BE">
              <a:latin typeface="Proximus Light" pitchFamily="2" charset="77"/>
            </a:endParaRPr>
          </a:p>
        </p:txBody>
      </p:sp>
      <p:sp>
        <p:nvSpPr>
          <p:cNvPr id="4" name="Footer Placeholder 3"/>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nl-BE">
              <a:latin typeface="Proximus Light" pitchFamily="2" charset="77"/>
            </a:endParaRPr>
          </a:p>
        </p:txBody>
      </p:sp>
      <p:sp>
        <p:nvSpPr>
          <p:cNvPr id="5" name="Slide Number Placeholder 4"/>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FE29ED09-90F3-4F46-8286-0AF9C6F7431C}" type="slidenum">
              <a:rPr lang="nl-BE" smtClean="0">
                <a:latin typeface="Proximus Light" pitchFamily="2" charset="77"/>
              </a:rPr>
              <a:t>‹#›</a:t>
            </a:fld>
            <a:endParaRPr lang="nl-BE">
              <a:latin typeface="Proximus Light" pitchFamily="2" charset="77"/>
            </a:endParaRPr>
          </a:p>
        </p:txBody>
      </p:sp>
    </p:spTree>
    <p:extLst>
      <p:ext uri="{BB962C8B-B14F-4D97-AF65-F5344CB8AC3E}">
        <p14:creationId xmlns:p14="http://schemas.microsoft.com/office/powerpoint/2010/main" val="18357324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atin typeface="Proximus Bold" panose="00000500000000000000" pitchFamily="2" charset="0"/>
              </a:defRPr>
            </a:lvl1pPr>
          </a:lstStyle>
          <a:p>
            <a:endParaRPr lang="en-US"/>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atin typeface="Proximus Bold" panose="00000500000000000000" pitchFamily="2" charset="0"/>
              </a:defRPr>
            </a:lvl1pPr>
          </a:lstStyle>
          <a:p>
            <a:fld id="{CACFB5A8-D2CE-9746-84B2-914D3A27AA22}" type="datetimeFigureOut">
              <a:rPr lang="en-US" smtClean="0"/>
              <a:pPr/>
              <a:t>2/3/25</a:t>
            </a:fld>
            <a:endParaRPr lang="en-US"/>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atin typeface="Proximus Bold" panose="00000500000000000000" pitchFamily="2" charset="0"/>
              </a:defRPr>
            </a:lvl1pPr>
          </a:lstStyle>
          <a:p>
            <a:endParaRPr lang="en-US"/>
          </a:p>
        </p:txBody>
      </p:sp>
      <p:sp>
        <p:nvSpPr>
          <p:cNvPr id="7" name="Slide Number Placeholder 6"/>
          <p:cNvSpPr>
            <a:spLocks noGrp="1"/>
          </p:cNvSpPr>
          <p:nvPr>
            <p:ph type="sldNum" sz="quarter" idx="5"/>
          </p:nvPr>
        </p:nvSpPr>
        <p:spPr>
          <a:xfrm>
            <a:off x="3858313" y="9442154"/>
            <a:ext cx="2950475" cy="498772"/>
          </a:xfrm>
          <a:prstGeom prst="rect">
            <a:avLst/>
          </a:prstGeom>
        </p:spPr>
        <p:txBody>
          <a:bodyPr vert="horz" lIns="91440" tIns="45720" rIns="91440" bIns="45720" rtlCol="0" anchor="b"/>
          <a:lstStyle>
            <a:lvl1pPr algn="r">
              <a:defRPr sz="1200">
                <a:latin typeface="Proximus Bold" panose="00000500000000000000" pitchFamily="2" charset="0"/>
              </a:defRPr>
            </a:lvl1pPr>
          </a:lstStyle>
          <a:p>
            <a:fld id="{FA918F22-1231-AB43-96E7-2B8B890DCD5E}" type="slidenum">
              <a:rPr lang="en-US" smtClean="0"/>
              <a:pPr/>
              <a:t>‹#›</a:t>
            </a:fld>
            <a:endParaRPr lang="en-US"/>
          </a:p>
        </p:txBody>
      </p:sp>
    </p:spTree>
    <p:extLst>
      <p:ext uri="{BB962C8B-B14F-4D97-AF65-F5344CB8AC3E}">
        <p14:creationId xmlns:p14="http://schemas.microsoft.com/office/powerpoint/2010/main" val="939704679"/>
      </p:ext>
    </p:extLst>
  </p:cSld>
  <p:clrMap bg1="lt1" tx1="dk1" bg2="lt2" tx2="dk2" accent1="accent1" accent2="accent2" accent3="accent3" accent4="accent4" accent5="accent5" accent6="accent6" hlink="hlink" folHlink="folHlink"/>
  <p:notesStyle>
    <a:lvl1pPr marL="0" algn="l" defTabSz="411480" rtl="0" eaLnBrk="1" latinLnBrk="0" hangingPunct="1">
      <a:defRPr sz="540" kern="1200">
        <a:solidFill>
          <a:schemeClr val="tx1"/>
        </a:solidFill>
        <a:latin typeface="Proximus Bold" panose="00000500000000000000" pitchFamily="2" charset="0"/>
        <a:ea typeface="+mn-ea"/>
        <a:cs typeface="+mn-cs"/>
      </a:defRPr>
    </a:lvl1pPr>
    <a:lvl2pPr marL="205740" algn="l" defTabSz="411480" rtl="0" eaLnBrk="1" latinLnBrk="0" hangingPunct="1">
      <a:defRPr sz="540" kern="1200">
        <a:solidFill>
          <a:schemeClr val="tx1"/>
        </a:solidFill>
        <a:latin typeface="Proximus Bold" panose="00000500000000000000" pitchFamily="2" charset="0"/>
        <a:ea typeface="+mn-ea"/>
        <a:cs typeface="+mn-cs"/>
      </a:defRPr>
    </a:lvl2pPr>
    <a:lvl3pPr marL="411480" algn="l" defTabSz="411480" rtl="0" eaLnBrk="1" latinLnBrk="0" hangingPunct="1">
      <a:defRPr sz="540" kern="1200">
        <a:solidFill>
          <a:schemeClr val="tx1"/>
        </a:solidFill>
        <a:latin typeface="Proximus Bold" panose="00000500000000000000" pitchFamily="2" charset="0"/>
        <a:ea typeface="+mn-ea"/>
        <a:cs typeface="+mn-cs"/>
      </a:defRPr>
    </a:lvl3pPr>
    <a:lvl4pPr marL="617220" algn="l" defTabSz="411480" rtl="0" eaLnBrk="1" latinLnBrk="0" hangingPunct="1">
      <a:defRPr sz="540" kern="1200">
        <a:solidFill>
          <a:schemeClr val="tx1"/>
        </a:solidFill>
        <a:latin typeface="Proximus Bold" panose="00000500000000000000" pitchFamily="2" charset="0"/>
        <a:ea typeface="+mn-ea"/>
        <a:cs typeface="+mn-cs"/>
      </a:defRPr>
    </a:lvl4pPr>
    <a:lvl5pPr marL="822960" algn="l" defTabSz="411480" rtl="0" eaLnBrk="1" latinLnBrk="0" hangingPunct="1">
      <a:defRPr sz="540" kern="1200">
        <a:solidFill>
          <a:schemeClr val="tx1"/>
        </a:solidFill>
        <a:latin typeface="Proximus Bold" panose="00000500000000000000" pitchFamily="2" charset="0"/>
        <a:ea typeface="+mn-ea"/>
        <a:cs typeface="+mn-cs"/>
      </a:defRPr>
    </a:lvl5pPr>
    <a:lvl6pPr marL="1028700" algn="l" defTabSz="411480" rtl="0" eaLnBrk="1" latinLnBrk="0" hangingPunct="1">
      <a:defRPr sz="540" kern="1200">
        <a:solidFill>
          <a:schemeClr val="tx1"/>
        </a:solidFill>
        <a:latin typeface="+mn-lt"/>
        <a:ea typeface="+mn-ea"/>
        <a:cs typeface="+mn-cs"/>
      </a:defRPr>
    </a:lvl6pPr>
    <a:lvl7pPr marL="1234440" algn="l" defTabSz="411480" rtl="0" eaLnBrk="1" latinLnBrk="0" hangingPunct="1">
      <a:defRPr sz="540" kern="1200">
        <a:solidFill>
          <a:schemeClr val="tx1"/>
        </a:solidFill>
        <a:latin typeface="+mn-lt"/>
        <a:ea typeface="+mn-ea"/>
        <a:cs typeface="+mn-cs"/>
      </a:defRPr>
    </a:lvl7pPr>
    <a:lvl8pPr marL="1440180" algn="l" defTabSz="411480" rtl="0" eaLnBrk="1" latinLnBrk="0" hangingPunct="1">
      <a:defRPr sz="540" kern="1200">
        <a:solidFill>
          <a:schemeClr val="tx1"/>
        </a:solidFill>
        <a:latin typeface="+mn-lt"/>
        <a:ea typeface="+mn-ea"/>
        <a:cs typeface="+mn-cs"/>
      </a:defRPr>
    </a:lvl8pPr>
    <a:lvl9pPr marL="1645920" algn="l" defTabSz="411480" rtl="0" eaLnBrk="1" latinLnBrk="0" hangingPunct="1">
      <a:defRPr sz="5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solidFill>
                  <a:schemeClr val="accent6"/>
                </a:solidFill>
              </a:rPr>
              <a:t>MAGALI &amp; ROBIN </a:t>
            </a:r>
            <a:r>
              <a:rPr lang="en-US" sz="1100">
                <a:solidFill>
                  <a:schemeClr val="accent6"/>
                </a:solidFill>
              </a:rPr>
              <a:t>on stage</a:t>
            </a:r>
            <a:endParaRPr lang="fr-BE" sz="110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1</a:t>
            </a:fld>
            <a:endParaRPr lang="en-US"/>
          </a:p>
        </p:txBody>
      </p:sp>
    </p:spTree>
    <p:extLst>
      <p:ext uri="{BB962C8B-B14F-4D97-AF65-F5344CB8AC3E}">
        <p14:creationId xmlns:p14="http://schemas.microsoft.com/office/powerpoint/2010/main" val="636219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78166-1299-DE94-9590-550EB642F4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3C62CA-5518-F210-9E56-362641B5C0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7A2F40-6119-FFDD-6317-EAA23B77D436}"/>
              </a:ext>
            </a:extLst>
          </p:cNvPr>
          <p:cNvSpPr>
            <a:spLocks noGrp="1"/>
          </p:cNvSpPr>
          <p:nvPr>
            <p:ph type="body" idx="1"/>
          </p:nvPr>
        </p:nvSpPr>
        <p:spPr/>
        <p:txBody>
          <a:bodyPr/>
          <a:lstStyle/>
          <a:p>
            <a:r>
              <a:rPr lang="nl-BE" sz="1100" b="1" u="sng">
                <a:solidFill>
                  <a:schemeClr val="accent6"/>
                </a:solidFill>
                <a:latin typeface="Proximus Bold" panose="00000500000000000000" pitchFamily="2" charset="0"/>
              </a:rPr>
              <a:t>ROBIN ON STAGE</a:t>
            </a:r>
          </a:p>
          <a:p>
            <a:r>
              <a:rPr lang="nl-BE" sz="1100" b="1" u="sng">
                <a:solidFill>
                  <a:schemeClr val="accent6"/>
                </a:solidFill>
                <a:latin typeface="Proximus Bold" panose="00000500000000000000" pitchFamily="2" charset="0"/>
              </a:rPr>
              <a:t>GEERT [FR]</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Pour relever ces défis, nous nous sommes préparés et avons développé notre stratégie </a:t>
            </a:r>
            <a:r>
              <a:rPr lang="fr-BE" sz="1100" b="1" i="0">
                <a:solidFill>
                  <a:schemeClr val="accent6"/>
                </a:solidFill>
                <a:effectLst/>
                <a:latin typeface="Proximus Bold" panose="00000500000000000000" pitchFamily="2" charset="0"/>
              </a:rPr>
              <a:t>NBU 4.0</a:t>
            </a:r>
            <a:r>
              <a:rPr lang="fr-BE" sz="1100" b="0" i="0">
                <a:solidFill>
                  <a:schemeClr val="accent6"/>
                </a:solidFill>
                <a:effectLst/>
                <a:latin typeface="Proximus" panose="00000500000000000000" pitchFamily="2" charset="0"/>
              </a:rPr>
              <a:t>, qui est le cadre nous permettant de préparer l'avenir. C'est notre vision à long terme. </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En fait, nous voulons </a:t>
            </a:r>
            <a:r>
              <a:rPr lang="fr-BE" sz="1100" b="1" i="0">
                <a:solidFill>
                  <a:schemeClr val="accent6"/>
                </a:solidFill>
                <a:effectLst/>
                <a:latin typeface="Proximus Bold" panose="00000500000000000000" pitchFamily="2" charset="0"/>
              </a:rPr>
              <a:t>faire la même chose </a:t>
            </a:r>
            <a:r>
              <a:rPr lang="fr-BE" sz="1100" b="0" i="0">
                <a:solidFill>
                  <a:schemeClr val="accent6"/>
                </a:solidFill>
                <a:effectLst/>
                <a:latin typeface="Proximus" panose="00000500000000000000" pitchFamily="2" charset="0"/>
              </a:rPr>
              <a:t>que nous avons toujours faite : nous voulons offrir la meilleure expérience aux clients, nous voulons être les meilleurs en efficacité, nous voulons être à près pour le futur, et nous voulons tirer le meilleur de nos collaborateurs. Cependant, nous voulons le faire différemment.</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Le </a:t>
            </a:r>
            <a:r>
              <a:rPr lang="fr-BE" sz="1100" b="1" i="0">
                <a:solidFill>
                  <a:schemeClr val="accent6"/>
                </a:solidFill>
                <a:effectLst/>
                <a:latin typeface="Proximus Bold" panose="00000500000000000000" pitchFamily="2" charset="0"/>
              </a:rPr>
              <a:t>contexte autour de nous change radicalement</a:t>
            </a:r>
            <a:r>
              <a:rPr lang="fr-BE" sz="1100" b="0" i="0">
                <a:solidFill>
                  <a:schemeClr val="accent6"/>
                </a:solidFill>
                <a:effectLst/>
                <a:latin typeface="Proximus" panose="00000500000000000000" pitchFamily="2" charset="0"/>
              </a:rPr>
              <a:t>, nous poussant à trouver des moyens alternatifs pour atteindre nos objectifs, mais en fin de compte, les objectifs ne changent pas. </a:t>
            </a:r>
          </a:p>
          <a:p>
            <a:pPr marL="171450" indent="-171450">
              <a:buFont typeface="Arial" panose="020B0604020202020204" pitchFamily="34" charset="0"/>
              <a:buChar char="•"/>
            </a:pPr>
            <a:r>
              <a:rPr lang="fr-BE" sz="1100" b="0" i="0">
                <a:solidFill>
                  <a:schemeClr val="accent6"/>
                </a:solidFill>
                <a:effectLst/>
                <a:latin typeface="Proximus" panose="00000500000000000000" pitchFamily="2" charset="0"/>
              </a:rPr>
              <a:t>Ainsi, </a:t>
            </a:r>
            <a:r>
              <a:rPr lang="fr-BE" sz="1100" b="1" i="0">
                <a:solidFill>
                  <a:schemeClr val="accent6"/>
                </a:solidFill>
                <a:effectLst/>
                <a:latin typeface="Proximus Bold" panose="00000500000000000000" pitchFamily="2" charset="0"/>
              </a:rPr>
              <a:t>nous voulons faire la même chose, mais de manière très différente</a:t>
            </a:r>
            <a:endParaRPr lang="nl-BE" sz="1100" b="1">
              <a:solidFill>
                <a:schemeClr val="accent6"/>
              </a:solidFill>
              <a:latin typeface="Proximus Bold" panose="00000500000000000000" pitchFamily="2" charset="0"/>
            </a:endParaRPr>
          </a:p>
        </p:txBody>
      </p:sp>
      <p:sp>
        <p:nvSpPr>
          <p:cNvPr id="4" name="Slide Number Placeholder 3">
            <a:extLst>
              <a:ext uri="{FF2B5EF4-FFF2-40B4-BE49-F238E27FC236}">
                <a16:creationId xmlns:a16="http://schemas.microsoft.com/office/drawing/2014/main" id="{4EF61346-FE6E-4386-654F-A5CCA15EECAA}"/>
              </a:ext>
            </a:extLst>
          </p:cNvPr>
          <p:cNvSpPr>
            <a:spLocks noGrp="1"/>
          </p:cNvSpPr>
          <p:nvPr>
            <p:ph type="sldNum" sz="quarter" idx="5"/>
          </p:nvPr>
        </p:nvSpPr>
        <p:spPr/>
        <p:txBody>
          <a:bodyPr/>
          <a:lstStyle/>
          <a:p>
            <a:fld id="{FA918F22-1231-AB43-96E7-2B8B890DCD5E}" type="slidenum">
              <a:rPr lang="en-US" smtClean="0"/>
              <a:pPr/>
              <a:t>10</a:t>
            </a:fld>
            <a:endParaRPr lang="en-US"/>
          </a:p>
        </p:txBody>
      </p:sp>
    </p:spTree>
    <p:extLst>
      <p:ext uri="{BB962C8B-B14F-4D97-AF65-F5344CB8AC3E}">
        <p14:creationId xmlns:p14="http://schemas.microsoft.com/office/powerpoint/2010/main" val="1354366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A4244-D07F-AE48-FAE8-C8DCFF64A2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AA262B-5831-9EE7-39E4-BB0924D7F5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899A9-BDE6-7590-F4EF-72E7A1C7C105}"/>
              </a:ext>
            </a:extLst>
          </p:cNvPr>
          <p:cNvSpPr>
            <a:spLocks noGrp="1"/>
          </p:cNvSpPr>
          <p:nvPr>
            <p:ph type="body" idx="1"/>
          </p:nvPr>
        </p:nvSpPr>
        <p:spPr/>
        <p:txBody>
          <a:bodyPr/>
          <a:lstStyle/>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ROBIN ON STAGE</a:t>
            </a:r>
          </a:p>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GEERT [NL)</a:t>
            </a:r>
          </a:p>
          <a:p>
            <a:pPr>
              <a:lnSpc>
                <a:spcPct val="107000"/>
              </a:lnSpc>
              <a:spcAft>
                <a:spcPts val="800"/>
              </a:spcAft>
            </a:pPr>
            <a:r>
              <a:rPr lang="nl-BE" sz="1100">
                <a:solidFill>
                  <a:schemeClr val="accent6"/>
                </a:solidFill>
                <a:latin typeface="Proximus Bold"/>
              </a:rPr>
              <a:t>- En deze zin vat alles goed samen, we willen echt excelleren in het opleveren van onze ambities, en dit in het midden van verscheidene interne en externe </a:t>
            </a:r>
            <a:r>
              <a:rPr lang="nl-BE" sz="1100" err="1">
                <a:solidFill>
                  <a:schemeClr val="accent6"/>
                </a:solidFill>
                <a:latin typeface="Proximus Bold"/>
              </a:rPr>
              <a:t>disrupties</a:t>
            </a:r>
            <a:r>
              <a:rPr lang="nl-BE" sz="1100">
                <a:solidFill>
                  <a:schemeClr val="accent6"/>
                </a:solidFill>
                <a:latin typeface="Proximus Bold"/>
              </a:rPr>
              <a:t>.</a:t>
            </a:r>
          </a:p>
          <a:p>
            <a:pPr marL="171450" indent="-171450">
              <a:lnSpc>
                <a:spcPct val="107000"/>
              </a:lnSpc>
              <a:spcAft>
                <a:spcPts val="800"/>
              </a:spcAft>
              <a:buFontTx/>
              <a:buChar char="-"/>
            </a:pPr>
            <a:r>
              <a:rPr lang="nl-BE" sz="1100">
                <a:solidFill>
                  <a:schemeClr val="accent6"/>
                </a:solidFill>
                <a:latin typeface="Proximus Bold"/>
              </a:rPr>
              <a:t>Ons doel blijft gelijk, dat verandert niet, we moeten nog steeds hetzelfde </a:t>
            </a:r>
            <a:r>
              <a:rPr lang="nl-BE" sz="1100" err="1">
                <a:solidFill>
                  <a:schemeClr val="accent6"/>
                </a:solidFill>
                <a:latin typeface="Proximus Bold"/>
              </a:rPr>
              <a:t>berijken</a:t>
            </a:r>
            <a:r>
              <a:rPr lang="nl-BE" sz="1100">
                <a:solidFill>
                  <a:schemeClr val="accent6"/>
                </a:solidFill>
                <a:latin typeface="Proximus Bold"/>
              </a:rPr>
              <a:t>, maar we moeten het doen binnen een nieuwe disruptieve context.</a:t>
            </a:r>
          </a:p>
          <a:p>
            <a:pPr marL="171450" indent="-171450">
              <a:lnSpc>
                <a:spcPct val="107000"/>
              </a:lnSpc>
              <a:spcAft>
                <a:spcPts val="800"/>
              </a:spcAft>
              <a:buFontTx/>
              <a:buChar char="-"/>
            </a:pPr>
            <a:r>
              <a:rPr lang="nl-BE" sz="1100">
                <a:solidFill>
                  <a:schemeClr val="accent6"/>
                </a:solidFill>
                <a:latin typeface="Proximus Bold"/>
              </a:rPr>
              <a:t>Vandaar ook dat het gezegd “</a:t>
            </a:r>
            <a:r>
              <a:rPr lang="nl-BE" sz="1100" err="1">
                <a:solidFill>
                  <a:schemeClr val="accent6"/>
                </a:solidFill>
                <a:latin typeface="Proximus Bold"/>
              </a:rPr>
              <a:t>doing</a:t>
            </a:r>
            <a:r>
              <a:rPr lang="nl-BE" sz="1100">
                <a:solidFill>
                  <a:schemeClr val="accent6"/>
                </a:solidFill>
                <a:latin typeface="Proximus Bold"/>
              </a:rPr>
              <a:t> </a:t>
            </a:r>
            <a:r>
              <a:rPr lang="nl-BE" sz="1100" err="1">
                <a:solidFill>
                  <a:schemeClr val="accent6"/>
                </a:solidFill>
                <a:latin typeface="Proximus Bold"/>
              </a:rPr>
              <a:t>the</a:t>
            </a:r>
            <a:r>
              <a:rPr lang="nl-BE" sz="1100">
                <a:solidFill>
                  <a:schemeClr val="accent6"/>
                </a:solidFill>
                <a:latin typeface="Proximus Bold"/>
              </a:rPr>
              <a:t> </a:t>
            </a:r>
            <a:r>
              <a:rPr lang="nl-BE" sz="1100" err="1">
                <a:solidFill>
                  <a:schemeClr val="accent6"/>
                </a:solidFill>
                <a:latin typeface="Proximus Bold"/>
              </a:rPr>
              <a:t>same</a:t>
            </a:r>
            <a:r>
              <a:rPr lang="nl-BE" sz="1100">
                <a:solidFill>
                  <a:schemeClr val="accent6"/>
                </a:solidFill>
                <a:latin typeface="Proximus Bold"/>
              </a:rPr>
              <a:t> </a:t>
            </a:r>
            <a:r>
              <a:rPr lang="nl-BE" sz="1100" err="1">
                <a:solidFill>
                  <a:schemeClr val="accent6"/>
                </a:solidFill>
                <a:latin typeface="Proximus Bold"/>
              </a:rPr>
              <a:t>very</a:t>
            </a:r>
            <a:r>
              <a:rPr lang="nl-BE" sz="1100">
                <a:solidFill>
                  <a:schemeClr val="accent6"/>
                </a:solidFill>
                <a:latin typeface="Proximus Bold"/>
              </a:rPr>
              <a:t> </a:t>
            </a:r>
            <a:r>
              <a:rPr lang="nl-BE" sz="1100" err="1">
                <a:solidFill>
                  <a:schemeClr val="accent6"/>
                </a:solidFill>
                <a:latin typeface="Proximus Bold"/>
              </a:rPr>
              <a:t>differently</a:t>
            </a:r>
            <a:r>
              <a:rPr lang="nl-BE" sz="1100">
                <a:solidFill>
                  <a:schemeClr val="accent6"/>
                </a:solidFill>
                <a:latin typeface="Proximus Bold"/>
              </a:rPr>
              <a:t>”. We doel is hetzelfde, de manier waarop anders.</a:t>
            </a:r>
          </a:p>
          <a:p>
            <a:pPr marL="171450" indent="-171450">
              <a:lnSpc>
                <a:spcPct val="107000"/>
              </a:lnSpc>
              <a:spcAft>
                <a:spcPts val="800"/>
              </a:spcAft>
              <a:buFontTx/>
              <a:buChar char="-"/>
            </a:pPr>
            <a:r>
              <a:rPr lang="nl-BE" sz="1100">
                <a:solidFill>
                  <a:schemeClr val="accent6"/>
                </a:solidFill>
                <a:latin typeface="Proximus Bold"/>
              </a:rPr>
              <a:t>En om dit tot een goed einde te brengen zal het zeer belangrijk zijn om team cohesie te gaan </a:t>
            </a:r>
            <a:r>
              <a:rPr lang="nl-BE" sz="1100" err="1">
                <a:solidFill>
                  <a:schemeClr val="accent6"/>
                </a:solidFill>
                <a:latin typeface="Proximus Bold"/>
              </a:rPr>
              <a:t>creeeren</a:t>
            </a:r>
            <a:r>
              <a:rPr lang="nl-BE" sz="1100">
                <a:solidFill>
                  <a:schemeClr val="accent6"/>
                </a:solidFill>
                <a:latin typeface="Proximus Bold"/>
              </a:rPr>
              <a:t> en ervoor te gaan zorgen dat wij allemaal samenwerken als EEN team.</a:t>
            </a:r>
          </a:p>
        </p:txBody>
      </p:sp>
      <p:sp>
        <p:nvSpPr>
          <p:cNvPr id="4" name="Slide Number Placeholder 3">
            <a:extLst>
              <a:ext uri="{FF2B5EF4-FFF2-40B4-BE49-F238E27FC236}">
                <a16:creationId xmlns:a16="http://schemas.microsoft.com/office/drawing/2014/main" id="{04835331-DA02-9160-2E7F-EECD8D3F0EC8}"/>
              </a:ext>
            </a:extLst>
          </p:cNvPr>
          <p:cNvSpPr>
            <a:spLocks noGrp="1"/>
          </p:cNvSpPr>
          <p:nvPr>
            <p:ph type="sldNum" sz="quarter" idx="5"/>
          </p:nvPr>
        </p:nvSpPr>
        <p:spPr/>
        <p:txBody>
          <a:bodyPr/>
          <a:lstStyle/>
          <a:p>
            <a:fld id="{FA918F22-1231-AB43-96E7-2B8B890DCD5E}" type="slidenum">
              <a:rPr lang="en-US" smtClean="0"/>
              <a:pPr/>
              <a:t>11</a:t>
            </a:fld>
            <a:endParaRPr lang="en-US"/>
          </a:p>
        </p:txBody>
      </p:sp>
    </p:spTree>
    <p:extLst>
      <p:ext uri="{BB962C8B-B14F-4D97-AF65-F5344CB8AC3E}">
        <p14:creationId xmlns:p14="http://schemas.microsoft.com/office/powerpoint/2010/main" val="1492108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ROBIN ON STAGE</a:t>
            </a:r>
          </a:p>
          <a:p>
            <a:pPr>
              <a:lnSpc>
                <a:spcPct val="107000"/>
              </a:lnSpc>
              <a:spcAft>
                <a:spcPts val="800"/>
              </a:spcAft>
            </a:pPr>
            <a:r>
              <a:rPr lang="en-US" sz="1100" b="1" u="sng" kern="100">
                <a:solidFill>
                  <a:schemeClr val="accent6"/>
                </a:solidFill>
                <a:effectLst/>
                <a:latin typeface="Proximus Light" pitchFamily="2" charset="77"/>
                <a:ea typeface="Aptos" panose="020B0004020202020204" pitchFamily="34" charset="0"/>
                <a:cs typeface="Arial" panose="020B0604020202020204" pitchFamily="34" charset="0"/>
              </a:rPr>
              <a:t>GEERT [NL)</a:t>
            </a:r>
          </a:p>
          <a:p>
            <a:pPr>
              <a:lnSpc>
                <a:spcPct val="107000"/>
              </a:lnSpc>
              <a:spcAft>
                <a:spcPts val="800"/>
              </a:spcAft>
            </a:pP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E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i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z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je de vier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pillar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bold op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ewelk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onz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NBU 4.0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strateg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gebouwd</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is.</a:t>
            </a:r>
          </a:p>
          <a:p>
            <a:pPr>
              <a:lnSpc>
                <a:spcPct val="107000"/>
              </a:lnSpc>
              <a:spcAft>
                <a:spcPts val="800"/>
              </a:spcAft>
            </a:pP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j</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als</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NBU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bold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zij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in elk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ez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ier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pillar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a:t>
            </a:r>
          </a:p>
          <a:p>
            <a:pPr>
              <a:lnSpc>
                <a:spcPct val="107000"/>
              </a:lnSpc>
              <a:spcAft>
                <a:spcPts val="800"/>
              </a:spcAft>
            </a:pP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focuss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op d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etwerk-ervaring</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op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fficient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laa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zij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oor d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oekoms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i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alles</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gaa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o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door i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ied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ons</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he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aa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ov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a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ebb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l d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mens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el</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we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gaa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limaa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creeer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waari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he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es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ied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van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julli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aa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bov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a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kom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om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dit</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champions league team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og</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e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niveau</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hoger</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e</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 </a:t>
            </a:r>
            <a:r>
              <a:rPr lang="en-US" sz="1100" kern="100" err="1">
                <a:solidFill>
                  <a:schemeClr val="accent6"/>
                </a:solidFill>
                <a:effectLst/>
                <a:latin typeface="Proximus Light" pitchFamily="2" charset="77"/>
                <a:ea typeface="Aptos" panose="020B0004020202020204" pitchFamily="34" charset="0"/>
                <a:cs typeface="Arial" panose="020B0604020202020204" pitchFamily="34" charset="0"/>
              </a:rPr>
              <a:t>tillen</a:t>
            </a:r>
            <a:r>
              <a:rPr lang="en-US" sz="1100" kern="100">
                <a:solidFill>
                  <a:schemeClr val="accent6"/>
                </a:solidFill>
                <a:effectLst/>
                <a:latin typeface="Proximus Light" pitchFamily="2" charset="77"/>
                <a:ea typeface="Aptos" panose="020B0004020202020204" pitchFamily="34" charset="0"/>
                <a:cs typeface="Arial" panose="020B0604020202020204" pitchFamily="34" charset="0"/>
              </a:rPr>
              <a:t>.</a:t>
            </a:r>
          </a:p>
        </p:txBody>
      </p:sp>
      <p:sp>
        <p:nvSpPr>
          <p:cNvPr id="4" name="Slide Number Placeholder 3"/>
          <p:cNvSpPr>
            <a:spLocks noGrp="1"/>
          </p:cNvSpPr>
          <p:nvPr>
            <p:ph type="sldNum" sz="quarter" idx="5"/>
          </p:nvPr>
        </p:nvSpPr>
        <p:spPr/>
        <p:txBody>
          <a:bodyPr/>
          <a:lstStyle/>
          <a:p>
            <a:fld id="{FA918F22-1231-AB43-96E7-2B8B890DCD5E}" type="slidenum">
              <a:rPr lang="en-US" smtClean="0"/>
              <a:pPr/>
              <a:t>12</a:t>
            </a:fld>
            <a:endParaRPr lang="en-US"/>
          </a:p>
        </p:txBody>
      </p:sp>
    </p:spTree>
    <p:extLst>
      <p:ext uri="{BB962C8B-B14F-4D97-AF65-F5344CB8AC3E}">
        <p14:creationId xmlns:p14="http://schemas.microsoft.com/office/powerpoint/2010/main" val="4012864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chemeClr val="accent6"/>
                </a:solidFill>
                <a:effectLst/>
                <a:latin typeface="Proximus Light" pitchFamily="2" charset="77"/>
                <a:ea typeface="Aptos" panose="020B0004020202020204" pitchFamily="34" charset="0"/>
                <a:cs typeface="Arial" panose="020B0604020202020204" pitchFamily="34" charset="0"/>
              </a:rPr>
              <a:t>ROBIN </a:t>
            </a:r>
            <a:r>
              <a:rPr lang="en-US" sz="1100" u="sng" kern="100" dirty="0">
                <a:solidFill>
                  <a:schemeClr val="accent6"/>
                </a:solidFill>
                <a:effectLst/>
                <a:latin typeface="Proximus Light" pitchFamily="2" charset="77"/>
                <a:ea typeface="Aptos" panose="020B0004020202020204" pitchFamily="34" charset="0"/>
                <a:cs typeface="Arial" panose="020B0604020202020204" pitchFamily="34" charset="0"/>
              </a:rPr>
              <a:t>on stage </a:t>
            </a:r>
          </a:p>
          <a:p>
            <a:endParaRPr lang="en-US" sz="1100" dirty="0">
              <a:solidFill>
                <a:schemeClr val="accent6"/>
              </a:solidFill>
            </a:endParaRPr>
          </a:p>
          <a:p>
            <a:r>
              <a:rPr lang="en-US" sz="1100" b="1" u="sng" dirty="0">
                <a:solidFill>
                  <a:schemeClr val="accent6"/>
                </a:solidFill>
              </a:rPr>
              <a:t>ROBIN</a:t>
            </a:r>
            <a:r>
              <a:rPr lang="en-US" sz="1100" dirty="0">
                <a:solidFill>
                  <a:schemeClr val="accent6"/>
                </a:solidFill>
              </a:rPr>
              <a:t> : </a:t>
            </a:r>
            <a:r>
              <a:rPr lang="nl-NL" sz="1100" b="0" i="0" dirty="0">
                <a:solidFill>
                  <a:schemeClr val="accent6"/>
                </a:solidFill>
                <a:effectLst/>
                <a:latin typeface="Segoe UI" panose="020B0502040204020203" pitchFamily="34" charset="0"/>
              </a:rPr>
              <a:t>Hartelijk dank Geert voor deze introductie en eerste vooruitblik. Tijd om wat dieper in te gaan op elk van de pijlers van NBU 4.0. Laten we beginnen met de eerste pijler '</a:t>
            </a:r>
            <a:r>
              <a:rPr lang="nl-NL" sz="1100" b="0" i="0" dirty="0" err="1">
                <a:solidFill>
                  <a:schemeClr val="accent6"/>
                </a:solidFill>
                <a:effectLst/>
                <a:latin typeface="Segoe UI" panose="020B0502040204020203" pitchFamily="34" charset="0"/>
              </a:rPr>
              <a:t>Bold</a:t>
            </a:r>
            <a:r>
              <a:rPr lang="nl-NL" sz="1100" b="0" i="0" dirty="0">
                <a:solidFill>
                  <a:schemeClr val="accent6"/>
                </a:solidFill>
                <a:effectLst/>
                <a:latin typeface="Segoe UI" panose="020B0502040204020203" pitchFamily="34" charset="0"/>
              </a:rPr>
              <a:t> </a:t>
            </a:r>
            <a:r>
              <a:rPr lang="nl-NL" sz="1100" b="0" i="0" dirty="0" err="1">
                <a:solidFill>
                  <a:schemeClr val="accent6"/>
                </a:solidFill>
                <a:effectLst/>
                <a:latin typeface="Segoe UI" panose="020B0502040204020203" pitchFamily="34" charset="0"/>
              </a:rPr>
              <a:t>Experiences</a:t>
            </a:r>
            <a:r>
              <a:rPr lang="nl-NL" sz="1100" b="0" i="0" dirty="0">
                <a:solidFill>
                  <a:schemeClr val="accent6"/>
                </a:solidFill>
                <a:effectLst/>
                <a:latin typeface="Segoe UI" panose="020B0502040204020203" pitchFamily="34" charset="0"/>
              </a:rPr>
              <a:t>’, hiervoor nodig ik Gaetan (Fiber Program Division Lead), Vincent (Network </a:t>
            </a:r>
            <a:r>
              <a:rPr lang="nl-NL" sz="1100" b="0" i="0" dirty="0" err="1">
                <a:solidFill>
                  <a:schemeClr val="accent6"/>
                </a:solidFill>
                <a:effectLst/>
                <a:latin typeface="Segoe UI" panose="020B0502040204020203" pitchFamily="34" charset="0"/>
              </a:rPr>
              <a:t>Strategy</a:t>
            </a:r>
            <a:r>
              <a:rPr lang="nl-NL" sz="1100" b="0" i="0" dirty="0">
                <a:solidFill>
                  <a:schemeClr val="accent6"/>
                </a:solidFill>
                <a:effectLst/>
                <a:latin typeface="Segoe UI" panose="020B0502040204020203" pitchFamily="34" charset="0"/>
              </a:rPr>
              <a:t>, </a:t>
            </a:r>
            <a:r>
              <a:rPr lang="nl-NL" sz="1100" b="0" i="0" dirty="0" err="1">
                <a:solidFill>
                  <a:schemeClr val="accent6"/>
                </a:solidFill>
                <a:effectLst/>
                <a:latin typeface="Segoe UI" panose="020B0502040204020203" pitchFamily="34" charset="0"/>
              </a:rPr>
              <a:t>Innovation</a:t>
            </a:r>
            <a:r>
              <a:rPr lang="nl-NL" sz="1100" b="0" i="0" dirty="0">
                <a:solidFill>
                  <a:schemeClr val="accent6"/>
                </a:solidFill>
                <a:effectLst/>
                <a:latin typeface="Segoe UI" panose="020B0502040204020203" pitchFamily="34" charset="0"/>
              </a:rPr>
              <a:t> &amp; Partnership Division Lead) en Bernard (Network IT </a:t>
            </a:r>
            <a:r>
              <a:rPr lang="nl-NL" sz="1100" b="0" i="0" dirty="0" err="1">
                <a:solidFill>
                  <a:schemeClr val="accent6"/>
                </a:solidFill>
                <a:effectLst/>
                <a:latin typeface="Segoe UI" panose="020B0502040204020203" pitchFamily="34" charset="0"/>
              </a:rPr>
              <a:t>Tribe</a:t>
            </a:r>
            <a:r>
              <a:rPr lang="nl-NL" sz="1100" b="0" i="0" dirty="0">
                <a:solidFill>
                  <a:schemeClr val="accent6"/>
                </a:solidFill>
                <a:effectLst/>
                <a:latin typeface="Segoe UI" panose="020B0502040204020203" pitchFamily="34" charset="0"/>
              </a:rPr>
              <a:t> &amp; </a:t>
            </a:r>
            <a:r>
              <a:rPr lang="nl-NL" sz="1100" b="0" i="0" dirty="0" err="1">
                <a:solidFill>
                  <a:schemeClr val="accent6"/>
                </a:solidFill>
                <a:effectLst/>
                <a:latin typeface="Segoe UI" panose="020B0502040204020203" pitchFamily="34" charset="0"/>
              </a:rPr>
              <a:t>Chapter</a:t>
            </a:r>
            <a:r>
              <a:rPr lang="nl-NL" sz="1100" b="0" i="0" dirty="0">
                <a:solidFill>
                  <a:schemeClr val="accent6"/>
                </a:solidFill>
                <a:effectLst/>
                <a:latin typeface="Segoe UI" panose="020B0502040204020203" pitchFamily="34" charset="0"/>
              </a:rPr>
              <a:t> Area Lead) uit op het podium</a:t>
            </a:r>
          </a:p>
          <a:p>
            <a:endPar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endParaRPr>
          </a:p>
          <a:p>
            <a:r>
              <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rPr>
              <a:t>(Geert </a:t>
            </a:r>
            <a:r>
              <a:rPr lang="nl-NL" sz="1100" b="0" i="0" kern="100" dirty="0" err="1">
                <a:solidFill>
                  <a:schemeClr val="accent6"/>
                </a:solidFill>
                <a:effectLst/>
                <a:latin typeface="Segoe UI" panose="020B0502040204020203" pitchFamily="34" charset="0"/>
                <a:ea typeface="Aptos" panose="020B0004020202020204" pitchFamily="34" charset="0"/>
                <a:cs typeface="Arial" panose="020B0604020202020204" pitchFamily="34" charset="0"/>
              </a:rPr>
              <a:t>leaves</a:t>
            </a:r>
            <a:r>
              <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rPr>
              <a:t> </a:t>
            </a:r>
            <a:r>
              <a:rPr lang="nl-NL" sz="1100" b="0" i="0" kern="100" dirty="0" err="1">
                <a:solidFill>
                  <a:schemeClr val="accent6"/>
                </a:solidFill>
                <a:effectLst/>
                <a:latin typeface="Segoe UI" panose="020B0502040204020203" pitchFamily="34" charset="0"/>
                <a:ea typeface="Aptos" panose="020B0004020202020204" pitchFamily="34" charset="0"/>
                <a:cs typeface="Arial" panose="020B0604020202020204" pitchFamily="34" charset="0"/>
              </a:rPr>
              <a:t>the</a:t>
            </a:r>
            <a:r>
              <a:rPr lang="nl-NL" sz="1100" b="0" i="0" kern="100" dirty="0">
                <a:solidFill>
                  <a:schemeClr val="accent6"/>
                </a:solidFill>
                <a:effectLst/>
                <a:latin typeface="Segoe UI" panose="020B0502040204020203" pitchFamily="34" charset="0"/>
                <a:ea typeface="Aptos" panose="020B0004020202020204" pitchFamily="34" charset="0"/>
                <a:cs typeface="Arial" panose="020B0604020202020204" pitchFamily="34" charset="0"/>
              </a:rPr>
              <a:t> stage)</a:t>
            </a:r>
            <a:endParaRPr lang="fr-BE" sz="1100" b="0" kern="100" dirty="0">
              <a:solidFill>
                <a:schemeClr val="accent6"/>
              </a:solidFill>
              <a:effectLst/>
              <a:latin typeface="Proximus Light" pitchFamily="2" charset="77"/>
              <a:ea typeface="Aptos" panose="020B0004020202020204" pitchFamily="34" charset="0"/>
              <a:cs typeface="Arial" panose="020B0604020202020204" pitchFamily="34" charset="0"/>
            </a:endParaRPr>
          </a:p>
          <a:p>
            <a:endParaRPr lang="fr-BE" dirty="0">
              <a:solidFill>
                <a:schemeClr val="accent6"/>
              </a:solidFill>
            </a:endParaRPr>
          </a:p>
          <a:p>
            <a:endParaRPr lang="en-BE" dirty="0">
              <a:solidFill>
                <a:schemeClr val="accent6"/>
              </a:solidFill>
            </a:endParaRPr>
          </a:p>
          <a:p>
            <a:endParaRPr lang="en-BE" dirty="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13</a:t>
            </a:fld>
            <a:endParaRPr lang="en-US"/>
          </a:p>
        </p:txBody>
      </p:sp>
    </p:spTree>
    <p:extLst>
      <p:ext uri="{BB962C8B-B14F-4D97-AF65-F5344CB8AC3E}">
        <p14:creationId xmlns:p14="http://schemas.microsoft.com/office/powerpoint/2010/main" val="11799701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pitchFamily="2" charset="77"/>
                <a:ea typeface="Aptos" panose="020B0004020202020204" pitchFamily="34" charset="0"/>
                <a:cs typeface="Arial" panose="020B0604020202020204" pitchFamily="34" charset="0"/>
              </a:rPr>
              <a:t>ROBIN </a:t>
            </a:r>
            <a:r>
              <a:rPr lang="en-US" sz="1100" u="sng" kern="100">
                <a:solidFill>
                  <a:srgbClr val="C04F15"/>
                </a:solidFill>
                <a:effectLst/>
                <a:latin typeface="Proximus Light" pitchFamily="2" charset="77"/>
                <a:ea typeface="Aptos" panose="020B0004020202020204" pitchFamily="34" charset="0"/>
                <a:cs typeface="Arial" panose="020B0604020202020204" pitchFamily="34" charset="0"/>
              </a:rPr>
              <a:t>on stage </a:t>
            </a:r>
          </a:p>
          <a:p>
            <a:endParaRPr lang="en-US" sz="1100" b="1"/>
          </a:p>
          <a:p>
            <a:r>
              <a:rPr lang="en-US" sz="1100" b="1" u="sng"/>
              <a:t>ROBIN</a:t>
            </a:r>
            <a:r>
              <a:rPr lang="en-US" sz="1100" b="1"/>
              <a:t> : </a:t>
            </a:r>
            <a:r>
              <a:rPr lang="fr-BE" sz="1100" b="0" i="0">
                <a:solidFill>
                  <a:srgbClr val="242424"/>
                </a:solidFill>
                <a:effectLst/>
                <a:latin typeface="Segoe UI" panose="020B0502040204020203" pitchFamily="34" charset="0"/>
              </a:rPr>
              <a:t>De </a:t>
            </a:r>
            <a:r>
              <a:rPr lang="fr-BE" sz="1100" b="0" i="0" err="1">
                <a:solidFill>
                  <a:srgbClr val="242424"/>
                </a:solidFill>
                <a:effectLst/>
                <a:latin typeface="Segoe UI" panose="020B0502040204020203" pitchFamily="34" charset="0"/>
              </a:rPr>
              <a:t>pijler</a:t>
            </a:r>
            <a:r>
              <a:rPr lang="fr-BE" sz="1100" b="0" i="0">
                <a:solidFill>
                  <a:srgbClr val="242424"/>
                </a:solidFill>
                <a:effectLst/>
                <a:latin typeface="Segoe UI" panose="020B0502040204020203" pitchFamily="34" charset="0"/>
              </a:rPr>
              <a:t> Bold expériences </a:t>
            </a:r>
            <a:r>
              <a:rPr lang="fr-BE" sz="1100" b="0" i="0" err="1">
                <a:solidFill>
                  <a:srgbClr val="242424"/>
                </a:solidFill>
                <a:effectLst/>
                <a:latin typeface="Segoe UI" panose="020B0502040204020203" pitchFamily="34" charset="0"/>
              </a:rPr>
              <a:t>valt</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uiteen</a:t>
            </a:r>
            <a:r>
              <a:rPr lang="fr-BE" sz="1100" b="0" i="0">
                <a:solidFill>
                  <a:srgbClr val="242424"/>
                </a:solidFill>
                <a:effectLst/>
                <a:latin typeface="Segoe UI" panose="020B0502040204020203" pitchFamily="34" charset="0"/>
              </a:rPr>
              <a:t> in </a:t>
            </a:r>
            <a:r>
              <a:rPr lang="fr-BE" sz="1100" b="0" i="0" err="1">
                <a:solidFill>
                  <a:srgbClr val="242424"/>
                </a:solidFill>
                <a:effectLst/>
                <a:latin typeface="Segoe UI" panose="020B0502040204020203" pitchFamily="34" charset="0"/>
              </a:rPr>
              <a:t>drie</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grote</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blokken</a:t>
            </a:r>
            <a:r>
              <a:rPr lang="fr-BE" sz="1100" b="0" i="0">
                <a:solidFill>
                  <a:srgbClr val="242424"/>
                </a:solidFill>
                <a:effectLst/>
                <a:latin typeface="Segoe UI" panose="020B0502040204020203" pitchFamily="34" charset="0"/>
              </a:rPr>
              <a:t>. Gaetan en Jo </a:t>
            </a:r>
            <a:r>
              <a:rPr lang="fr-BE" sz="1100" b="0" i="0" err="1">
                <a:solidFill>
                  <a:srgbClr val="242424"/>
                </a:solidFill>
                <a:effectLst/>
                <a:latin typeface="Segoe UI" panose="020B0502040204020203" pitchFamily="34" charset="0"/>
              </a:rPr>
              <a:t>zullen</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ons</a:t>
            </a:r>
            <a:r>
              <a:rPr lang="fr-BE" sz="1100" b="0" i="0">
                <a:solidFill>
                  <a:srgbClr val="242424"/>
                </a:solidFill>
                <a:effectLst/>
                <a:latin typeface="Segoe UI" panose="020B0502040204020203" pitchFamily="34" charset="0"/>
              </a:rPr>
              <a:t> Gigabit for all </a:t>
            </a:r>
            <a:r>
              <a:rPr lang="fr-BE" sz="1100" b="0" i="0" err="1">
                <a:solidFill>
                  <a:srgbClr val="242424"/>
                </a:solidFill>
                <a:effectLst/>
                <a:latin typeface="Segoe UI" panose="020B0502040204020203" pitchFamily="34" charset="0"/>
              </a:rPr>
              <a:t>presenteren</a:t>
            </a:r>
            <a:r>
              <a:rPr lang="fr-BE" sz="1100" b="0" i="0">
                <a:solidFill>
                  <a:srgbClr val="242424"/>
                </a:solidFill>
                <a:effectLst/>
                <a:latin typeface="Segoe UI" panose="020B0502040204020203" pitchFamily="34" charset="0"/>
              </a:rPr>
              <a:t>, Vincent </a:t>
            </a:r>
            <a:r>
              <a:rPr lang="fr-BE" sz="1100" b="0" i="0" err="1">
                <a:solidFill>
                  <a:srgbClr val="242424"/>
                </a:solidFill>
                <a:effectLst/>
                <a:latin typeface="Segoe UI" panose="020B0502040204020203" pitchFamily="34" charset="0"/>
              </a:rPr>
              <a:t>zal</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ons</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vertellen</a:t>
            </a:r>
            <a:r>
              <a:rPr lang="fr-BE" sz="1100" b="0" i="0">
                <a:solidFill>
                  <a:srgbClr val="242424"/>
                </a:solidFill>
                <a:effectLst/>
                <a:latin typeface="Segoe UI" panose="020B0502040204020203" pitchFamily="34" charset="0"/>
              </a:rPr>
              <a:t> over Mobile Leadership en Bernard </a:t>
            </a:r>
            <a:r>
              <a:rPr lang="fr-BE" sz="1100" b="0" i="0" err="1">
                <a:solidFill>
                  <a:srgbClr val="242424"/>
                </a:solidFill>
                <a:effectLst/>
                <a:latin typeface="Segoe UI" panose="020B0502040204020203" pitchFamily="34" charset="0"/>
              </a:rPr>
              <a:t>zal</a:t>
            </a:r>
            <a:r>
              <a:rPr lang="fr-BE" sz="1100" b="0" i="0">
                <a:solidFill>
                  <a:srgbClr val="242424"/>
                </a:solidFill>
                <a:effectLst/>
                <a:latin typeface="Segoe UI" panose="020B0502040204020203" pitchFamily="34" charset="0"/>
              </a:rPr>
              <a:t> het </a:t>
            </a:r>
            <a:r>
              <a:rPr lang="fr-BE" sz="1100" b="0" i="0" err="1">
                <a:solidFill>
                  <a:srgbClr val="242424"/>
                </a:solidFill>
                <a:effectLst/>
                <a:latin typeface="Segoe UI" panose="020B0502040204020203" pitchFamily="34" charset="0"/>
              </a:rPr>
              <a:t>tenslotte</a:t>
            </a:r>
            <a:r>
              <a:rPr lang="fr-BE" sz="1100" b="0" i="0">
                <a:solidFill>
                  <a:srgbClr val="242424"/>
                </a:solidFill>
                <a:effectLst/>
                <a:latin typeface="Segoe UI" panose="020B0502040204020203" pitchFamily="34" charset="0"/>
              </a:rPr>
              <a:t> </a:t>
            </a:r>
            <a:r>
              <a:rPr lang="fr-BE" sz="1100" b="0" i="0" err="1">
                <a:solidFill>
                  <a:srgbClr val="242424"/>
                </a:solidFill>
                <a:effectLst/>
                <a:latin typeface="Segoe UI" panose="020B0502040204020203" pitchFamily="34" charset="0"/>
              </a:rPr>
              <a:t>hebben</a:t>
            </a:r>
            <a:r>
              <a:rPr lang="fr-BE" sz="1100" b="0" i="0">
                <a:solidFill>
                  <a:srgbClr val="242424"/>
                </a:solidFill>
                <a:effectLst/>
                <a:latin typeface="Segoe UI" panose="020B0502040204020203" pitchFamily="34" charset="0"/>
              </a:rPr>
              <a:t> Multi Access Experience. </a:t>
            </a:r>
          </a:p>
          <a:p>
            <a:r>
              <a:rPr lang="nl-NL" sz="1100" b="0" i="0">
                <a:solidFill>
                  <a:srgbClr val="242424"/>
                </a:solidFill>
                <a:effectLst/>
                <a:latin typeface="Segoe UI" panose="020B0502040204020203" pitchFamily="34" charset="0"/>
              </a:rPr>
              <a:t>Gaetan &amp; Jo, '</a:t>
            </a:r>
            <a:r>
              <a:rPr lang="nl-NL" sz="1100" b="0" i="0" err="1">
                <a:solidFill>
                  <a:srgbClr val="242424"/>
                </a:solidFill>
                <a:effectLst/>
                <a:latin typeface="Segoe UI" panose="020B0502040204020203" pitchFamily="34" charset="0"/>
              </a:rPr>
              <a:t>Gigabit</a:t>
            </a:r>
            <a:r>
              <a:rPr lang="nl-NL" sz="1100" b="0" i="0">
                <a:solidFill>
                  <a:srgbClr val="242424"/>
                </a:solidFill>
                <a:effectLst/>
                <a:latin typeface="Segoe UI" panose="020B0502040204020203" pitchFamily="34" charset="0"/>
              </a:rPr>
              <a:t> </a:t>
            </a:r>
            <a:r>
              <a:rPr lang="nl-NL" sz="1100" b="0" i="0" err="1">
                <a:solidFill>
                  <a:srgbClr val="242424"/>
                </a:solidFill>
                <a:effectLst/>
                <a:latin typeface="Segoe UI" panose="020B0502040204020203" pitchFamily="34" charset="0"/>
              </a:rPr>
              <a:t>for</a:t>
            </a:r>
            <a:r>
              <a:rPr lang="nl-NL" sz="1100" b="0" i="0">
                <a:solidFill>
                  <a:srgbClr val="242424"/>
                </a:solidFill>
                <a:effectLst/>
                <a:latin typeface="Segoe UI" panose="020B0502040204020203" pitchFamily="34" charset="0"/>
              </a:rPr>
              <a:t> </a:t>
            </a:r>
            <a:r>
              <a:rPr lang="nl-NL" sz="1100" b="0" i="0" err="1">
                <a:solidFill>
                  <a:srgbClr val="242424"/>
                </a:solidFill>
                <a:effectLst/>
                <a:latin typeface="Segoe UI" panose="020B0502040204020203" pitchFamily="34" charset="0"/>
              </a:rPr>
              <a:t>all</a:t>
            </a:r>
            <a:r>
              <a:rPr lang="nl-NL" sz="1100" b="0" i="0">
                <a:solidFill>
                  <a:srgbClr val="242424"/>
                </a:solidFill>
                <a:effectLst/>
                <a:latin typeface="Segoe UI" panose="020B0502040204020203" pitchFamily="34" charset="0"/>
              </a:rPr>
              <a:t>'... wat eigenlijk geen nieuwe prioriteit is... Wat kunnen jullie ons vertellen over dit belangrijke onderwerp?</a:t>
            </a:r>
            <a:endParaRPr lang="nl-NL" sz="1100" b="0" i="0" kern="100">
              <a:solidFill>
                <a:srgbClr val="242424"/>
              </a:solidFill>
              <a:effectLst/>
              <a:latin typeface="Segoe UI" panose="020B0502040204020203" pitchFamily="34" charset="0"/>
              <a:ea typeface="Aptos" panose="020B0004020202020204" pitchFamily="34" charset="0"/>
              <a:cs typeface="Arial" panose="020B0604020202020204" pitchFamily="34" charset="0"/>
            </a:endParaRPr>
          </a:p>
          <a:p>
            <a:endParaRPr lang="en-US" sz="500" b="1" u="sng"/>
          </a:p>
          <a:p>
            <a:endParaRPr lang="en-US" sz="500" b="1" u="sng"/>
          </a:p>
          <a:p>
            <a:endParaRPr lang="en-US" sz="500" b="1" u="sng"/>
          </a:p>
        </p:txBody>
      </p:sp>
      <p:sp>
        <p:nvSpPr>
          <p:cNvPr id="4" name="Slide Number Placeholder 3"/>
          <p:cNvSpPr>
            <a:spLocks noGrp="1"/>
          </p:cNvSpPr>
          <p:nvPr>
            <p:ph type="sldNum" sz="quarter" idx="5"/>
          </p:nvPr>
        </p:nvSpPr>
        <p:spPr/>
        <p:txBody>
          <a:bodyPr/>
          <a:lstStyle/>
          <a:p>
            <a:fld id="{FA918F22-1231-AB43-96E7-2B8B890DCD5E}" type="slidenum">
              <a:rPr lang="en-US" smtClean="0"/>
              <a:pPr/>
              <a:t>14</a:t>
            </a:fld>
            <a:endParaRPr lang="en-US"/>
          </a:p>
        </p:txBody>
      </p:sp>
    </p:spTree>
    <p:extLst>
      <p:ext uri="{BB962C8B-B14F-4D97-AF65-F5344CB8AC3E}">
        <p14:creationId xmlns:p14="http://schemas.microsoft.com/office/powerpoint/2010/main" val="3491536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100" b="1" u="sng" kern="100">
                <a:effectLst/>
                <a:latin typeface="Proximus Light" pitchFamily="2" charset="77"/>
                <a:ea typeface="Aptos" panose="020B0004020202020204" pitchFamily="34" charset="0"/>
                <a:cs typeface="Arial" panose="020B0604020202020204" pitchFamily="34" charset="0"/>
              </a:rPr>
              <a:t>ROBIN OUT OF STAGE</a:t>
            </a:r>
          </a:p>
          <a:p>
            <a:pPr>
              <a:lnSpc>
                <a:spcPct val="107000"/>
              </a:lnSpc>
              <a:spcAft>
                <a:spcPts val="800"/>
              </a:spcAft>
            </a:pPr>
            <a:r>
              <a:rPr lang="en-US" sz="1100" b="1" u="sng" kern="100">
                <a:effectLst/>
                <a:latin typeface="Proximus Light" pitchFamily="2" charset="77"/>
                <a:ea typeface="Aptos" panose="020B0004020202020204" pitchFamily="34" charset="0"/>
                <a:cs typeface="Arial" panose="020B0604020202020204" pitchFamily="34" charset="0"/>
              </a:rPr>
              <a:t>GAETAN &amp; JO</a:t>
            </a: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Consumers and Companies require and deserve Gigabit speeds. Gigabit internet speeds are bridging the digital divide and empowering communities with the connectivity needed for education, business, and innovation in an increasingly digital world.</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Providing gigabit connections to every home in Belgium, within a reasonable timeframe, cannot be realized by a “single” company</a:t>
            </a: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Shared networks optimize resources and reduce infrastructure costs, leading to significant economic savings while minimizing environmental impact through decreased material usage and lessened landscape disruption.</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Win-win partnerships</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 are essential in network deployment as they bring together the strengths and resources of various stakeholders, fostering innovation, sharing costs and risks, and ultimately delivering superior services that benefit both providers and consumers, while advancing societal progress.</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Negotiations to form these partnerships are taking place as we speak.</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a:spcAft>
                <a:spcPts val="800"/>
              </a:spcAft>
            </a:pPr>
            <a:r>
              <a:rPr lang="fr-BE" sz="1100" kern="100">
                <a:effectLst/>
                <a:latin typeface="Aptos" panose="020B0004020202020204" pitchFamily="34" charset="0"/>
                <a:ea typeface="Aptos" panose="020B0004020202020204" pitchFamily="34" charset="0"/>
                <a:cs typeface="Arial" panose="020B0604020202020204" pitchFamily="34" charset="0"/>
              </a:rPr>
              <a:t> + "</a:t>
            </a:r>
            <a:r>
              <a:rPr lang="fr-BE" sz="1100" kern="100" err="1">
                <a:effectLst/>
                <a:latin typeface="Aptos" panose="020B0004020202020204" pitchFamily="34" charset="0"/>
                <a:ea typeface="Aptos" panose="020B0004020202020204" pitchFamily="34" charset="0"/>
                <a:cs typeface="Arial" panose="020B0604020202020204" pitchFamily="34" charset="0"/>
              </a:rPr>
              <a:t>summing</a:t>
            </a:r>
            <a:r>
              <a:rPr lang="fr-BE" sz="1100" kern="100">
                <a:effectLst/>
                <a:latin typeface="Aptos" panose="020B0004020202020204" pitchFamily="34" charset="0"/>
                <a:ea typeface="Aptos" panose="020B0004020202020204" pitchFamily="34" charset="0"/>
                <a:cs typeface="Arial" panose="020B0604020202020204" pitchFamily="34" charset="0"/>
              </a:rPr>
              <a:t> up </a:t>
            </a:r>
            <a:r>
              <a:rPr lang="fr-BE" sz="1100" kern="100" err="1">
                <a:effectLst/>
                <a:latin typeface="Aptos" panose="020B0004020202020204" pitchFamily="34" charset="0"/>
                <a:ea typeface="Aptos" panose="020B0004020202020204" pitchFamily="34" charset="0"/>
                <a:cs typeface="Arial" panose="020B0604020202020204" pitchFamily="34" charset="0"/>
              </a:rPr>
              <a:t>market</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shares</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ensuring</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adequate</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fr-BE" sz="1100" kern="100" err="1">
                <a:effectLst/>
                <a:latin typeface="Aptos" panose="020B0004020202020204" pitchFamily="34" charset="0"/>
                <a:ea typeface="Aptos" panose="020B0004020202020204" pitchFamily="34" charset="0"/>
                <a:cs typeface="Arial" panose="020B0604020202020204" pitchFamily="34" charset="0"/>
              </a:rPr>
              <a:t>filling</a:t>
            </a:r>
            <a:r>
              <a:rPr lang="fr-BE" sz="1100" kern="100">
                <a:effectLst/>
                <a:latin typeface="Aptos" panose="020B0004020202020204" pitchFamily="34" charset="0"/>
                <a:ea typeface="Aptos" panose="020B0004020202020204" pitchFamily="34" charset="0"/>
                <a:cs typeface="Arial" panose="020B0604020202020204" pitchFamily="34" charset="0"/>
              </a:rPr>
              <a:t> rate for profitable networks" (suggestion)    </a:t>
            </a:r>
          </a:p>
          <a:p>
            <a:endParaRPr lang="fr-BE"/>
          </a:p>
          <a:p>
            <a:endParaRPr lang="en-BE"/>
          </a:p>
        </p:txBody>
      </p:sp>
      <p:sp>
        <p:nvSpPr>
          <p:cNvPr id="4" name="Slide Number Placeholder 3"/>
          <p:cNvSpPr>
            <a:spLocks noGrp="1"/>
          </p:cNvSpPr>
          <p:nvPr>
            <p:ph type="sldNum" sz="quarter" idx="5"/>
          </p:nvPr>
        </p:nvSpPr>
        <p:spPr/>
        <p:txBody>
          <a:bodyPr/>
          <a:lstStyle/>
          <a:p>
            <a:fld id="{FA918F22-1231-AB43-96E7-2B8B890DCD5E}" type="slidenum">
              <a:rPr lang="en-US" smtClean="0"/>
              <a:pPr/>
              <a:t>15</a:t>
            </a:fld>
            <a:endParaRPr lang="en-US"/>
          </a:p>
        </p:txBody>
      </p:sp>
    </p:spTree>
    <p:extLst>
      <p:ext uri="{BB962C8B-B14F-4D97-AF65-F5344CB8AC3E}">
        <p14:creationId xmlns:p14="http://schemas.microsoft.com/office/powerpoint/2010/main" val="3275226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Font typeface="Arial" panose="020B0604020202020204" pitchFamily="34" charset="0"/>
              <a:buNone/>
            </a:pPr>
            <a:r>
              <a:rPr lang="en-US" sz="1100" b="1" u="sng" kern="100">
                <a:effectLst/>
                <a:latin typeface="Aptos" panose="020B0004020202020204" pitchFamily="34" charset="0"/>
                <a:ea typeface="Aptos" panose="020B0004020202020204" pitchFamily="34" charset="0"/>
                <a:cs typeface="Arial" panose="020B0604020202020204" pitchFamily="34" charset="0"/>
              </a:rPr>
              <a:t>GAETEN &amp; JO</a:t>
            </a: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Win-win partnerships</a:t>
            </a:r>
            <a:r>
              <a:rPr lang="fr-BE" sz="1100"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 are essential in network deployment as they bring together the strengths and resources of various stakeholders, fostering innovation, sharing costs and risks, and ultimately delivering superior services that benefit both providers and consumers, while advancing societal progress.</a:t>
            </a:r>
            <a:endParaRPr lang="fr-BE" sz="1100" kern="100">
              <a:effectLst/>
              <a:latin typeface="Aptos" panose="020B0004020202020204" pitchFamily="34" charset="0"/>
              <a:ea typeface="Aptos" panose="020B000402020202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pPr>
            <a:r>
              <a:rPr lang="en-US" sz="1100" kern="100">
                <a:effectLst/>
                <a:latin typeface="Aptos" panose="020B0004020202020204" pitchFamily="34" charset="0"/>
                <a:ea typeface="Aptos" panose="020B0004020202020204" pitchFamily="34" charset="0"/>
                <a:cs typeface="Arial" panose="020B0604020202020204" pitchFamily="34" charset="0"/>
              </a:rPr>
              <a:t>Negotiations to form these partnerships are taking place as we speak.</a:t>
            </a:r>
            <a:endParaRPr lang="fr-BE" sz="1100" kern="100">
              <a:effectLst/>
              <a:latin typeface="Aptos" panose="020B0004020202020204" pitchFamily="34" charset="0"/>
              <a:ea typeface="Aptos" panose="020B0004020202020204" pitchFamily="34" charset="0"/>
              <a:cs typeface="Arial" panose="020B0604020202020204" pitchFamily="34" charset="0"/>
            </a:endParaRPr>
          </a:p>
          <a:p>
            <a:endParaRPr lang="fr-BE"/>
          </a:p>
          <a:p>
            <a:endParaRPr lang="en-BE"/>
          </a:p>
        </p:txBody>
      </p:sp>
      <p:sp>
        <p:nvSpPr>
          <p:cNvPr id="4" name="Slide Number Placeholder 3"/>
          <p:cNvSpPr>
            <a:spLocks noGrp="1"/>
          </p:cNvSpPr>
          <p:nvPr>
            <p:ph type="sldNum" sz="quarter" idx="5"/>
          </p:nvPr>
        </p:nvSpPr>
        <p:spPr/>
        <p:txBody>
          <a:bodyPr/>
          <a:lstStyle/>
          <a:p>
            <a:fld id="{FA918F22-1231-AB43-96E7-2B8B890DCD5E}" type="slidenum">
              <a:rPr lang="en-US" smtClean="0"/>
              <a:pPr/>
              <a:t>16</a:t>
            </a:fld>
            <a:endParaRPr lang="en-US"/>
          </a:p>
        </p:txBody>
      </p:sp>
    </p:spTree>
    <p:extLst>
      <p:ext uri="{BB962C8B-B14F-4D97-AF65-F5344CB8AC3E}">
        <p14:creationId xmlns:p14="http://schemas.microsoft.com/office/powerpoint/2010/main" val="2623496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dirty="0"/>
              <a:t>GAETAN</a:t>
            </a:r>
          </a:p>
          <a:p>
            <a:r>
              <a:rPr lang="en-US" sz="1100" b="0" u="none" dirty="0">
                <a:solidFill>
                  <a:schemeClr val="accent6"/>
                </a:solidFill>
              </a:rPr>
              <a:t>(we will look at your answers at the end of next slide)</a:t>
            </a:r>
            <a:endParaRPr lang="en-BE" sz="1100" b="0" u="none" dirty="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17</a:t>
            </a:fld>
            <a:endParaRPr lang="en-US"/>
          </a:p>
        </p:txBody>
      </p:sp>
    </p:spTree>
    <p:extLst>
      <p:ext uri="{BB962C8B-B14F-4D97-AF65-F5344CB8AC3E}">
        <p14:creationId xmlns:p14="http://schemas.microsoft.com/office/powerpoint/2010/main" val="430455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611A9-96B3-612A-9481-119EEC6C5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1BD4ED-84EC-2E74-D6AF-5B42FFA20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A9EE09-A689-6D0D-78AC-CBB3B5326CDB}"/>
              </a:ext>
            </a:extLst>
          </p:cNvPr>
          <p:cNvSpPr>
            <a:spLocks noGrp="1"/>
          </p:cNvSpPr>
          <p:nvPr>
            <p:ph type="body" idx="1"/>
          </p:nvPr>
        </p:nvSpPr>
        <p:spPr/>
        <p:txBody>
          <a:bodyPr/>
          <a:lstStyle/>
          <a:p>
            <a:pPr marL="251460" lvl="0" indent="0">
              <a:lnSpc>
                <a:spcPct val="107000"/>
              </a:lnSpc>
              <a:buFont typeface="+mj-lt"/>
              <a:buNone/>
            </a:pPr>
            <a:r>
              <a:rPr lang="en-BE" sz="1100" b="1" dirty="0">
                <a:solidFill>
                  <a:schemeClr val="accent6"/>
                </a:solidFill>
                <a:latin typeface="Proximus Bold"/>
              </a:rPr>
              <a:t>GAETAN</a:t>
            </a:r>
            <a:r>
              <a:rPr lang="en-US" sz="1100" b="1" dirty="0">
                <a:solidFill>
                  <a:schemeClr val="accent6"/>
                </a:solidFill>
                <a:latin typeface="Proximus Bold"/>
              </a:rPr>
              <a:t>/JO</a:t>
            </a:r>
          </a:p>
          <a:p>
            <a:pPr marL="251460" lvl="0" indent="0">
              <a:lnSpc>
                <a:spcPct val="107000"/>
              </a:lnSpc>
              <a:buFont typeface="+mj-lt"/>
              <a:buNone/>
            </a:pPr>
            <a:endParaRPr lang="en-US" sz="1100" b="1" dirty="0">
              <a:solidFill>
                <a:schemeClr val="accent6"/>
              </a:solidFill>
              <a:latin typeface="Proximus Bold"/>
            </a:endParaRPr>
          </a:p>
          <a:p>
            <a:pPr marL="251460" lvl="0" indent="0">
              <a:lnSpc>
                <a:spcPct val="107000"/>
              </a:lnSpc>
              <a:buFont typeface="+mj-lt"/>
              <a:buNone/>
            </a:pPr>
            <a:r>
              <a:rPr lang="en-US" sz="1100" b="0" dirty="0">
                <a:solidFill>
                  <a:schemeClr val="accent6"/>
                </a:solidFill>
                <a:latin typeface="Proximus Bold"/>
              </a:rPr>
              <a:t>+ LOOK at the results of the </a:t>
            </a:r>
            <a:r>
              <a:rPr lang="en-US" sz="1100" b="0" dirty="0" err="1">
                <a:solidFill>
                  <a:schemeClr val="accent6"/>
                </a:solidFill>
                <a:latin typeface="Proximus Bold"/>
              </a:rPr>
              <a:t>Slido</a:t>
            </a:r>
            <a:r>
              <a:rPr lang="en-US" sz="1100" b="0" dirty="0">
                <a:solidFill>
                  <a:schemeClr val="accent6"/>
                </a:solidFill>
                <a:latin typeface="Proximus Bold"/>
              </a:rPr>
              <a:t> question</a:t>
            </a:r>
            <a:endParaRPr lang="en-BE" sz="1100" b="0" dirty="0">
              <a:solidFill>
                <a:schemeClr val="accent6"/>
              </a:solidFill>
            </a:endParaRPr>
          </a:p>
        </p:txBody>
      </p:sp>
      <p:sp>
        <p:nvSpPr>
          <p:cNvPr id="4" name="Slide Number Placeholder 3">
            <a:extLst>
              <a:ext uri="{FF2B5EF4-FFF2-40B4-BE49-F238E27FC236}">
                <a16:creationId xmlns:a16="http://schemas.microsoft.com/office/drawing/2014/main" id="{1C72621B-D84F-FFAF-71B9-CF7C86170E27}"/>
              </a:ext>
            </a:extLst>
          </p:cNvPr>
          <p:cNvSpPr>
            <a:spLocks noGrp="1"/>
          </p:cNvSpPr>
          <p:nvPr>
            <p:ph type="sldNum" sz="quarter" idx="5"/>
          </p:nvPr>
        </p:nvSpPr>
        <p:spPr/>
        <p:txBody>
          <a:bodyPr/>
          <a:lstStyle/>
          <a:p>
            <a:fld id="{FA918F22-1231-AB43-96E7-2B8B890DCD5E}" type="slidenum">
              <a:rPr lang="en-US" smtClean="0"/>
              <a:pPr/>
              <a:t>18</a:t>
            </a:fld>
            <a:endParaRPr lang="en-US"/>
          </a:p>
        </p:txBody>
      </p:sp>
    </p:spTree>
    <p:extLst>
      <p:ext uri="{BB962C8B-B14F-4D97-AF65-F5344CB8AC3E}">
        <p14:creationId xmlns:p14="http://schemas.microsoft.com/office/powerpoint/2010/main" val="2229528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100" b="1" u="sng"/>
              <a:t>VINCENT </a:t>
            </a:r>
            <a:r>
              <a:rPr lang="en-US" sz="1100" kern="100">
                <a:effectLst/>
                <a:latin typeface="Aptos" panose="020B0004020202020204" pitchFamily="34" charset="0"/>
                <a:ea typeface="Aptos" panose="020B0004020202020204" pitchFamily="34" charset="0"/>
                <a:cs typeface="Arial" panose="020B0604020202020204" pitchFamily="34" charset="0"/>
              </a:rPr>
              <a:t>Last year I stood here to present our mobile results. We were </a:t>
            </a:r>
            <a:r>
              <a:rPr lang="en-US" sz="1100" b="1" kern="100">
                <a:effectLst/>
                <a:latin typeface="Aptos" panose="020B0004020202020204" pitchFamily="34" charset="0"/>
                <a:ea typeface="Aptos" panose="020B0004020202020204" pitchFamily="34" charset="0"/>
                <a:cs typeface="Arial" panose="020B0604020202020204" pitchFamily="34" charset="0"/>
              </a:rPr>
              <a:t>proud</a:t>
            </a:r>
            <a:r>
              <a:rPr lang="en-US" sz="1100" kern="100">
                <a:effectLst/>
                <a:latin typeface="Aptos" panose="020B0004020202020204" pitchFamily="34" charset="0"/>
                <a:ea typeface="Aptos" panose="020B0004020202020204" pitchFamily="34" charset="0"/>
                <a:cs typeface="Arial" panose="020B0604020202020204" pitchFamily="34" charset="0"/>
              </a:rPr>
              <a:t> to announce we had regained leadership in both speed and coverage on 5G. This year, based on the most recent drive test I can </a:t>
            </a:r>
            <a:r>
              <a:rPr lang="en-US" sz="1100" b="1" kern="100">
                <a:effectLst/>
                <a:latin typeface="Aptos" panose="020B0004020202020204" pitchFamily="34" charset="0"/>
                <a:ea typeface="Aptos" panose="020B0004020202020204" pitchFamily="34" charset="0"/>
                <a:cs typeface="Arial" panose="020B0604020202020204" pitchFamily="34" charset="0"/>
              </a:rPr>
              <a:t>confirm this message for 2024</a:t>
            </a:r>
            <a:r>
              <a:rPr lang="en-US" sz="1100" kern="100">
                <a:effectLst/>
                <a:latin typeface="Aptos" panose="020B0004020202020204" pitchFamily="34" charset="0"/>
                <a:ea typeface="Aptos" panose="020B0004020202020204" pitchFamily="34" charset="0"/>
                <a:cs typeface="Arial" panose="020B0604020202020204" pitchFamily="34" charset="0"/>
              </a:rPr>
              <a:t>.</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We are also </a:t>
            </a:r>
            <a:r>
              <a:rPr lang="en-US" sz="1100" b="1" kern="100">
                <a:effectLst/>
                <a:latin typeface="Aptos" panose="020B0004020202020204" pitchFamily="34" charset="0"/>
                <a:ea typeface="Aptos" panose="020B0004020202020204" pitchFamily="34" charset="0"/>
                <a:cs typeface="Arial" panose="020B0604020202020204" pitchFamily="34" charset="0"/>
              </a:rPr>
              <a:t>thrilled</a:t>
            </a:r>
            <a:r>
              <a:rPr lang="en-US" sz="1100" kern="100">
                <a:effectLst/>
                <a:latin typeface="Aptos" panose="020B0004020202020204" pitchFamily="34" charset="0"/>
                <a:ea typeface="Aptos" panose="020B0004020202020204" pitchFamily="34" charset="0"/>
                <a:cs typeface="Arial" panose="020B0604020202020204" pitchFamily="34" charset="0"/>
              </a:rPr>
              <a:t> this year to see the building blocks of our 5G SA roadmap coming into place and </a:t>
            </a:r>
            <a:r>
              <a:rPr lang="en-US" sz="1100" b="1" kern="100">
                <a:effectLst/>
                <a:latin typeface="Aptos" panose="020B0004020202020204" pitchFamily="34" charset="0"/>
                <a:ea typeface="Aptos" panose="020B0004020202020204" pitchFamily="34" charset="0"/>
                <a:cs typeface="Arial" panose="020B0604020202020204" pitchFamily="34" charset="0"/>
              </a:rPr>
              <a:t>allowing us to foresee commercial launch of a first slice in 2025</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endParaRPr lang="en-US"/>
          </a:p>
          <a:p>
            <a:endParaRPr lang="en-US"/>
          </a:p>
          <a:p>
            <a:endParaRPr lang="fr-BE"/>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8104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A46AE-2415-FF90-5E0C-93A81C3E6A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F5A4E9-75A2-6B83-EF0C-D309F2C397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0F2270-D2A8-847E-0C1B-FE9D91E6581A}"/>
              </a:ext>
            </a:extLst>
          </p:cNvPr>
          <p:cNvSpPr>
            <a:spLocks noGrp="1"/>
          </p:cNvSpPr>
          <p:nvPr>
            <p:ph type="body" idx="1"/>
          </p:nvPr>
        </p:nvSpPr>
        <p:spPr/>
        <p:txBody>
          <a:bodyPr/>
          <a:lstStyle/>
          <a:p>
            <a:r>
              <a:rPr lang="en-US" sz="1100" b="1">
                <a:solidFill>
                  <a:schemeClr val="accent6"/>
                </a:solidFill>
                <a:latin typeface="Proximus Bold"/>
              </a:rPr>
              <a:t>MAGALI &amp; ROBIN </a:t>
            </a:r>
            <a:r>
              <a:rPr lang="en-US" sz="1100">
                <a:solidFill>
                  <a:schemeClr val="accent6"/>
                </a:solidFill>
                <a:latin typeface="Proximus Bold"/>
              </a:rPr>
              <a:t>on stage</a:t>
            </a:r>
          </a:p>
          <a:p>
            <a:pPr marL="171450" indent="-171450">
              <a:buFont typeface="Arial" panose="020B0604020202020204" pitchFamily="34" charset="0"/>
              <a:buChar char="•"/>
            </a:pPr>
            <a:r>
              <a:rPr lang="en-US" sz="1100" b="1" u="sng">
                <a:solidFill>
                  <a:schemeClr val="accent6"/>
                </a:solidFill>
                <a:latin typeface="Proximus Bold"/>
              </a:rPr>
              <a:t>MAGALI </a:t>
            </a:r>
            <a:r>
              <a:rPr lang="en-US" sz="1100">
                <a:solidFill>
                  <a:schemeClr val="accent6"/>
                </a:solidFill>
                <a:latin typeface="Proximus Bold"/>
              </a:rPr>
              <a:t>: Bonjour à </a:t>
            </a:r>
            <a:r>
              <a:rPr lang="en-US" sz="1100" err="1">
                <a:solidFill>
                  <a:schemeClr val="accent6"/>
                </a:solidFill>
                <a:latin typeface="Proximus Bold"/>
              </a:rPr>
              <a:t>tous</a:t>
            </a:r>
            <a:r>
              <a:rPr lang="en-US" sz="1100">
                <a:solidFill>
                  <a:schemeClr val="accent6"/>
                </a:solidFill>
                <a:latin typeface="Proximus Bold"/>
              </a:rPr>
              <a:t> et </a:t>
            </a:r>
            <a:r>
              <a:rPr lang="en-US" sz="1100" err="1">
                <a:solidFill>
                  <a:schemeClr val="accent6"/>
                </a:solidFill>
                <a:latin typeface="Proximus Bold"/>
              </a:rPr>
              <a:t>bienvenue</a:t>
            </a:r>
            <a:r>
              <a:rPr lang="en-US" sz="1100">
                <a:solidFill>
                  <a:schemeClr val="accent6"/>
                </a:solidFill>
                <a:latin typeface="Proximus Bold"/>
              </a:rPr>
              <a:t> </a:t>
            </a:r>
            <a:r>
              <a:rPr lang="en-US" sz="1100" err="1">
                <a:solidFill>
                  <a:schemeClr val="accent6"/>
                </a:solidFill>
                <a:latin typeface="Proximus Bold"/>
              </a:rPr>
              <a:t>en</a:t>
            </a:r>
            <a:r>
              <a:rPr lang="en-US" sz="1100">
                <a:solidFill>
                  <a:schemeClr val="accent6"/>
                </a:solidFill>
                <a:latin typeface="Proximus Bold"/>
              </a:rPr>
              <a:t> </a:t>
            </a:r>
            <a:r>
              <a:rPr lang="en-US" sz="1100" err="1">
                <a:solidFill>
                  <a:schemeClr val="accent6"/>
                </a:solidFill>
                <a:latin typeface="Proximus Bold"/>
              </a:rPr>
              <a:t>ce</a:t>
            </a:r>
            <a:r>
              <a:rPr lang="en-US" sz="1100">
                <a:solidFill>
                  <a:schemeClr val="accent6"/>
                </a:solidFill>
                <a:latin typeface="Proximus Bold"/>
              </a:rPr>
              <a:t> début </a:t>
            </a:r>
            <a:r>
              <a:rPr lang="en-US" sz="1100" err="1">
                <a:solidFill>
                  <a:schemeClr val="accent6"/>
                </a:solidFill>
                <a:latin typeface="Proximus Bold"/>
              </a:rPr>
              <a:t>d'année</a:t>
            </a:r>
            <a:r>
              <a:rPr lang="en-US" sz="1100">
                <a:solidFill>
                  <a:schemeClr val="accent6"/>
                </a:solidFill>
                <a:latin typeface="Proximus Bold"/>
              </a:rPr>
              <a:t> 2025 pour </a:t>
            </a:r>
            <a:r>
              <a:rPr lang="en-US" sz="1100" err="1">
                <a:solidFill>
                  <a:schemeClr val="accent6"/>
                </a:solidFill>
                <a:latin typeface="Proximus Bold"/>
              </a:rPr>
              <a:t>notre</a:t>
            </a:r>
            <a:r>
              <a:rPr lang="en-US" sz="1100">
                <a:solidFill>
                  <a:schemeClr val="accent6"/>
                </a:solidFill>
                <a:latin typeface="Proximus Bold"/>
              </a:rPr>
              <a:t> cascade de la </a:t>
            </a:r>
            <a:r>
              <a:rPr lang="en-US" sz="1100" err="1">
                <a:solidFill>
                  <a:schemeClr val="accent6"/>
                </a:solidFill>
                <a:latin typeface="Proximus Bold"/>
              </a:rPr>
              <a:t>stratégie</a:t>
            </a:r>
            <a:r>
              <a:rPr lang="en-US" sz="1100">
                <a:solidFill>
                  <a:schemeClr val="accent6"/>
                </a:solidFill>
                <a:latin typeface="Proximus Bold"/>
              </a:rPr>
              <a:t> NBU. Je suis Magali </a:t>
            </a:r>
            <a:r>
              <a:rPr lang="en-US" sz="1100" err="1">
                <a:solidFill>
                  <a:schemeClr val="accent6"/>
                </a:solidFill>
                <a:latin typeface="Proximus Bold"/>
              </a:rPr>
              <a:t>Duprez</a:t>
            </a:r>
            <a:r>
              <a:rPr lang="en-US" sz="1100">
                <a:solidFill>
                  <a:schemeClr val="accent6"/>
                </a:solidFill>
                <a:latin typeface="Proximus Bold"/>
              </a:rPr>
              <a:t>, je </a:t>
            </a:r>
            <a:r>
              <a:rPr lang="en-US" sz="1100" err="1">
                <a:solidFill>
                  <a:schemeClr val="accent6"/>
                </a:solidFill>
                <a:latin typeface="Proximus Bold"/>
              </a:rPr>
              <a:t>travaille</a:t>
            </a:r>
            <a:r>
              <a:rPr lang="en-US" sz="1100">
                <a:solidFill>
                  <a:schemeClr val="accent6"/>
                </a:solidFill>
                <a:latin typeface="Proximus Bold"/>
              </a:rPr>
              <a:t> chez CWS </a:t>
            </a:r>
            <a:r>
              <a:rPr lang="en-US" sz="1100" err="1">
                <a:solidFill>
                  <a:schemeClr val="accent6"/>
                </a:solidFill>
                <a:latin typeface="Proximus Bold"/>
              </a:rPr>
              <a:t>où</a:t>
            </a:r>
            <a:r>
              <a:rPr lang="en-US" sz="1100">
                <a:solidFill>
                  <a:schemeClr val="accent6"/>
                </a:solidFill>
                <a:latin typeface="Proximus Bold"/>
              </a:rPr>
              <a:t> je </a:t>
            </a:r>
            <a:r>
              <a:rPr lang="en-US" sz="1100" err="1">
                <a:solidFill>
                  <a:schemeClr val="accent6"/>
                </a:solidFill>
                <a:latin typeface="Proximus Bold"/>
              </a:rPr>
              <a:t>gère</a:t>
            </a:r>
            <a:r>
              <a:rPr lang="en-US" sz="1100">
                <a:solidFill>
                  <a:schemeClr val="accent6"/>
                </a:solidFill>
                <a:latin typeface="Proximus Bold"/>
              </a:rPr>
              <a:t> </a:t>
            </a:r>
            <a:r>
              <a:rPr lang="en-US" sz="1100" err="1">
                <a:solidFill>
                  <a:schemeClr val="accent6"/>
                </a:solidFill>
                <a:latin typeface="Proximus Bold"/>
              </a:rPr>
              <a:t>nos</a:t>
            </a:r>
            <a:r>
              <a:rPr lang="en-US" sz="1100">
                <a:solidFill>
                  <a:schemeClr val="accent6"/>
                </a:solidFill>
                <a:latin typeface="Proximus Bold"/>
              </a:rPr>
              <a:t> initiatives de </a:t>
            </a:r>
            <a:r>
              <a:rPr lang="en-US" sz="1100" err="1">
                <a:solidFill>
                  <a:schemeClr val="accent6"/>
                </a:solidFill>
                <a:latin typeface="Proximus Bold"/>
              </a:rPr>
              <a:t>softwarization</a:t>
            </a:r>
            <a:r>
              <a:rPr lang="en-US" sz="1100">
                <a:solidFill>
                  <a:schemeClr val="accent6"/>
                </a:solidFill>
                <a:latin typeface="Proximus Bold"/>
              </a:rPr>
              <a:t>. Je suis très </a:t>
            </a:r>
            <a:r>
              <a:rPr lang="en-US" sz="1100" err="1">
                <a:solidFill>
                  <a:schemeClr val="accent6"/>
                </a:solidFill>
                <a:latin typeface="Proximus Bold"/>
              </a:rPr>
              <a:t>heureuse</a:t>
            </a:r>
            <a:r>
              <a:rPr lang="en-US" sz="1100">
                <a:solidFill>
                  <a:schemeClr val="accent6"/>
                </a:solidFill>
                <a:latin typeface="Proximus Bold"/>
              </a:rPr>
              <a:t> de </a:t>
            </a:r>
            <a:r>
              <a:rPr lang="en-US" sz="1100" err="1">
                <a:solidFill>
                  <a:schemeClr val="accent6"/>
                </a:solidFill>
                <a:latin typeface="Proximus Bold"/>
              </a:rPr>
              <a:t>pouvoir</a:t>
            </a:r>
            <a:r>
              <a:rPr lang="en-US" sz="1100">
                <a:solidFill>
                  <a:schemeClr val="accent6"/>
                </a:solidFill>
                <a:latin typeface="Proximus Bold"/>
              </a:rPr>
              <a:t> </a:t>
            </a:r>
            <a:r>
              <a:rPr lang="en-US" sz="1100" err="1">
                <a:solidFill>
                  <a:schemeClr val="accent6"/>
                </a:solidFill>
                <a:latin typeface="Proximus Bold"/>
              </a:rPr>
              <a:t>vous</a:t>
            </a:r>
            <a:r>
              <a:rPr lang="en-US" sz="1100">
                <a:solidFill>
                  <a:schemeClr val="accent6"/>
                </a:solidFill>
                <a:latin typeface="Proximus Bold"/>
              </a:rPr>
              <a:t> </a:t>
            </a:r>
            <a:r>
              <a:rPr lang="en-US" sz="1100" err="1">
                <a:solidFill>
                  <a:schemeClr val="accent6"/>
                </a:solidFill>
                <a:latin typeface="Proximus Bold"/>
              </a:rPr>
              <a:t>accommpagner</a:t>
            </a:r>
            <a:r>
              <a:rPr lang="en-US" sz="1100">
                <a:solidFill>
                  <a:schemeClr val="accent6"/>
                </a:solidFill>
                <a:latin typeface="Proximus Bold"/>
              </a:rPr>
              <a:t> </a:t>
            </a:r>
            <a:r>
              <a:rPr lang="en-US" sz="1100" err="1">
                <a:solidFill>
                  <a:schemeClr val="accent6"/>
                </a:solidFill>
                <a:latin typeface="Proximus Bold"/>
              </a:rPr>
              <a:t>cet</a:t>
            </a:r>
            <a:r>
              <a:rPr lang="en-US" sz="1100">
                <a:solidFill>
                  <a:schemeClr val="accent6"/>
                </a:solidFill>
                <a:latin typeface="Proximus Bold"/>
              </a:rPr>
              <a:t> après-midi </a:t>
            </a:r>
            <a:r>
              <a:rPr lang="en-US" sz="1100" err="1">
                <a:solidFill>
                  <a:schemeClr val="accent6"/>
                </a:solidFill>
                <a:latin typeface="Proximus Bold"/>
              </a:rPr>
              <a:t>en</a:t>
            </a:r>
            <a:r>
              <a:rPr lang="en-US" sz="1100">
                <a:solidFill>
                  <a:schemeClr val="accent6"/>
                </a:solidFill>
                <a:latin typeface="Proximus Bold"/>
              </a:rPr>
              <a:t> tant </a:t>
            </a:r>
            <a:r>
              <a:rPr lang="en-US" sz="1100" err="1">
                <a:solidFill>
                  <a:schemeClr val="accent6"/>
                </a:solidFill>
                <a:latin typeface="Proximus Bold"/>
              </a:rPr>
              <a:t>qu'hôte</a:t>
            </a:r>
            <a:r>
              <a:rPr lang="en-US" sz="1100">
                <a:solidFill>
                  <a:schemeClr val="accent6"/>
                </a:solidFill>
                <a:latin typeface="Proximus Bold"/>
              </a:rPr>
              <a:t> avec Robin.</a:t>
            </a:r>
          </a:p>
          <a:p>
            <a:pPr marL="171450" indent="-171450">
              <a:buFont typeface="Arial" panose="020B0604020202020204" pitchFamily="34" charset="0"/>
              <a:buChar char="•"/>
            </a:pPr>
            <a:r>
              <a:rPr lang="nl-NL" sz="1100" b="1" i="0" u="sng">
                <a:solidFill>
                  <a:schemeClr val="accent6"/>
                </a:solidFill>
                <a:effectLst/>
                <a:latin typeface="Segoe UI"/>
                <a:cs typeface="Segoe UI"/>
              </a:rPr>
              <a:t>ROBIN</a:t>
            </a:r>
            <a:r>
              <a:rPr lang="nl-NL" sz="1100" b="0" i="0">
                <a:solidFill>
                  <a:schemeClr val="accent6"/>
                </a:solidFill>
                <a:effectLst/>
                <a:latin typeface="Segoe UI"/>
                <a:cs typeface="Segoe UI"/>
              </a:rPr>
              <a:t> : Goeiemiddag iedereen. Ik ben Robin. Ik werk in het Fiber-team op onze strategie en partnerschappen en ik ben net zo blij als Magali om vandaag een van uw </a:t>
            </a:r>
            <a:r>
              <a:rPr lang="nl-NL" sz="1100" b="0" i="0" err="1">
                <a:solidFill>
                  <a:schemeClr val="accent6"/>
                </a:solidFill>
                <a:effectLst/>
                <a:latin typeface="Segoe UI"/>
                <a:cs typeface="Segoe UI"/>
              </a:rPr>
              <a:t>hosts</a:t>
            </a:r>
            <a:r>
              <a:rPr lang="nl-NL" sz="1100" b="0" i="0">
                <a:solidFill>
                  <a:schemeClr val="accent6"/>
                </a:solidFill>
                <a:effectLst/>
                <a:latin typeface="Segoe UI"/>
                <a:cs typeface="Segoe UI"/>
              </a:rPr>
              <a:t> te zijn ;-) Ook een warm welkom aan iedereen die ons via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 of via </a:t>
            </a:r>
            <a:r>
              <a:rPr lang="nl-NL" sz="1100" b="0" i="0" err="1">
                <a:solidFill>
                  <a:schemeClr val="accent6"/>
                </a:solidFill>
                <a:effectLst/>
                <a:latin typeface="Segoe UI"/>
                <a:cs typeface="Segoe UI"/>
              </a:rPr>
              <a:t>Pickx</a:t>
            </a:r>
            <a:r>
              <a:rPr lang="nl-NL" sz="1100" b="0" i="0">
                <a:solidFill>
                  <a:schemeClr val="accent6"/>
                </a:solidFill>
                <a:effectLst/>
                <a:latin typeface="Segoe UI"/>
                <a:cs typeface="Segoe UI"/>
              </a:rPr>
              <a:t> bekijkt. Voor de mensen op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a:t>
            </a:r>
            <a:r>
              <a:rPr lang="nl-NL" sz="1100" b="0" i="0" err="1">
                <a:solidFill>
                  <a:schemeClr val="accent6"/>
                </a:solidFill>
                <a:effectLst/>
                <a:latin typeface="Segoe UI"/>
                <a:cs typeface="Segoe UI"/>
              </a:rPr>
              <a:t>Pickx</a:t>
            </a:r>
            <a:r>
              <a:rPr lang="nl-NL" sz="1100" b="0" i="0">
                <a:solidFill>
                  <a:schemeClr val="accent6"/>
                </a:solidFill>
                <a:effectLst/>
                <a:latin typeface="Segoe UI"/>
                <a:cs typeface="Segoe UI"/>
              </a:rPr>
              <a:t> is er vandaag een simultane vertaling via een AI-tool. Het is dus mogelijk dat er soms wat 'exotische' vertalingen zijn – we danken jullie alvast voor het nodige begrip hiervoor ;-) Genoeg met de praktische beslommeringen, Magali, waarom zijn we hier vandaag?</a:t>
            </a:r>
            <a:endParaRPr lang="fr-BE" sz="1100" b="0">
              <a:solidFill>
                <a:schemeClr val="accent6"/>
              </a:solidFill>
              <a:latin typeface="Segoe UI"/>
              <a:cs typeface="Segoe UI"/>
            </a:endParaRPr>
          </a:p>
        </p:txBody>
      </p:sp>
      <p:sp>
        <p:nvSpPr>
          <p:cNvPr id="4" name="Slide Number Placeholder 3">
            <a:extLst>
              <a:ext uri="{FF2B5EF4-FFF2-40B4-BE49-F238E27FC236}">
                <a16:creationId xmlns:a16="http://schemas.microsoft.com/office/drawing/2014/main" id="{3FFD050D-1CF3-4F75-50A8-5D17C1E0BCD5}"/>
              </a:ext>
            </a:extLst>
          </p:cNvPr>
          <p:cNvSpPr>
            <a:spLocks noGrp="1"/>
          </p:cNvSpPr>
          <p:nvPr>
            <p:ph type="sldNum" sz="quarter" idx="5"/>
          </p:nvPr>
        </p:nvSpPr>
        <p:spPr/>
        <p:txBody>
          <a:bodyPr/>
          <a:lstStyle/>
          <a:p>
            <a:fld id="{FA918F22-1231-AB43-96E7-2B8B890DCD5E}" type="slidenum">
              <a:rPr lang="en-US" smtClean="0"/>
              <a:pPr/>
              <a:t>2</a:t>
            </a:fld>
            <a:endParaRPr lang="en-US"/>
          </a:p>
        </p:txBody>
      </p:sp>
    </p:spTree>
    <p:extLst>
      <p:ext uri="{BB962C8B-B14F-4D97-AF65-F5344CB8AC3E}">
        <p14:creationId xmlns:p14="http://schemas.microsoft.com/office/powerpoint/2010/main" val="39993330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t>VINCENT</a:t>
            </a: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Coverage and Speed</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The RAN Swap and consolidation is finally progressing well, by mid next year it will nearly be finalized (except some long tail) bringing our </a:t>
            </a:r>
            <a:r>
              <a:rPr lang="en-US" sz="1100" b="1" kern="100">
                <a:effectLst/>
                <a:latin typeface="Aptos" panose="020B0004020202020204" pitchFamily="34" charset="0"/>
                <a:ea typeface="Aptos" panose="020B0004020202020204" pitchFamily="34" charset="0"/>
                <a:cs typeface="Arial" panose="020B0604020202020204" pitchFamily="34" charset="0"/>
              </a:rPr>
              <a:t>5G coverage close to 98% indoor </a:t>
            </a:r>
            <a:r>
              <a:rPr lang="en-US" sz="1100" kern="100">
                <a:effectLst/>
                <a:latin typeface="Aptos" panose="020B0004020202020204" pitchFamily="34" charset="0"/>
                <a:ea typeface="Aptos" panose="020B0004020202020204" pitchFamily="34" charset="0"/>
                <a:cs typeface="Arial" panose="020B0604020202020204" pitchFamily="34" charset="0"/>
              </a:rPr>
              <a:t>!! and close to 100% outdoor. Imagine this … we were nowhere 3 years ago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 are confident to offer </a:t>
            </a:r>
            <a:r>
              <a:rPr lang="en-US" sz="1100" b="1" kern="100">
                <a:effectLst/>
                <a:latin typeface="Aptos" panose="020B0004020202020204" pitchFamily="34" charset="0"/>
                <a:ea typeface="Aptos" panose="020B0004020202020204" pitchFamily="34" charset="0"/>
                <a:cs typeface="Arial" panose="020B0604020202020204" pitchFamily="34" charset="0"/>
              </a:rPr>
              <a:t>better coverage than </a:t>
            </a:r>
            <a:r>
              <a:rPr lang="en-US" sz="1100" b="1" kern="100" err="1">
                <a:effectLst/>
                <a:latin typeface="Aptos" panose="020B0004020202020204" pitchFamily="34" charset="0"/>
                <a:ea typeface="Aptos" panose="020B0004020202020204" pitchFamily="34" charset="0"/>
                <a:cs typeface="Arial" panose="020B0604020202020204" pitchFamily="34" charset="0"/>
              </a:rPr>
              <a:t>Telenet</a:t>
            </a:r>
            <a:r>
              <a:rPr lang="en-US" sz="1100" b="1" kern="100">
                <a:effectLst/>
                <a:latin typeface="Aptos" panose="020B0004020202020204" pitchFamily="34" charset="0"/>
                <a:ea typeface="Aptos" panose="020B0004020202020204" pitchFamily="34" charset="0"/>
                <a:cs typeface="Arial" panose="020B0604020202020204" pitchFamily="34" charset="0"/>
              </a:rPr>
              <a:t> and DIGI (on their own network),</a:t>
            </a:r>
            <a:r>
              <a:rPr lang="en-US" sz="1100" kern="100">
                <a:effectLst/>
                <a:latin typeface="Aptos" panose="020B0004020202020204" pitchFamily="34" charset="0"/>
                <a:ea typeface="Aptos" panose="020B0004020202020204" pitchFamily="34" charset="0"/>
                <a:cs typeface="Arial" panose="020B0604020202020204" pitchFamily="34" charset="0"/>
              </a:rPr>
              <a:t> of course our </a:t>
            </a:r>
            <a:r>
              <a:rPr lang="en-US" sz="1100" b="1" kern="100">
                <a:effectLst/>
                <a:latin typeface="Aptos" panose="020B0004020202020204" pitchFamily="34" charset="0"/>
                <a:ea typeface="Aptos" panose="020B0004020202020204" pitchFamily="34" charset="0"/>
                <a:cs typeface="Arial" panose="020B0604020202020204" pitchFamily="34" charset="0"/>
              </a:rPr>
              <a:t>advantage of OBE will be minimal</a:t>
            </a:r>
            <a:r>
              <a:rPr lang="en-US" sz="1100" kern="100">
                <a:effectLst/>
                <a:latin typeface="Aptos" panose="020B0004020202020204" pitchFamily="34" charset="0"/>
                <a:ea typeface="Aptos" panose="020B0004020202020204" pitchFamily="34" charset="0"/>
                <a:cs typeface="Arial" panose="020B0604020202020204" pitchFamily="34" charset="0"/>
              </a:rPr>
              <a:t>. In speed  we continue to invest massively in NR35 allowing us to sustain our </a:t>
            </a:r>
            <a:r>
              <a:rPr lang="en-US" sz="1100" b="1" kern="100">
                <a:effectLst/>
                <a:latin typeface="Aptos" panose="020B0004020202020204" pitchFamily="34" charset="0"/>
                <a:ea typeface="Aptos" panose="020B0004020202020204" pitchFamily="34" charset="0"/>
                <a:cs typeface="Arial" panose="020B0604020202020204" pitchFamily="34" charset="0"/>
              </a:rPr>
              <a:t>fastest network claim</a:t>
            </a:r>
          </a:p>
          <a:p>
            <a:pPr marL="342900" lvl="0" indent="-342900">
              <a:lnSpc>
                <a:spcPct val="107000"/>
              </a:lnSpc>
              <a:spcAft>
                <a:spcPts val="800"/>
              </a:spcAft>
              <a:buFont typeface="Symbol" panose="05050102010706020507" pitchFamily="18" charset="2"/>
              <a:buChar char=""/>
            </a:pP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Customer Experience</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After a few years focusing on swap volumes we want to </a:t>
            </a:r>
            <a:r>
              <a:rPr lang="en-US" sz="1100" b="1" kern="100">
                <a:effectLst/>
                <a:latin typeface="Aptos" panose="020B0004020202020204" pitchFamily="34" charset="0"/>
                <a:ea typeface="Aptos" panose="020B0004020202020204" pitchFamily="34" charset="0"/>
                <a:cs typeface="Arial" panose="020B0604020202020204" pitchFamily="34" charset="0"/>
              </a:rPr>
              <a:t>bring back the focus on quality </a:t>
            </a:r>
            <a:r>
              <a:rPr lang="en-US" sz="1100" kern="100">
                <a:effectLst/>
                <a:latin typeface="Aptos" panose="020B0004020202020204" pitchFamily="34" charset="0"/>
                <a:ea typeface="Aptos" panose="020B0004020202020204" pitchFamily="34" charset="0"/>
                <a:cs typeface="Arial" panose="020B0604020202020204" pitchFamily="34" charset="0"/>
              </a:rPr>
              <a:t>in order to improve our customer experience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Aurora </a:t>
            </a:r>
            <a:r>
              <a:rPr lang="en-US" sz="1100" b="1" kern="100">
                <a:effectLst/>
                <a:latin typeface="Aptos" panose="020B0004020202020204" pitchFamily="34" charset="0"/>
                <a:ea typeface="Aptos" panose="020B0004020202020204" pitchFamily="34" charset="0"/>
                <a:cs typeface="Arial" panose="020B0604020202020204" pitchFamily="34" charset="0"/>
              </a:rPr>
              <a:t>coverage</a:t>
            </a:r>
            <a:r>
              <a:rPr lang="en-US" sz="1100" kern="100">
                <a:effectLst/>
                <a:latin typeface="Aptos" panose="020B0004020202020204" pitchFamily="34" charset="0"/>
                <a:ea typeface="Aptos" panose="020B0004020202020204" pitchFamily="34" charset="0"/>
                <a:cs typeface="Arial" panose="020B0604020202020204" pitchFamily="34" charset="0"/>
              </a:rPr>
              <a:t> gains</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Keep very </a:t>
            </a:r>
            <a:r>
              <a:rPr lang="en-US" sz="1100" b="1" kern="100">
                <a:effectLst/>
                <a:latin typeface="Aptos" panose="020B0004020202020204" pitchFamily="34" charset="0"/>
                <a:ea typeface="Aptos" panose="020B0004020202020204" pitchFamily="34" charset="0"/>
                <a:cs typeface="Arial" panose="020B0604020202020204" pitchFamily="34" charset="0"/>
              </a:rPr>
              <a:t>low saturation</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comprehensive </a:t>
            </a:r>
            <a:r>
              <a:rPr lang="en-US" sz="1100" b="1" kern="100" err="1">
                <a:effectLst/>
                <a:latin typeface="Aptos" panose="020B0004020202020204" pitchFamily="34" charset="0"/>
                <a:ea typeface="Aptos" panose="020B0004020202020204" pitchFamily="34" charset="0"/>
                <a:cs typeface="Arial" panose="020B0604020202020204" pitchFamily="34" charset="0"/>
              </a:rPr>
              <a:t>optimisation</a:t>
            </a:r>
            <a:r>
              <a:rPr lang="en-US" sz="1100" kern="100">
                <a:effectLst/>
                <a:latin typeface="Aptos" panose="020B0004020202020204" pitchFamily="34" charset="0"/>
                <a:ea typeface="Aptos" panose="020B0004020202020204" pitchFamily="34" charset="0"/>
                <a:cs typeface="Arial" panose="020B0604020202020204" pitchFamily="34" charset="0"/>
              </a:rPr>
              <a:t> phase</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leverage of </a:t>
            </a:r>
            <a:r>
              <a:rPr lang="en-US" sz="1100" b="1" kern="100">
                <a:effectLst/>
                <a:latin typeface="Aptos" panose="020B0004020202020204" pitchFamily="34" charset="0"/>
                <a:ea typeface="Aptos" panose="020B0004020202020204" pitchFamily="34" charset="0"/>
                <a:cs typeface="Arial" panose="020B0604020202020204" pitchFamily="34" charset="0"/>
              </a:rPr>
              <a:t>spectrum leadership </a:t>
            </a:r>
            <a:r>
              <a:rPr lang="en-US" sz="1100" kern="100">
                <a:effectLst/>
                <a:latin typeface="Aptos" panose="020B0004020202020204" pitchFamily="34" charset="0"/>
                <a:ea typeface="Aptos" panose="020B0004020202020204" pitchFamily="34" charset="0"/>
                <a:cs typeface="Arial" panose="020B0604020202020204" pitchFamily="34" charset="0"/>
              </a:rPr>
              <a:t>like the 1400Mhz band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742950" lvl="1" indent="-285750">
              <a:lnSpc>
                <a:spcPct val="107000"/>
              </a:lnSpc>
              <a:spcAft>
                <a:spcPts val="800"/>
              </a:spcAft>
              <a:buFont typeface="Courier New" panose="02070309020205020404" pitchFamily="49" charset="0"/>
              <a:buChar char="o"/>
            </a:pPr>
            <a:r>
              <a:rPr lang="en-US" sz="1100" kern="100">
                <a:effectLst/>
                <a:latin typeface="Aptos" panose="020B0004020202020204" pitchFamily="34" charset="0"/>
                <a:ea typeface="Aptos" panose="020B0004020202020204" pitchFamily="34" charset="0"/>
                <a:cs typeface="Arial" panose="020B0604020202020204" pitchFamily="34" charset="0"/>
              </a:rPr>
              <a:t>increased </a:t>
            </a:r>
            <a:r>
              <a:rPr lang="en-US" sz="1100" b="1" kern="100">
                <a:effectLst/>
                <a:latin typeface="Aptos" panose="020B0004020202020204" pitchFamily="34" charset="0"/>
                <a:ea typeface="Aptos" panose="020B0004020202020204" pitchFamily="34" charset="0"/>
                <a:cs typeface="Arial" panose="020B0604020202020204" pitchFamily="34" charset="0"/>
              </a:rPr>
              <a:t>monitoring capabilities</a:t>
            </a:r>
            <a:r>
              <a:rPr lang="en-US" sz="1100" kern="100">
                <a:effectLst/>
                <a:latin typeface="Aptos" panose="020B0004020202020204" pitchFamily="34" charset="0"/>
                <a:ea typeface="Aptos" panose="020B0004020202020204" pitchFamily="34" charset="0"/>
                <a:cs typeface="Arial" panose="020B0604020202020204" pitchFamily="34" charset="0"/>
              </a:rPr>
              <a:t>, new </a:t>
            </a:r>
            <a:r>
              <a:rPr lang="en-US" sz="1100" kern="100" err="1">
                <a:effectLst/>
                <a:latin typeface="Aptos" panose="020B0004020202020204" pitchFamily="34" charset="0"/>
                <a:ea typeface="Aptos" panose="020B0004020202020204" pitchFamily="34" charset="0"/>
                <a:cs typeface="Arial" panose="020B0604020202020204" pitchFamily="34" charset="0"/>
              </a:rPr>
              <a:t>Mwingz</a:t>
            </a:r>
            <a:r>
              <a:rPr lang="en-US" sz="1100" kern="100">
                <a:effectLst/>
                <a:latin typeface="Aptos" panose="020B0004020202020204" pitchFamily="34" charset="0"/>
                <a:ea typeface="Aptos" panose="020B0004020202020204" pitchFamily="34" charset="0"/>
                <a:cs typeface="Arial" panose="020B0604020202020204" pitchFamily="34" charset="0"/>
              </a:rPr>
              <a:t> </a:t>
            </a:r>
            <a:r>
              <a:rPr lang="en-US" sz="1100" b="1" kern="100">
                <a:effectLst/>
                <a:latin typeface="Aptos" panose="020B0004020202020204" pitchFamily="34" charset="0"/>
                <a:ea typeface="Aptos" panose="020B0004020202020204" pitchFamily="34" charset="0"/>
                <a:cs typeface="Arial" panose="020B0604020202020204" pitchFamily="34" charset="0"/>
              </a:rPr>
              <a:t>organization</a:t>
            </a:r>
            <a:r>
              <a:rPr lang="en-US" sz="1100" kern="100">
                <a:effectLst/>
                <a:latin typeface="Aptos" panose="020B0004020202020204" pitchFamily="34" charset="0"/>
                <a:ea typeface="Aptos" panose="020B0004020202020204" pitchFamily="34" charset="0"/>
                <a:cs typeface="Arial" panose="020B0604020202020204" pitchFamily="34" charset="0"/>
              </a:rPr>
              <a:t> set-up and generalized use of </a:t>
            </a:r>
            <a:r>
              <a:rPr lang="en-US" sz="1100" b="1" kern="100">
                <a:effectLst/>
                <a:latin typeface="Aptos" panose="020B0004020202020204" pitchFamily="34" charset="0"/>
                <a:ea typeface="Aptos" panose="020B0004020202020204" pitchFamily="34" charset="0"/>
                <a:cs typeface="Arial" panose="020B0604020202020204" pitchFamily="34" charset="0"/>
              </a:rPr>
              <a:t>analytics</a:t>
            </a:r>
            <a:r>
              <a:rPr lang="en-US" sz="1100" kern="100">
                <a:effectLst/>
                <a:latin typeface="Aptos" panose="020B0004020202020204" pitchFamily="34" charset="0"/>
                <a:ea typeface="Aptos" panose="020B0004020202020204" pitchFamily="34" charset="0"/>
                <a:cs typeface="Arial" panose="020B0604020202020204" pitchFamily="34" charset="0"/>
              </a:rPr>
              <a:t> should help us reach this goal</a:t>
            </a:r>
          </a:p>
          <a:p>
            <a:pPr marL="742950" lvl="1" indent="-285750">
              <a:lnSpc>
                <a:spcPct val="107000"/>
              </a:lnSpc>
              <a:spcAft>
                <a:spcPts val="800"/>
              </a:spcAft>
              <a:buFont typeface="Courier New" panose="02070309020205020404" pitchFamily="49" charset="0"/>
              <a:buChar char="o"/>
            </a:pP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Simplify, modernize, automate to be efficient</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a:t>
            </a:r>
            <a:r>
              <a:rPr lang="en-US" sz="1100" b="1" u="sng" kern="100" err="1">
                <a:effectLst/>
                <a:latin typeface="Aptos" panose="020B0004020202020204" pitchFamily="34" charset="0"/>
                <a:ea typeface="Aptos" panose="020B0004020202020204" pitchFamily="34" charset="0"/>
                <a:cs typeface="Arial" panose="020B0604020202020204" pitchFamily="34" charset="0"/>
              </a:rPr>
              <a:t>outphase</a:t>
            </a:r>
            <a:r>
              <a:rPr lang="en-US" sz="1100" b="1" u="sng" kern="100">
                <a:effectLst/>
                <a:latin typeface="Aptos" panose="020B0004020202020204" pitchFamily="34" charset="0"/>
                <a:ea typeface="Aptos" panose="020B0004020202020204" pitchFamily="34" charset="0"/>
                <a:cs typeface="Arial" panose="020B0604020202020204" pitchFamily="34" charset="0"/>
              </a:rPr>
              <a:t> legacy 3G and 2G technologies</a:t>
            </a:r>
            <a:r>
              <a:rPr lang="en-US" sz="1100" b="1" kern="100">
                <a:effectLst/>
                <a:latin typeface="Aptos" panose="020B0004020202020204" pitchFamily="34" charset="0"/>
                <a:ea typeface="Aptos" panose="020B0004020202020204" pitchFamily="34" charset="0"/>
                <a:cs typeface="Arial" panose="020B0604020202020204" pitchFamily="34" charset="0"/>
              </a:rPr>
              <a:t> </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implement </a:t>
            </a:r>
            <a:r>
              <a:rPr lang="en-US" sz="1100" b="1" u="sng" kern="100">
                <a:effectLst/>
                <a:latin typeface="Aptos" panose="020B0004020202020204" pitchFamily="34" charset="0"/>
                <a:ea typeface="Aptos" panose="020B0004020202020204" pitchFamily="34" charset="0"/>
                <a:cs typeface="Arial" panose="020B0604020202020204" pitchFamily="34" charset="0"/>
              </a:rPr>
              <a:t>Energy Savings features</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based on AI and Machine Learning technologies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Together with MWingz, we’ll evolve to </a:t>
            </a:r>
            <a:r>
              <a:rPr lang="en-US" sz="1100" b="1" u="sng" kern="100">
                <a:effectLst/>
                <a:latin typeface="Aptos" panose="020B0004020202020204" pitchFamily="34" charset="0"/>
                <a:ea typeface="Aptos" panose="020B0004020202020204" pitchFamily="34" charset="0"/>
                <a:cs typeface="Arial" panose="020B0604020202020204" pitchFamily="34" charset="0"/>
              </a:rPr>
              <a:t>best-in-class IT tools and API</a:t>
            </a:r>
            <a:r>
              <a:rPr lang="en-US" sz="1100" kern="100">
                <a:effectLst/>
                <a:latin typeface="Aptos" panose="020B0004020202020204" pitchFamily="34" charset="0"/>
                <a:ea typeface="Aptos" panose="020B0004020202020204" pitchFamily="34" charset="0"/>
                <a:cs typeface="Arial" panose="020B0604020202020204" pitchFamily="34" charset="0"/>
              </a:rPr>
              <a:t>, enabling highly automated operations (like parameters consistency checks)</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The complete mobile voice platform landscape will be modernized</a:t>
            </a:r>
          </a:p>
          <a:p>
            <a:pPr marL="0" lvl="0" indent="0">
              <a:lnSpc>
                <a:spcPct val="107000"/>
              </a:lnSpc>
              <a:spcAft>
                <a:spcPts val="800"/>
              </a:spcAft>
              <a:buFont typeface="Symbol" panose="05050102010706020507" pitchFamily="18" charset="2"/>
              <a:buNone/>
            </a:pP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US" sz="1100" kern="100">
                <a:effectLst/>
                <a:latin typeface="Aptos" panose="020B0004020202020204" pitchFamily="34" charset="0"/>
                <a:ea typeface="Aptos" panose="020B0004020202020204" pitchFamily="34" charset="0"/>
                <a:cs typeface="Arial" panose="020B0604020202020204" pitchFamily="34" charset="0"/>
              </a:rPr>
              <a:t>Innovation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 want </a:t>
            </a:r>
            <a:r>
              <a:rPr lang="en-US" sz="1100" u="sng" kern="100">
                <a:effectLst/>
                <a:latin typeface="Aptos" panose="020B0004020202020204" pitchFamily="34" charset="0"/>
                <a:ea typeface="Aptos" panose="020B0004020202020204" pitchFamily="34" charset="0"/>
                <a:cs typeface="Arial" panose="020B0604020202020204" pitchFamily="34" charset="0"/>
              </a:rPr>
              <a:t>to </a:t>
            </a:r>
            <a:r>
              <a:rPr lang="en-US" sz="1100" b="1" u="sng" kern="100">
                <a:effectLst/>
                <a:latin typeface="Aptos" panose="020B0004020202020204" pitchFamily="34" charset="0"/>
                <a:ea typeface="Aptos" panose="020B0004020202020204" pitchFamily="34" charset="0"/>
                <a:cs typeface="Arial" panose="020B0604020202020204" pitchFamily="34" charset="0"/>
              </a:rPr>
              <a:t>lead B2B solutions</a:t>
            </a:r>
            <a:r>
              <a:rPr lang="en-US" sz="1100" b="1" kern="100">
                <a:effectLst/>
                <a:latin typeface="Aptos" panose="020B0004020202020204" pitchFamily="34" charset="0"/>
                <a:ea typeface="Aptos" panose="020B0004020202020204" pitchFamily="34" charset="0"/>
                <a:cs typeface="Arial" panose="020B0604020202020204" pitchFamily="34" charset="0"/>
              </a:rPr>
              <a:t> </a:t>
            </a:r>
            <a:endParaRPr lang="en-BE" sz="1100" b="1"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a:t>
            </a:r>
            <a:r>
              <a:rPr lang="en-US" sz="1100" b="1" u="sng" kern="100">
                <a:effectLst/>
                <a:latin typeface="Aptos" panose="020B0004020202020204" pitchFamily="34" charset="0"/>
                <a:ea typeface="Aptos" panose="020B0004020202020204" pitchFamily="34" charset="0"/>
                <a:cs typeface="Arial" panose="020B0604020202020204" pitchFamily="34" charset="0"/>
              </a:rPr>
              <a:t>finalize mobile core network migration</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to Ericsson, enabling 5G Standalone implementation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ll implement </a:t>
            </a:r>
            <a:r>
              <a:rPr lang="en-US" sz="1100" b="1" u="sng" kern="100">
                <a:effectLst/>
                <a:latin typeface="Aptos" panose="020B0004020202020204" pitchFamily="34" charset="0"/>
                <a:ea typeface="Aptos" panose="020B0004020202020204" pitchFamily="34" charset="0"/>
                <a:cs typeface="Arial" panose="020B0604020202020204" pitchFamily="34" charset="0"/>
              </a:rPr>
              <a:t>Mobile Private Networks</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and dedicated B2B solutions, enabling digital transformation of various vertical markets (healthcare, security, manufacturing,..)</a:t>
            </a:r>
          </a:p>
          <a:p>
            <a:pPr marL="342900" lvl="0" indent="-342900">
              <a:lnSpc>
                <a:spcPct val="107000"/>
              </a:lnSpc>
              <a:spcAft>
                <a:spcPts val="800"/>
              </a:spcAft>
              <a:buFont typeface="Symbol" panose="05050102010706020507" pitchFamily="18" charset="2"/>
              <a:buChar char=""/>
            </a:pPr>
            <a:r>
              <a:rPr lang="en-US" sz="1100" kern="100">
                <a:effectLst/>
                <a:latin typeface="Aptos" panose="020B0004020202020204" pitchFamily="34" charset="0"/>
                <a:ea typeface="Aptos" panose="020B0004020202020204" pitchFamily="34" charset="0"/>
                <a:cs typeface="Arial" panose="020B0604020202020204" pitchFamily="34" charset="0"/>
              </a:rPr>
              <a:t>We will develop our </a:t>
            </a:r>
            <a:r>
              <a:rPr lang="en-US" sz="1100" b="1" kern="100">
                <a:effectLst/>
                <a:latin typeface="Aptos" panose="020B0004020202020204" pitchFamily="34" charset="0"/>
                <a:ea typeface="Aptos" panose="020B0004020202020204" pitchFamily="34" charset="0"/>
                <a:cs typeface="Arial" panose="020B0604020202020204" pitchFamily="34" charset="0"/>
              </a:rPr>
              <a:t>5G SA portfolio </a:t>
            </a:r>
            <a:r>
              <a:rPr lang="en-US" sz="1100" kern="100">
                <a:effectLst/>
                <a:latin typeface="Aptos" panose="020B0004020202020204" pitchFamily="34" charset="0"/>
                <a:ea typeface="Aptos" panose="020B0004020202020204" pitchFamily="34" charset="0"/>
                <a:cs typeface="Arial" panose="020B0604020202020204" pitchFamily="34" charset="0"/>
              </a:rPr>
              <a:t>with service slices on IOT and smartphones, followed by customer-defined slices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lgn="l" rtl="0" fontAlgn="base">
              <a:lnSpc>
                <a:spcPts val="1376"/>
              </a:lnSpc>
              <a:buFont typeface="+mj-lt"/>
              <a:buAutoNum type="arabicPeriod"/>
            </a:pPr>
            <a:endParaRPr lang="en-US" sz="1100">
              <a:solidFill>
                <a:srgbClr val="000000"/>
              </a:solidFill>
              <a:effectLst/>
              <a:latin typeface="Proximus Light" pitchFamily="2" charset="77"/>
            </a:endParaRPr>
          </a:p>
          <a:p>
            <a:pPr algn="l" rtl="0" fontAlgn="base">
              <a:lnSpc>
                <a:spcPts val="1376"/>
              </a:lnSpc>
              <a:buFont typeface="+mj-lt"/>
              <a:buAutoNum type="arabicPeriod"/>
            </a:pPr>
            <a:endParaRPr lang="fr-BE" sz="1100"/>
          </a:p>
          <a:p>
            <a:pPr algn="l" rtl="0" fontAlgn="base">
              <a:lnSpc>
                <a:spcPts val="1376"/>
              </a:lnSpc>
              <a:buFont typeface="+mj-lt"/>
              <a:buAutoNum type="arabicPeriod"/>
            </a:pPr>
            <a:endParaRPr lang="en-US" sz="1100">
              <a:solidFill>
                <a:srgbClr val="000000"/>
              </a:solidFill>
              <a:effectLst/>
              <a:latin typeface="Proximus Light" pitchFamily="2" charset="77"/>
            </a:endParaRPr>
          </a:p>
          <a:p>
            <a:pPr algn="l" rtl="0" fontAlgn="base">
              <a:lnSpc>
                <a:spcPts val="1376"/>
              </a:lnSpc>
              <a:buFont typeface="+mj-lt"/>
              <a:buAutoNum type="arabicPeriod"/>
            </a:pPr>
            <a:endParaRPr lang="fr-BE"/>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0181976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BE" sz="1100" b="1">
                <a:latin typeface="Proximus Bold"/>
              </a:rPr>
              <a:t>VINCENT</a:t>
            </a:r>
            <a:r>
              <a:rPr lang="en-US" sz="1100">
                <a:latin typeface="Proximus Bold"/>
              </a:rPr>
              <a:t> </a:t>
            </a:r>
            <a:r>
              <a:rPr lang="en-US" sz="1100" kern="100">
                <a:effectLst/>
                <a:latin typeface="Aptos" panose="020B0004020202020204" pitchFamily="34" charset="0"/>
                <a:ea typeface="Aptos" panose="020B0004020202020204" pitchFamily="34" charset="0"/>
                <a:cs typeface="Arial" panose="020B0604020202020204" pitchFamily="34" charset="0"/>
              </a:rPr>
              <a:t>Priorities 2025</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Continue </a:t>
            </a:r>
            <a:r>
              <a:rPr lang="en-US" sz="1100" b="1" kern="100">
                <a:effectLst/>
                <a:latin typeface="Aptos" panose="020B0004020202020204" pitchFamily="34" charset="0"/>
                <a:ea typeface="Aptos" panose="020B0004020202020204" pitchFamily="34" charset="0"/>
                <a:cs typeface="Arial" panose="020B0604020202020204" pitchFamily="34" charset="0"/>
              </a:rPr>
              <a:t>Aurora at full speed </a:t>
            </a:r>
            <a:r>
              <a:rPr lang="en-US" sz="1100" kern="100">
                <a:effectLst/>
                <a:latin typeface="Aptos" panose="020B0004020202020204" pitchFamily="34" charset="0"/>
                <a:ea typeface="Aptos" panose="020B0004020202020204" pitchFamily="34" charset="0"/>
                <a:cs typeface="Arial" panose="020B0604020202020204" pitchFamily="34" charset="0"/>
              </a:rPr>
              <a:t>as this is the foundation of our modernized network</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Further </a:t>
            </a:r>
            <a:r>
              <a:rPr lang="en-US" sz="1100" b="1" kern="100">
                <a:effectLst/>
                <a:latin typeface="Aptos" panose="020B0004020202020204" pitchFamily="34" charset="0"/>
                <a:ea typeface="Aptos" panose="020B0004020202020204" pitchFamily="34" charset="0"/>
                <a:cs typeface="Arial" panose="020B0604020202020204" pitchFamily="34" charset="0"/>
              </a:rPr>
              <a:t>deploy NR35 full 5G </a:t>
            </a:r>
            <a:r>
              <a:rPr lang="en-US" sz="1100" kern="100">
                <a:effectLst/>
                <a:latin typeface="Aptos" panose="020B0004020202020204" pitchFamily="34" charset="0"/>
                <a:ea typeface="Aptos" panose="020B0004020202020204" pitchFamily="34" charset="0"/>
                <a:cs typeface="Arial" panose="020B0604020202020204" pitchFamily="34" charset="0"/>
              </a:rPr>
              <a:t>to get speed benefits of 5G</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In a few weeks </a:t>
            </a:r>
            <a:r>
              <a:rPr lang="en-US" sz="1100" b="1" kern="100">
                <a:effectLst/>
                <a:latin typeface="Aptos" panose="020B0004020202020204" pitchFamily="34" charset="0"/>
                <a:ea typeface="Aptos" panose="020B0004020202020204" pitchFamily="34" charset="0"/>
                <a:cs typeface="Arial" panose="020B0604020202020204" pitchFamily="34" charset="0"/>
              </a:rPr>
              <a:t>3G will be completely </a:t>
            </a:r>
            <a:r>
              <a:rPr lang="en-US" sz="1100" b="1" kern="100" err="1">
                <a:effectLst/>
                <a:latin typeface="Aptos" panose="020B0004020202020204" pitchFamily="34" charset="0"/>
                <a:ea typeface="Aptos" panose="020B0004020202020204" pitchFamily="34" charset="0"/>
                <a:cs typeface="Arial" panose="020B0604020202020204" pitchFamily="34" charset="0"/>
              </a:rPr>
              <a:t>outphased</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and spectrum </a:t>
            </a:r>
            <a:r>
              <a:rPr lang="en-US" sz="1100" kern="100" err="1">
                <a:effectLst/>
                <a:latin typeface="Aptos" panose="020B0004020202020204" pitchFamily="34" charset="0"/>
                <a:ea typeface="Aptos" panose="020B0004020202020204" pitchFamily="34" charset="0"/>
                <a:cs typeface="Arial" panose="020B0604020202020204" pitchFamily="34" charset="0"/>
              </a:rPr>
              <a:t>refarmed</a:t>
            </a:r>
            <a:r>
              <a:rPr lang="en-US" sz="1100" kern="100">
                <a:effectLst/>
                <a:latin typeface="Aptos" panose="020B0004020202020204" pitchFamily="34" charset="0"/>
                <a:ea typeface="Aptos" panose="020B0004020202020204" pitchFamily="34" charset="0"/>
                <a:cs typeface="Arial" panose="020B0604020202020204" pitchFamily="34" charset="0"/>
              </a:rPr>
              <a:t> to 4G. </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Anticipate </a:t>
            </a:r>
            <a:r>
              <a:rPr lang="en-US" sz="1100" b="1" kern="100">
                <a:effectLst/>
                <a:latin typeface="Aptos" panose="020B0004020202020204" pitchFamily="34" charset="0"/>
                <a:ea typeface="Aptos" panose="020B0004020202020204" pitchFamily="34" charset="0"/>
                <a:cs typeface="Arial" panose="020B0604020202020204" pitchFamily="34" charset="0"/>
              </a:rPr>
              <a:t>possible traffic increases </a:t>
            </a:r>
            <a:r>
              <a:rPr lang="en-US" sz="1100" kern="100">
                <a:effectLst/>
                <a:latin typeface="Aptos" panose="020B0004020202020204" pitchFamily="34" charset="0"/>
                <a:ea typeface="Aptos" panose="020B0004020202020204" pitchFamily="34" charset="0"/>
                <a:cs typeface="Arial" panose="020B0604020202020204" pitchFamily="34" charset="0"/>
              </a:rPr>
              <a:t>linked to presence of DIGI customers on our network</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Implement big </a:t>
            </a:r>
            <a:r>
              <a:rPr lang="en-US" sz="1100" b="1" kern="100">
                <a:effectLst/>
                <a:latin typeface="Aptos" panose="020B0004020202020204" pitchFamily="34" charset="0"/>
                <a:ea typeface="Aptos" panose="020B0004020202020204" pitchFamily="34" charset="0"/>
                <a:cs typeface="Arial" panose="020B0604020202020204" pitchFamily="34" charset="0"/>
              </a:rPr>
              <a:t>IT transformation at </a:t>
            </a:r>
            <a:r>
              <a:rPr lang="en-US" sz="1100" b="1" kern="100" err="1">
                <a:effectLst/>
                <a:latin typeface="Aptos" panose="020B0004020202020204" pitchFamily="34" charset="0"/>
                <a:ea typeface="Aptos" panose="020B0004020202020204" pitchFamily="34" charset="0"/>
                <a:cs typeface="Arial" panose="020B0604020202020204" pitchFamily="34" charset="0"/>
              </a:rPr>
              <a:t>Mwingz</a:t>
            </a:r>
            <a:r>
              <a:rPr lang="en-US" sz="1100" b="1" kern="100">
                <a:effectLst/>
                <a:latin typeface="Aptos" panose="020B0004020202020204" pitchFamily="34" charset="0"/>
                <a:ea typeface="Aptos" panose="020B0004020202020204" pitchFamily="34" charset="0"/>
                <a:cs typeface="Arial" panose="020B0604020202020204" pitchFamily="34" charset="0"/>
              </a:rPr>
              <a:t> </a:t>
            </a:r>
            <a:r>
              <a:rPr lang="en-US" sz="1100" kern="100">
                <a:effectLst/>
                <a:latin typeface="Aptos" panose="020B0004020202020204" pitchFamily="34" charset="0"/>
                <a:ea typeface="Aptos" panose="020B0004020202020204" pitchFamily="34" charset="0"/>
                <a:cs typeface="Arial" panose="020B0604020202020204" pitchFamily="34" charset="0"/>
              </a:rPr>
              <a:t>(</a:t>
            </a:r>
            <a:r>
              <a:rPr lang="en-US" sz="1100" kern="100" err="1">
                <a:effectLst/>
                <a:latin typeface="Aptos" panose="020B0004020202020204" pitchFamily="34" charset="0"/>
                <a:ea typeface="Aptos" panose="020B0004020202020204" pitchFamily="34" charset="0"/>
                <a:cs typeface="Arial" panose="020B0604020202020204" pitchFamily="34" charset="0"/>
              </a:rPr>
              <a:t>Mworld</a:t>
            </a:r>
            <a:r>
              <a:rPr lang="en-US" sz="1100" kern="100">
                <a:effectLst/>
                <a:latin typeface="Aptos" panose="020B0004020202020204" pitchFamily="34" charset="0"/>
                <a:ea typeface="Aptos" panose="020B0004020202020204" pitchFamily="34" charset="0"/>
                <a:cs typeface="Arial" panose="020B0604020202020204" pitchFamily="34" charset="0"/>
              </a:rPr>
              <a:t>) and increase </a:t>
            </a:r>
            <a:r>
              <a:rPr lang="en-US" sz="1100" b="1" kern="100">
                <a:effectLst/>
                <a:latin typeface="Aptos" panose="020B0004020202020204" pitchFamily="34" charset="0"/>
                <a:ea typeface="Aptos" panose="020B0004020202020204" pitchFamily="34" charset="0"/>
                <a:cs typeface="Arial" panose="020B0604020202020204" pitchFamily="34" charset="0"/>
              </a:rPr>
              <a:t>data quality</a:t>
            </a:r>
            <a:r>
              <a:rPr lang="en-US" sz="1100" kern="100">
                <a:effectLst/>
                <a:latin typeface="Aptos" panose="020B0004020202020204" pitchFamily="34" charset="0"/>
                <a:ea typeface="Aptos" panose="020B0004020202020204" pitchFamily="34" charset="0"/>
                <a:cs typeface="Arial" panose="020B0604020202020204" pitchFamily="34" charset="0"/>
              </a:rPr>
              <a:t>. Paving the way for automation and AI</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The time has come to -</a:t>
            </a:r>
            <a:r>
              <a:rPr lang="en-US" sz="1100" b="1" kern="100">
                <a:effectLst/>
                <a:latin typeface="Aptos" panose="020B0004020202020204" pitchFamily="34" charset="0"/>
                <a:ea typeface="Aptos" panose="020B0004020202020204" pitchFamily="34" charset="0"/>
                <a:cs typeface="Arial" panose="020B0604020202020204" pitchFamily="34" charset="0"/>
              </a:rPr>
              <a:t>demonstrate the real benefits of 5G</a:t>
            </a:r>
            <a:r>
              <a:rPr lang="en-US" sz="1100" kern="100">
                <a:effectLst/>
                <a:latin typeface="Aptos" panose="020B0004020202020204" pitchFamily="34" charset="0"/>
                <a:ea typeface="Aptos" panose="020B0004020202020204" pitchFamily="34" charset="0"/>
                <a:cs typeface="Arial" panose="020B0604020202020204" pitchFamily="34" charset="0"/>
              </a:rPr>
              <a:t>. This year we will be able to launch a </a:t>
            </a:r>
            <a:r>
              <a:rPr lang="en-US" sz="1100" b="1" kern="100">
                <a:effectLst/>
                <a:latin typeface="Aptos" panose="020B0004020202020204" pitchFamily="34" charset="0"/>
                <a:ea typeface="Aptos" panose="020B0004020202020204" pitchFamily="34" charset="0"/>
                <a:cs typeface="Arial" panose="020B0604020202020204" pitchFamily="34" charset="0"/>
              </a:rPr>
              <a:t>first commercial slice </a:t>
            </a:r>
            <a:r>
              <a:rPr lang="en-US" sz="1100" kern="100">
                <a:effectLst/>
                <a:latin typeface="Aptos" panose="020B0004020202020204" pitchFamily="34" charset="0"/>
                <a:ea typeface="Aptos" panose="020B0004020202020204" pitchFamily="34" charset="0"/>
                <a:cs typeface="Arial" panose="020B0604020202020204" pitchFamily="34" charset="0"/>
              </a:rPr>
              <a:t>(resource reservation) in the Data/IoT domain and plan to follow with slices on smartphone soon after</a:t>
            </a:r>
            <a:endParaRPr lang="en-BE" sz="11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3195882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Video one minute &gt; Erwin Van Hoof</a:t>
            </a:r>
          </a:p>
          <a:p>
            <a:endParaRPr lang="fr-BE" dirty="0"/>
          </a:p>
          <a:p>
            <a:endParaRPr lang="en-BE"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22</a:t>
            </a:fld>
            <a:endParaRPr lang="en-US"/>
          </a:p>
        </p:txBody>
      </p:sp>
    </p:spTree>
    <p:extLst>
      <p:ext uri="{BB962C8B-B14F-4D97-AF65-F5344CB8AC3E}">
        <p14:creationId xmlns:p14="http://schemas.microsoft.com/office/powerpoint/2010/main" val="4048901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latin typeface="Proximus Bold"/>
              </a:rPr>
              <a:t>BERNARD</a:t>
            </a:r>
            <a:endParaRPr lang="en-US" sz="1100" b="1" u="sng"/>
          </a:p>
          <a:p>
            <a:pPr algn="l" rtl="0" fontAlgn="base">
              <a:lnSpc>
                <a:spcPts val="1376"/>
              </a:lnSpc>
              <a:buFont typeface="+mj-lt"/>
              <a:buAutoNum type="arabicPeriod"/>
            </a:pPr>
            <a:r>
              <a:rPr lang="en-US" sz="1100">
                <a:solidFill>
                  <a:srgbClr val="000000"/>
                </a:solidFill>
                <a:effectLst/>
                <a:latin typeface="Proximus Light" pitchFamily="2" charset="77"/>
              </a:rPr>
              <a:t>Tomorrow, our reality will be to offer connectivity from multiple players (PXS, JVs, Competitors) and to multiple ISP (open networks) </a:t>
            </a:r>
          </a:p>
          <a:p>
            <a:pPr algn="l" rtl="0" fontAlgn="base">
              <a:lnSpc>
                <a:spcPts val="1376"/>
              </a:lnSpc>
              <a:buFont typeface="+mj-lt"/>
              <a:buAutoNum type="arabicPeriod" startAt="2"/>
            </a:pPr>
            <a:r>
              <a:rPr lang="en-US" sz="1100">
                <a:solidFill>
                  <a:srgbClr val="000000"/>
                </a:solidFill>
                <a:effectLst/>
                <a:latin typeface="Proximus Light" pitchFamily="2" charset="77"/>
              </a:rPr>
              <a:t>Our portfolio of technologies will span across fiber, copper (still for several years), mobile but also HFC/Coax  </a:t>
            </a:r>
          </a:p>
          <a:p>
            <a:pPr algn="l" rtl="0" fontAlgn="base">
              <a:lnSpc>
                <a:spcPts val="1376"/>
              </a:lnSpc>
              <a:buFont typeface="+mj-lt"/>
              <a:buAutoNum type="arabicPeriod" startAt="3"/>
            </a:pPr>
            <a:r>
              <a:rPr lang="en-US" sz="1100">
                <a:solidFill>
                  <a:srgbClr val="000000"/>
                </a:solidFill>
                <a:effectLst/>
                <a:latin typeface="Proximus Light" pitchFamily="2" charset="77"/>
              </a:rPr>
              <a:t>Despite this broad diversity of assets, we ambition to offer a harmonized experience to our customers  </a:t>
            </a:r>
          </a:p>
          <a:p>
            <a:pPr algn="l" rtl="0" fontAlgn="base">
              <a:lnSpc>
                <a:spcPts val="1376"/>
              </a:lnSpc>
              <a:buFont typeface="+mj-lt"/>
              <a:buAutoNum type="arabicPeriod" startAt="4"/>
            </a:pPr>
            <a:r>
              <a:rPr lang="en-US" sz="1100">
                <a:solidFill>
                  <a:srgbClr val="111111"/>
                </a:solidFill>
                <a:effectLst/>
                <a:latin typeface="Proximus Light" pitchFamily="2" charset="77"/>
              </a:rPr>
              <a:t>Proximus aims to provide its own ‘operate and maintain’ services on the consolidated fiber footprint (both stand-alone and JV) and will collaborate with partners when necessary. The creation of a super-NOC will support intervention efficiency. </a:t>
            </a:r>
            <a:endParaRPr lang="en-US" sz="1100">
              <a:solidFill>
                <a:srgbClr val="000000"/>
              </a:solidFill>
              <a:effectLst/>
              <a:latin typeface="Proximus Light" pitchFamily="2" charset="77"/>
            </a:endParaRPr>
          </a:p>
          <a:p>
            <a:endParaRPr lang="fr-BE" sz="400"/>
          </a:p>
          <a:p>
            <a:endParaRPr lang="fr-BE"/>
          </a:p>
        </p:txBody>
      </p:sp>
      <p:sp>
        <p:nvSpPr>
          <p:cNvPr id="4" name="Slide Number Placeholder 3"/>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9850717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E17FC-3E22-464F-B8BF-300EC09BE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1627A-0FD4-97B4-CEEB-D48E926C48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F2D805-F2C4-D5EF-CB38-2F38D8D6ADA6}"/>
              </a:ext>
            </a:extLst>
          </p:cNvPr>
          <p:cNvSpPr>
            <a:spLocks noGrp="1"/>
          </p:cNvSpPr>
          <p:nvPr>
            <p:ph type="body" idx="1"/>
          </p:nvPr>
        </p:nvSpPr>
        <p:spPr/>
        <p:txBody>
          <a:bodyPr/>
          <a:lstStyle/>
          <a:p>
            <a:r>
              <a:rPr lang="en-BE" sz="500" b="1" u="sng">
                <a:latin typeface="Proximus Bold"/>
              </a:rPr>
              <a:t>BERNARD</a:t>
            </a:r>
            <a:endParaRPr lang="en-BE" b="1" u="sng"/>
          </a:p>
        </p:txBody>
      </p:sp>
      <p:sp>
        <p:nvSpPr>
          <p:cNvPr id="4" name="Slide Number Placeholder 3">
            <a:extLst>
              <a:ext uri="{FF2B5EF4-FFF2-40B4-BE49-F238E27FC236}">
                <a16:creationId xmlns:a16="http://schemas.microsoft.com/office/drawing/2014/main" id="{D9BCF575-D1F3-F8D4-03A0-14052E976270}"/>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347021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a:ea typeface="Aptos" panose="020B0004020202020204" pitchFamily="34" charset="0"/>
                <a:cs typeface="Arial" panose="020B0604020202020204" pitchFamily="34" charset="0"/>
              </a:rPr>
              <a:t>MAGALI </a:t>
            </a:r>
            <a:r>
              <a:rPr lang="en-US" sz="1100" u="sng" kern="100" dirty="0">
                <a:solidFill>
                  <a:srgbClr val="C04F15"/>
                </a:solidFill>
                <a:effectLst/>
                <a:latin typeface="Proximus Light"/>
                <a:ea typeface="Aptos" panose="020B0004020202020204" pitchFamily="34" charset="0"/>
                <a:cs typeface="Arial" panose="020B0604020202020204" pitchFamily="34" charset="0"/>
              </a:rPr>
              <a:t>on stage </a:t>
            </a:r>
          </a:p>
          <a:p>
            <a:endParaRPr lang="en-US" sz="1100" b="1" dirty="0"/>
          </a:p>
          <a:p>
            <a:pPr>
              <a:defRPr/>
            </a:pPr>
            <a:r>
              <a:rPr lang="en-US" sz="1100" b="1" u="sng" dirty="0">
                <a:latin typeface="Proximus Bold"/>
              </a:rPr>
              <a:t>MAGALI </a:t>
            </a:r>
            <a:r>
              <a:rPr lang="en-US" sz="1100" b="1" dirty="0">
                <a:latin typeface="Proximus Bold"/>
              </a:rPr>
              <a:t>: </a:t>
            </a:r>
            <a:r>
              <a:rPr lang="en-US" sz="1100" b="0" dirty="0">
                <a:latin typeface="Proximus Bold"/>
              </a:rPr>
              <a:t>merci beaucoup à </a:t>
            </a:r>
            <a:r>
              <a:rPr lang="en-US" sz="1100" b="0" dirty="0" err="1">
                <a:latin typeface="Proximus Bold"/>
              </a:rPr>
              <a:t>vous</a:t>
            </a:r>
            <a:r>
              <a:rPr lang="en-US" sz="1100" b="0" dirty="0">
                <a:latin typeface="Proximus Bold"/>
              </a:rPr>
              <a:t> 4</a:t>
            </a:r>
            <a:r>
              <a:rPr lang="en-US" sz="1100" dirty="0">
                <a:latin typeface="Proximus Bold"/>
              </a:rPr>
              <a:t> de nous </a:t>
            </a:r>
            <a:r>
              <a:rPr lang="en-US" sz="1100" dirty="0" err="1">
                <a:latin typeface="Proximus Bold"/>
              </a:rPr>
              <a:t>avoir</a:t>
            </a:r>
            <a:r>
              <a:rPr lang="en-US" sz="1100" dirty="0">
                <a:latin typeface="Proximus Bold"/>
              </a:rPr>
              <a:t> </a:t>
            </a:r>
            <a:r>
              <a:rPr lang="en-US" sz="1100" dirty="0" err="1">
                <a:latin typeface="Proximus Bold"/>
              </a:rPr>
              <a:t>expliqué</a:t>
            </a:r>
            <a:r>
              <a:rPr lang="en-US" sz="1100" dirty="0">
                <a:latin typeface="Proximus Bold"/>
              </a:rPr>
              <a:t> comment </a:t>
            </a:r>
            <a:r>
              <a:rPr lang="en-US" sz="1100" dirty="0" err="1">
                <a:latin typeface="Proximus Bold"/>
              </a:rPr>
              <a:t>offrir</a:t>
            </a:r>
            <a:r>
              <a:rPr lang="en-US" sz="1100" dirty="0">
                <a:latin typeface="Proximus Bold"/>
              </a:rPr>
              <a:t> la </a:t>
            </a:r>
            <a:r>
              <a:rPr lang="en-US" sz="1100" dirty="0" err="1">
                <a:latin typeface="Proximus Bold"/>
              </a:rPr>
              <a:t>meilleure</a:t>
            </a:r>
            <a:r>
              <a:rPr lang="en-US" sz="1100" dirty="0">
                <a:latin typeface="Proximus Bold"/>
              </a:rPr>
              <a:t> </a:t>
            </a:r>
            <a:r>
              <a:rPr lang="en-US" sz="1100" dirty="0" err="1">
                <a:latin typeface="Proximus Bold"/>
              </a:rPr>
              <a:t>expérience</a:t>
            </a:r>
            <a:r>
              <a:rPr lang="en-US" sz="1100" dirty="0">
                <a:latin typeface="Proximus Bold"/>
              </a:rPr>
              <a:t> réseau à </a:t>
            </a:r>
            <a:r>
              <a:rPr lang="en-US" sz="1100" dirty="0" err="1">
                <a:latin typeface="Proximus Bold"/>
              </a:rPr>
              <a:t>nos</a:t>
            </a:r>
            <a:r>
              <a:rPr lang="en-US" sz="1100" dirty="0">
                <a:latin typeface="Proximus Bold"/>
              </a:rPr>
              <a:t> clients, peu </a:t>
            </a:r>
            <a:r>
              <a:rPr lang="en-US" sz="1100" dirty="0" err="1">
                <a:latin typeface="Proximus Bold"/>
              </a:rPr>
              <a:t>importe</a:t>
            </a:r>
            <a:r>
              <a:rPr lang="en-US" sz="1100" dirty="0">
                <a:latin typeface="Proximus Bold"/>
              </a:rPr>
              <a:t> la </a:t>
            </a:r>
            <a:r>
              <a:rPr lang="en-US" sz="1100" dirty="0" err="1">
                <a:latin typeface="Proximus Bold"/>
              </a:rPr>
              <a:t>technologie</a:t>
            </a:r>
            <a:r>
              <a:rPr lang="en-US" sz="1100" dirty="0">
                <a:latin typeface="Proximus Bold"/>
              </a:rPr>
              <a:t> et par qui </a:t>
            </a:r>
            <a:r>
              <a:rPr lang="en-US" sz="1100" dirty="0" err="1">
                <a:latin typeface="Proximus Bold"/>
              </a:rPr>
              <a:t>elle</a:t>
            </a:r>
            <a:r>
              <a:rPr lang="en-US" sz="1100" dirty="0">
                <a:latin typeface="Proximus Bold"/>
              </a:rPr>
              <a:t> </a:t>
            </a:r>
            <a:r>
              <a:rPr lang="en-US" sz="1100" dirty="0" err="1">
                <a:latin typeface="Proximus Bold"/>
              </a:rPr>
              <a:t>est</a:t>
            </a:r>
            <a:r>
              <a:rPr lang="en-US" sz="1100" dirty="0">
                <a:latin typeface="Proximus Bold"/>
              </a:rPr>
              <a:t> </a:t>
            </a:r>
            <a:r>
              <a:rPr lang="en-US" sz="1100" dirty="0" err="1">
                <a:latin typeface="Proximus Bold"/>
              </a:rPr>
              <a:t>déployée</a:t>
            </a:r>
            <a:r>
              <a:rPr lang="en-US" sz="1100" dirty="0">
                <a:latin typeface="Proximus Bold"/>
              </a:rPr>
              <a:t>. </a:t>
            </a:r>
            <a:r>
              <a:rPr lang="en-US" sz="1100" dirty="0" err="1">
                <a:latin typeface="Proximus Bold"/>
              </a:rPr>
              <a:t>Passons</a:t>
            </a:r>
            <a:r>
              <a:rPr lang="en-US" sz="1100" dirty="0">
                <a:latin typeface="Proximus Bold"/>
              </a:rPr>
              <a:t> à </a:t>
            </a:r>
            <a:r>
              <a:rPr lang="en-US" sz="1100" dirty="0" err="1">
                <a:latin typeface="Proximus Bold"/>
              </a:rPr>
              <a:t>présent</a:t>
            </a:r>
            <a:r>
              <a:rPr lang="en-US" sz="1100" dirty="0">
                <a:latin typeface="Proximus Bold"/>
              </a:rPr>
              <a:t> au 2ème </a:t>
            </a:r>
            <a:r>
              <a:rPr lang="en-US" sz="1100" dirty="0" err="1">
                <a:latin typeface="Proximus Bold"/>
              </a:rPr>
              <a:t>pillier</a:t>
            </a:r>
            <a:r>
              <a:rPr lang="en-US" sz="1100" dirty="0">
                <a:latin typeface="Proximus Bold"/>
              </a:rPr>
              <a:t> de </a:t>
            </a:r>
            <a:r>
              <a:rPr lang="en-US" sz="1100" dirty="0" err="1">
                <a:latin typeface="Proximus Bold"/>
              </a:rPr>
              <a:t>notre</a:t>
            </a:r>
            <a:r>
              <a:rPr lang="en-US" sz="1100" dirty="0">
                <a:latin typeface="Proximus Bold"/>
              </a:rPr>
              <a:t> </a:t>
            </a:r>
            <a:r>
              <a:rPr lang="en-US" sz="1100" dirty="0" err="1">
                <a:latin typeface="Proximus Bold"/>
              </a:rPr>
              <a:t>stratégie</a:t>
            </a:r>
            <a:r>
              <a:rPr lang="en-US" sz="1100" dirty="0">
                <a:latin typeface="Proximus Bold"/>
              </a:rPr>
              <a:t> 4.0 : “Bold Efficiency”. Vincent, </a:t>
            </a:r>
            <a:r>
              <a:rPr lang="en-US" sz="1100" dirty="0" err="1">
                <a:latin typeface="Proximus Bold"/>
              </a:rPr>
              <a:t>ce</a:t>
            </a:r>
            <a:r>
              <a:rPr lang="en-US" sz="1100" dirty="0">
                <a:latin typeface="Proximus Bold"/>
              </a:rPr>
              <a:t> </a:t>
            </a:r>
            <a:r>
              <a:rPr lang="en-US" sz="1100" dirty="0" err="1">
                <a:latin typeface="Proximus Bold"/>
              </a:rPr>
              <a:t>n'est</a:t>
            </a:r>
            <a:r>
              <a:rPr lang="en-US" sz="1100" dirty="0">
                <a:latin typeface="Proximus Bold"/>
              </a:rPr>
              <a:t> pas encore </a:t>
            </a:r>
            <a:r>
              <a:rPr lang="en-US" sz="1100" dirty="0" err="1">
                <a:latin typeface="Proximus Bold"/>
              </a:rPr>
              <a:t>fini</a:t>
            </a:r>
            <a:r>
              <a:rPr lang="en-US" sz="1100" dirty="0">
                <a:latin typeface="Proximus Bold"/>
              </a:rPr>
              <a:t> pour </a:t>
            </a:r>
            <a:r>
              <a:rPr lang="en-US" sz="1100" dirty="0" err="1">
                <a:latin typeface="Proximus Bold"/>
              </a:rPr>
              <a:t>toi</a:t>
            </a:r>
            <a:r>
              <a:rPr lang="en-US" sz="1100" dirty="0">
                <a:latin typeface="Proximus Bold"/>
              </a:rPr>
              <a:t>, </a:t>
            </a:r>
            <a:r>
              <a:rPr lang="en-US" sz="1100" dirty="0" err="1">
                <a:latin typeface="Proximus Bold"/>
              </a:rPr>
              <a:t>tu</a:t>
            </a:r>
            <a:r>
              <a:rPr lang="en-US" sz="1100" dirty="0">
                <a:latin typeface="Proximus Bold"/>
              </a:rPr>
              <a:t> </a:t>
            </a:r>
            <a:r>
              <a:rPr lang="en-US" sz="1100" dirty="0" err="1">
                <a:latin typeface="Proximus Bold"/>
              </a:rPr>
              <a:t>peux</a:t>
            </a:r>
            <a:r>
              <a:rPr lang="en-US" sz="1100" dirty="0">
                <a:latin typeface="Proximus Bold"/>
              </a:rPr>
              <a:t> </a:t>
            </a:r>
            <a:r>
              <a:rPr lang="en-US" sz="1100" dirty="0" err="1">
                <a:latin typeface="Proximus Bold"/>
              </a:rPr>
              <a:t>rester</a:t>
            </a:r>
            <a:r>
              <a:rPr lang="en-US" sz="1100" dirty="0">
                <a:latin typeface="Proximus Bold"/>
              </a:rPr>
              <a:t> avec nous. </a:t>
            </a:r>
            <a:r>
              <a:rPr lang="en-US" sz="1100" dirty="0" err="1">
                <a:latin typeface="Proximus Bold"/>
              </a:rPr>
              <a:t>J'invite</a:t>
            </a:r>
            <a:r>
              <a:rPr lang="en-US" sz="1100" dirty="0">
                <a:latin typeface="Proximus Bold"/>
              </a:rPr>
              <a:t> </a:t>
            </a:r>
            <a:r>
              <a:rPr lang="en-US" sz="1100" dirty="0" err="1">
                <a:latin typeface="Proximus Bold"/>
              </a:rPr>
              <a:t>également</a:t>
            </a:r>
            <a:r>
              <a:rPr lang="en-US" sz="1100" dirty="0">
                <a:latin typeface="Proximus Bold"/>
              </a:rPr>
              <a:t> Patrick (Network and Operation Division Lead – NEO) à nous </a:t>
            </a:r>
            <a:r>
              <a:rPr lang="en-US" sz="1100" dirty="0" err="1">
                <a:latin typeface="Proximus Bold"/>
              </a:rPr>
              <a:t>rejoindre</a:t>
            </a:r>
            <a:r>
              <a:rPr lang="en-US" sz="1100" dirty="0">
                <a:latin typeface="Proximus Bold"/>
              </a:rPr>
              <a:t>. </a:t>
            </a:r>
          </a:p>
          <a:p>
            <a:endParaRPr lang="en-US" sz="1100" b="0" dirty="0"/>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dirty="0">
                <a:latin typeface="Proximus Bold"/>
              </a:rPr>
              <a:t>(SWITCH</a:t>
            </a:r>
            <a:r>
              <a:rPr lang="en-US" sz="1100" dirty="0">
                <a:latin typeface="Proximus Bold"/>
              </a:rPr>
              <a:t> (Vincent remains on stage, Gaetan, Bernard &amp; Jo out, Patrick on stage)</a:t>
            </a:r>
          </a:p>
        </p:txBody>
      </p:sp>
      <p:sp>
        <p:nvSpPr>
          <p:cNvPr id="4" name="Slide Number Placeholder 3"/>
          <p:cNvSpPr>
            <a:spLocks noGrp="1"/>
          </p:cNvSpPr>
          <p:nvPr>
            <p:ph type="sldNum" sz="quarter" idx="5"/>
          </p:nvPr>
        </p:nvSpPr>
        <p:spPr/>
        <p:txBody>
          <a:bodyPr/>
          <a:lstStyle/>
          <a:p>
            <a:fld id="{FA918F22-1231-AB43-96E7-2B8B890DCD5E}" type="slidenum">
              <a:rPr lang="en-US" smtClean="0"/>
              <a:pPr/>
              <a:t>25</a:t>
            </a:fld>
            <a:endParaRPr lang="en-US"/>
          </a:p>
        </p:txBody>
      </p:sp>
    </p:spTree>
    <p:extLst>
      <p:ext uri="{BB962C8B-B14F-4D97-AF65-F5344CB8AC3E}">
        <p14:creationId xmlns:p14="http://schemas.microsoft.com/office/powerpoint/2010/main" val="844432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D6C45-1972-990B-AC0C-D22B3A7C7F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E59987-15CA-DFD8-A5FB-5065FAE639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45E212-70F5-065B-18CA-EFC241052A9A}"/>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b="1"/>
          </a:p>
          <a:p>
            <a:pPr>
              <a:defRPr/>
            </a:pPr>
            <a:r>
              <a:rPr lang="en-US" sz="1100" b="1" u="sng">
                <a:latin typeface="Proximus Bold"/>
              </a:rPr>
              <a:t>MAGALI </a:t>
            </a:r>
            <a:r>
              <a:rPr lang="en-US" sz="1100" b="1">
                <a:latin typeface="Proximus Bold"/>
              </a:rPr>
              <a:t>: </a:t>
            </a:r>
            <a:r>
              <a:rPr lang="en-US" sz="1100">
                <a:latin typeface="Proximus Bold"/>
              </a:rPr>
              <a:t>: “Bold Efficiency” </a:t>
            </a:r>
            <a:r>
              <a:rPr lang="en-US" sz="1100" err="1">
                <a:latin typeface="Proximus Bold"/>
              </a:rPr>
              <a:t>comprend</a:t>
            </a:r>
            <a:r>
              <a:rPr lang="en-US" sz="1100">
                <a:latin typeface="Proximus Bold"/>
              </a:rPr>
              <a:t> 4 parties. Vincent je </a:t>
            </a:r>
            <a:r>
              <a:rPr lang="en-US" sz="1100" err="1">
                <a:latin typeface="Proximus Bold"/>
              </a:rPr>
              <a:t>pense</a:t>
            </a:r>
            <a:r>
              <a:rPr lang="en-US" sz="1100">
                <a:latin typeface="Proximus Bold"/>
              </a:rPr>
              <a:t> que </a:t>
            </a:r>
            <a:r>
              <a:rPr lang="en-US" sz="1100" err="1">
                <a:latin typeface="Proximus Bold"/>
              </a:rPr>
              <a:t>c’est</a:t>
            </a:r>
            <a:r>
              <a:rPr lang="en-US" sz="1100">
                <a:latin typeface="Proximus Bold"/>
              </a:rPr>
              <a:t> </a:t>
            </a:r>
            <a:r>
              <a:rPr lang="en-US" sz="1100" err="1">
                <a:latin typeface="Proximus Bold"/>
              </a:rPr>
              <a:t>toi</a:t>
            </a:r>
            <a:r>
              <a:rPr lang="en-US" sz="1100">
                <a:latin typeface="Proximus Bold"/>
              </a:rPr>
              <a:t> qui comment avec la </a:t>
            </a:r>
            <a:r>
              <a:rPr lang="en-US" sz="1100" err="1">
                <a:latin typeface="Proximus Bold"/>
              </a:rPr>
              <a:t>partie</a:t>
            </a:r>
            <a:r>
              <a:rPr lang="en-US" sz="1100">
                <a:latin typeface="Proximus Bold"/>
              </a:rPr>
              <a:t> Automation &amp; AI</a:t>
            </a:r>
          </a:p>
          <a:p>
            <a:endParaRPr lang="en-BE"/>
          </a:p>
        </p:txBody>
      </p:sp>
      <p:sp>
        <p:nvSpPr>
          <p:cNvPr id="4" name="Slide Number Placeholder 3">
            <a:extLst>
              <a:ext uri="{FF2B5EF4-FFF2-40B4-BE49-F238E27FC236}">
                <a16:creationId xmlns:a16="http://schemas.microsoft.com/office/drawing/2014/main" id="{2A661CF1-CEF8-657B-54DA-1D018D1ABF1D}"/>
              </a:ext>
            </a:extLst>
          </p:cNvPr>
          <p:cNvSpPr>
            <a:spLocks noGrp="1"/>
          </p:cNvSpPr>
          <p:nvPr>
            <p:ph type="sldNum" sz="quarter" idx="5"/>
          </p:nvPr>
        </p:nvSpPr>
        <p:spPr/>
        <p:txBody>
          <a:bodyPr/>
          <a:lstStyle/>
          <a:p>
            <a:fld id="{FA918F22-1231-AB43-96E7-2B8B890DCD5E}" type="slidenum">
              <a:rPr lang="en-US" smtClean="0"/>
              <a:pPr/>
              <a:t>26</a:t>
            </a:fld>
            <a:endParaRPr lang="en-US"/>
          </a:p>
        </p:txBody>
      </p:sp>
    </p:spTree>
    <p:extLst>
      <p:ext uri="{BB962C8B-B14F-4D97-AF65-F5344CB8AC3E}">
        <p14:creationId xmlns:p14="http://schemas.microsoft.com/office/powerpoint/2010/main" val="735087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pPr>
            <a:r>
              <a:rPr lang="en-US" sz="1100" b="1" u="sng" kern="100">
                <a:latin typeface="Proximus Light"/>
                <a:ea typeface="Aptos" panose="020B0004020202020204" pitchFamily="34" charset="0"/>
                <a:cs typeface="Arial" panose="020B0604020202020204" pitchFamily="34" charset="0"/>
              </a:rPr>
              <a:t>VINCENT</a:t>
            </a:r>
            <a:endParaRPr lang="en-US" sz="1100" b="1" u="sng" kern="100">
              <a:effectLst/>
              <a:latin typeface="Proximus Light"/>
              <a:ea typeface="Aptos" panose="020B0004020202020204" pitchFamily="34" charset="0"/>
              <a:cs typeface="Arial" panose="020B0604020202020204" pitchFamily="34" charset="0"/>
            </a:endParaRPr>
          </a:p>
          <a:p>
            <a:pPr marL="342900" lvl="0" indent="-342900" rtl="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AI and automation </a:t>
            </a:r>
            <a:r>
              <a:rPr lang="en-US" sz="1100" b="1" kern="100">
                <a:effectLst/>
                <a:latin typeface="Aptos" panose="020B0004020202020204" pitchFamily="34" charset="0"/>
                <a:ea typeface="Aptos" panose="020B0004020202020204" pitchFamily="34" charset="0"/>
                <a:cs typeface="Arial" panose="020B0604020202020204" pitchFamily="34" charset="0"/>
              </a:rPr>
              <a:t>help improving our efficiency</a:t>
            </a:r>
            <a:r>
              <a:rPr lang="en-US" sz="1100" kern="100">
                <a:effectLst/>
                <a:latin typeface="Aptos" panose="020B0004020202020204" pitchFamily="34" charset="0"/>
                <a:ea typeface="Aptos" panose="020B0004020202020204" pitchFamily="34" charset="0"/>
                <a:cs typeface="Arial" panose="020B0604020202020204" pitchFamily="34" charset="0"/>
              </a:rPr>
              <a:t> together with </a:t>
            </a:r>
            <a:r>
              <a:rPr lang="en-US" sz="1100" b="1" kern="100">
                <a:effectLst/>
                <a:latin typeface="Aptos" panose="020B0004020202020204" pitchFamily="34" charset="0"/>
                <a:ea typeface="Aptos" panose="020B0004020202020204" pitchFamily="34" charset="0"/>
                <a:cs typeface="Arial" panose="020B0604020202020204" pitchFamily="34" charset="0"/>
              </a:rPr>
              <a:t>better customer experience</a:t>
            </a:r>
            <a:r>
              <a:rPr lang="en-US" sz="1100" kern="100">
                <a:effectLst/>
                <a:latin typeface="Aptos" panose="020B0004020202020204" pitchFamily="34" charset="0"/>
                <a:ea typeface="Aptos" panose="020B0004020202020204" pitchFamily="34" charset="0"/>
                <a:cs typeface="Arial" panose="020B0604020202020204" pitchFamily="34" charset="0"/>
              </a:rPr>
              <a:t>. It is central to our strategy</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We see plenty of opportunities to </a:t>
            </a:r>
            <a:r>
              <a:rPr lang="en-US" sz="1100" b="1" kern="100">
                <a:effectLst/>
                <a:latin typeface="Aptos" panose="020B0004020202020204" pitchFamily="34" charset="0"/>
                <a:ea typeface="Aptos" panose="020B0004020202020204" pitchFamily="34" charset="0"/>
                <a:cs typeface="Arial" panose="020B0604020202020204" pitchFamily="34" charset="0"/>
              </a:rPr>
              <a:t>improve our operate and maintain activities in the fiber</a:t>
            </a:r>
            <a:r>
              <a:rPr lang="en-US" sz="1100" kern="100">
                <a:effectLst/>
                <a:latin typeface="Aptos" panose="020B0004020202020204" pitchFamily="34" charset="0"/>
                <a:ea typeface="Aptos" panose="020B0004020202020204" pitchFamily="34" charset="0"/>
                <a:cs typeface="Arial" panose="020B0604020202020204" pitchFamily="34" charset="0"/>
              </a:rPr>
              <a:t> field. A comprehensive roadmap has been built (called </a:t>
            </a:r>
            <a:r>
              <a:rPr lang="en-US" sz="1100" b="1" kern="100">
                <a:effectLst/>
                <a:latin typeface="Aptos" panose="020B0004020202020204" pitchFamily="34" charset="0"/>
                <a:ea typeface="Aptos" panose="020B0004020202020204" pitchFamily="34" charset="0"/>
                <a:cs typeface="Arial" panose="020B0604020202020204" pitchFamily="34" charset="0"/>
              </a:rPr>
              <a:t>FRIDA    : Fiber Repair Intelligent Digital Assistant</a:t>
            </a:r>
            <a:r>
              <a:rPr lang="en-US" sz="1100" kern="100">
                <a:effectLst/>
                <a:latin typeface="Aptos" panose="020B0004020202020204" pitchFamily="34" charset="0"/>
                <a:ea typeface="Aptos" panose="020B0004020202020204" pitchFamily="34" charset="0"/>
                <a:cs typeface="Arial" panose="020B0604020202020204" pitchFamily="34" charset="0"/>
              </a:rPr>
              <a:t>) to address step-by-step each stage of the process end-to-end and to </a:t>
            </a:r>
            <a:r>
              <a:rPr lang="en-US" sz="1100" b="1" kern="100">
                <a:effectLst/>
                <a:latin typeface="Aptos" panose="020B0004020202020204" pitchFamily="34" charset="0"/>
                <a:ea typeface="Aptos" panose="020B0004020202020204" pitchFamily="34" charset="0"/>
                <a:cs typeface="Arial" panose="020B0604020202020204" pitchFamily="34" charset="0"/>
              </a:rPr>
              <a:t>develop gradually a set of automation agents</a:t>
            </a:r>
            <a:r>
              <a:rPr lang="en-US" sz="1100" kern="100">
                <a:effectLst/>
                <a:latin typeface="Aptos" panose="020B0004020202020204" pitchFamily="34" charset="0"/>
                <a:ea typeface="Aptos" panose="020B0004020202020204" pitchFamily="34" charset="0"/>
                <a:cs typeface="Arial" panose="020B0604020202020204" pitchFamily="34" charset="0"/>
              </a:rPr>
              <a:t>, that will, in the future become more and more </a:t>
            </a:r>
            <a:r>
              <a:rPr lang="en-US" sz="1100" b="1" kern="100">
                <a:effectLst/>
                <a:latin typeface="Aptos" panose="020B0004020202020204" pitchFamily="34" charset="0"/>
                <a:ea typeface="Aptos" panose="020B0004020202020204" pitchFamily="34" charset="0"/>
                <a:cs typeface="Arial" panose="020B0604020202020204" pitchFamily="34" charset="0"/>
              </a:rPr>
              <a:t>autonomous</a:t>
            </a:r>
            <a:r>
              <a:rPr lang="en-US" sz="1100" kern="100">
                <a:effectLst/>
                <a:latin typeface="Aptos" panose="020B0004020202020204" pitchFamily="34" charset="0"/>
                <a:ea typeface="Aptos" panose="020B0004020202020204" pitchFamily="34" charset="0"/>
                <a:cs typeface="Arial" panose="020B0604020202020204" pitchFamily="34" charset="0"/>
              </a:rPr>
              <a:t>. The ambition is, in the mid term, to cover all fiber footprints, </a:t>
            </a:r>
            <a:r>
              <a:rPr lang="en-US" sz="1100" b="1" kern="100">
                <a:effectLst/>
                <a:latin typeface="Aptos" panose="020B0004020202020204" pitchFamily="34" charset="0"/>
                <a:ea typeface="Aptos" panose="020B0004020202020204" pitchFamily="34" charset="0"/>
                <a:cs typeface="Arial" panose="020B0604020202020204" pitchFamily="34" charset="0"/>
              </a:rPr>
              <a:t>both for prediction and anomaly detection</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A second focus is </a:t>
            </a:r>
            <a:r>
              <a:rPr lang="en-US" sz="1100" b="1" kern="100">
                <a:effectLst/>
                <a:latin typeface="Aptos" panose="020B0004020202020204" pitchFamily="34" charset="0"/>
                <a:ea typeface="Aptos" panose="020B0004020202020204" pitchFamily="34" charset="0"/>
                <a:cs typeface="Arial" panose="020B0604020202020204" pitchFamily="34" charset="0"/>
              </a:rPr>
              <a:t>to support the road to ‘dark NOC’</a:t>
            </a:r>
            <a:r>
              <a:rPr lang="en-US" sz="1100" kern="100">
                <a:effectLst/>
                <a:latin typeface="Aptos" panose="020B0004020202020204" pitchFamily="34" charset="0"/>
                <a:ea typeface="Aptos" panose="020B0004020202020204" pitchFamily="34" charset="0"/>
                <a:cs typeface="Arial" panose="020B0604020202020204" pitchFamily="34" charset="0"/>
              </a:rPr>
              <a:t>. The idea to develop an AI engine able to detect root causes issues through very large amounts of alerts and triggers and define impact and propose remedies</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For mobile, </a:t>
            </a:r>
            <a:r>
              <a:rPr lang="en-US" sz="1100" b="1" kern="100">
                <a:effectLst/>
                <a:latin typeface="Aptos" panose="020B0004020202020204" pitchFamily="34" charset="0"/>
                <a:ea typeface="Aptos" panose="020B0004020202020204" pitchFamily="34" charset="0"/>
                <a:cs typeface="Arial" panose="020B0604020202020204" pitchFamily="34" charset="0"/>
              </a:rPr>
              <a:t>after a first wave of classical automation, we will define the best path to use AI for further automation</a:t>
            </a:r>
            <a:r>
              <a:rPr lang="en-US" sz="1100" kern="100">
                <a:effectLst/>
                <a:latin typeface="Aptos" panose="020B0004020202020204" pitchFamily="34" charset="0"/>
                <a:ea typeface="Aptos" panose="020B0004020202020204" pitchFamily="34" charset="0"/>
                <a:cs typeface="Arial" panose="020B0604020202020204" pitchFamily="34" charset="0"/>
              </a:rPr>
              <a:t>, improved customer experience (</a:t>
            </a:r>
            <a:r>
              <a:rPr lang="en-US" sz="1100" kern="100" err="1">
                <a:effectLst/>
                <a:latin typeface="Aptos" panose="020B0004020202020204" pitchFamily="34" charset="0"/>
                <a:ea typeface="Aptos" panose="020B0004020202020204" pitchFamily="34" charset="0"/>
                <a:cs typeface="Arial" panose="020B0604020202020204" pitchFamily="34" charset="0"/>
              </a:rPr>
              <a:t>optim</a:t>
            </a:r>
            <a:r>
              <a:rPr lang="en-US" sz="1100" kern="100">
                <a:effectLst/>
                <a:latin typeface="Aptos" panose="020B0004020202020204" pitchFamily="34" charset="0"/>
                <a:ea typeface="Aptos" panose="020B0004020202020204" pitchFamily="34" charset="0"/>
                <a:cs typeface="Arial" panose="020B0604020202020204" pitchFamily="34" charset="0"/>
              </a:rPr>
              <a:t>) and energy efficiency</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marL="342900" lvl="0" indent="-342900">
              <a:lnSpc>
                <a:spcPct val="107000"/>
              </a:lnSpc>
              <a:spcAft>
                <a:spcPts val="800"/>
              </a:spcAft>
              <a:buFont typeface="+mj-lt"/>
              <a:buAutoNum type="arabicPeriod"/>
            </a:pPr>
            <a:r>
              <a:rPr lang="en-US" sz="1100" kern="100">
                <a:effectLst/>
                <a:latin typeface="Aptos" panose="020B0004020202020204" pitchFamily="34" charset="0"/>
                <a:ea typeface="Aptos" panose="020B0004020202020204" pitchFamily="34" charset="0"/>
                <a:cs typeface="Arial" panose="020B0604020202020204" pitchFamily="34" charset="0"/>
              </a:rPr>
              <a:t>The accessibility of Gen AI will allow faster and broader technology adoption, we have already seen </a:t>
            </a:r>
            <a:r>
              <a:rPr lang="en-US" sz="1100" b="1" kern="100">
                <a:effectLst/>
                <a:latin typeface="Aptos" panose="020B0004020202020204" pitchFamily="34" charset="0"/>
                <a:ea typeface="Aptos" panose="020B0004020202020204" pitchFamily="34" charset="0"/>
                <a:cs typeface="Arial" panose="020B0604020202020204" pitchFamily="34" charset="0"/>
              </a:rPr>
              <a:t>promising results in knowledge management</a:t>
            </a:r>
            <a:r>
              <a:rPr lang="en-US" sz="1100" kern="100">
                <a:effectLst/>
                <a:latin typeface="Aptos" panose="020B0004020202020204" pitchFamily="34" charset="0"/>
                <a:ea typeface="Aptos" panose="020B0004020202020204" pitchFamily="34" charset="0"/>
                <a:cs typeface="Arial" panose="020B0604020202020204" pitchFamily="34" charset="0"/>
              </a:rPr>
              <a:t> domain (like Fiber GURU or RAVE) and will pursue this track</a:t>
            </a:r>
            <a:endParaRPr lang="en-BE" sz="1100" kern="100">
              <a:effectLst/>
              <a:latin typeface="Aptos" panose="020B0004020202020204" pitchFamily="34" charset="0"/>
              <a:ea typeface="Aptos" panose="020B0004020202020204" pitchFamily="34" charset="0"/>
              <a:cs typeface="Arial" panose="020B0604020202020204" pitchFamily="34" charset="0"/>
            </a:endParaRPr>
          </a:p>
          <a:p>
            <a:pPr>
              <a:spcAft>
                <a:spcPts val="800"/>
              </a:spcAft>
            </a:pPr>
            <a:endParaRPr lang="fr-BE" sz="1000" kern="100">
              <a:effectLst/>
              <a:latin typeface="Proximus Light" pitchFamily="2" charset="77"/>
              <a:ea typeface="Aptos" panose="020B0004020202020204" pitchFamily="34" charset="0"/>
              <a:cs typeface="Arial" panose="020B0604020202020204" pitchFamily="34" charset="0"/>
            </a:endParaRPr>
          </a:p>
          <a:p>
            <a:endParaRPr lang="en-BE"/>
          </a:p>
        </p:txBody>
      </p:sp>
      <p:sp>
        <p:nvSpPr>
          <p:cNvPr id="4" name="Slide Number Placeholder 3"/>
          <p:cNvSpPr>
            <a:spLocks noGrp="1"/>
          </p:cNvSpPr>
          <p:nvPr>
            <p:ph type="sldNum" sz="quarter" idx="5"/>
          </p:nvPr>
        </p:nvSpPr>
        <p:spPr/>
        <p:txBody>
          <a:bodyPr/>
          <a:lstStyle/>
          <a:p>
            <a:fld id="{FA918F22-1231-AB43-96E7-2B8B890DCD5E}" type="slidenum">
              <a:rPr lang="en-US" smtClean="0"/>
              <a:pPr/>
              <a:t>27</a:t>
            </a:fld>
            <a:endParaRPr lang="en-US"/>
          </a:p>
        </p:txBody>
      </p:sp>
    </p:spTree>
    <p:extLst>
      <p:ext uri="{BB962C8B-B14F-4D97-AF65-F5344CB8AC3E}">
        <p14:creationId xmlns:p14="http://schemas.microsoft.com/office/powerpoint/2010/main" val="3705353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36C50-2120-87A3-3876-5D9435F0D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0181AF-3778-01AC-0578-C9B18BB20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F4079-DCD9-B369-551B-0E7ECC9EA2F0}"/>
              </a:ext>
            </a:extLst>
          </p:cNvPr>
          <p:cNvSpPr>
            <a:spLocks noGrp="1"/>
          </p:cNvSpPr>
          <p:nvPr>
            <p:ph type="body" idx="1"/>
          </p:nvPr>
        </p:nvSpPr>
        <p:spPr/>
        <p:txBody>
          <a:bodyPr/>
          <a:lstStyle/>
          <a:p>
            <a:pPr>
              <a:lnSpc>
                <a:spcPct val="107000"/>
              </a:lnSpc>
              <a:spcAft>
                <a:spcPts val="800"/>
              </a:spcAft>
            </a:pPr>
            <a:r>
              <a:rPr lang="en-BE" sz="1100" kern="100">
                <a:effectLst/>
                <a:latin typeface="Aptos" panose="020B0004020202020204" pitchFamily="34" charset="0"/>
                <a:ea typeface="Aptos" panose="020B0004020202020204" pitchFamily="34" charset="0"/>
                <a:cs typeface="Arial" panose="020B0604020202020204" pitchFamily="34" charset="0"/>
              </a:rPr>
              <a:t>Our priorities for this year :</a:t>
            </a:r>
          </a:p>
          <a:p>
            <a:pPr marL="342900" lvl="0" indent="-342900">
              <a:lnSpc>
                <a:spcPct val="107000"/>
              </a:lnSpc>
              <a:buFont typeface="+mj-lt"/>
              <a:buAutoNum type="arabicPeriod"/>
            </a:pPr>
            <a:r>
              <a:rPr lang="en-BE" sz="1100" kern="100">
                <a:effectLst/>
                <a:latin typeface="Aptos" panose="020B0004020202020204" pitchFamily="34" charset="0"/>
                <a:ea typeface="Aptos" panose="020B0004020202020204" pitchFamily="34" charset="0"/>
                <a:cs typeface="Arial" panose="020B0604020202020204" pitchFamily="34" charset="0"/>
              </a:rPr>
              <a:t>Build the </a:t>
            </a:r>
            <a:r>
              <a:rPr lang="en-BE" sz="1100" b="1" kern="100">
                <a:effectLst/>
                <a:latin typeface="Aptos" panose="020B0004020202020204" pitchFamily="34" charset="0"/>
                <a:ea typeface="Aptos" panose="020B0004020202020204" pitchFamily="34" charset="0"/>
                <a:cs typeface="Arial" panose="020B0604020202020204" pitchFamily="34" charset="0"/>
              </a:rPr>
              <a:t>first cases of FRIDA</a:t>
            </a:r>
            <a:r>
              <a:rPr lang="en-BE" sz="1100" kern="100">
                <a:effectLst/>
                <a:latin typeface="Aptos" panose="020B0004020202020204" pitchFamily="34" charset="0"/>
                <a:ea typeface="Aptos" panose="020B0004020202020204" pitchFamily="34" charset="0"/>
                <a:cs typeface="Arial" panose="020B0604020202020204" pitchFamily="34" charset="0"/>
              </a:rPr>
              <a:t>, extending the existing </a:t>
            </a:r>
            <a:r>
              <a:rPr lang="en-BE" sz="1100" kern="100" err="1">
                <a:effectLst/>
                <a:latin typeface="Aptos" panose="020B0004020202020204" pitchFamily="34" charset="0"/>
                <a:ea typeface="Aptos" panose="020B0004020202020204" pitchFamily="34" charset="0"/>
                <a:cs typeface="Arial" panose="020B0604020202020204" pitchFamily="34" charset="0"/>
              </a:rPr>
              <a:t>fiber</a:t>
            </a:r>
            <a:r>
              <a:rPr lang="en-BE" sz="1100" kern="100">
                <a:effectLst/>
                <a:latin typeface="Aptos" panose="020B0004020202020204" pitchFamily="34" charset="0"/>
                <a:ea typeface="Aptos" panose="020B0004020202020204" pitchFamily="34" charset="0"/>
                <a:cs typeface="Arial" panose="020B0604020202020204" pitchFamily="34" charset="0"/>
              </a:rPr>
              <a:t> degradation MVPs to come to ‘next best action’</a:t>
            </a:r>
          </a:p>
          <a:p>
            <a:pPr marL="342900" lvl="0" indent="-342900">
              <a:lnSpc>
                <a:spcPct val="107000"/>
              </a:lnSpc>
              <a:buFont typeface="+mj-lt"/>
              <a:buAutoNum type="arabicPeriod"/>
            </a:pPr>
            <a:r>
              <a:rPr lang="en-BE" sz="1100" kern="100">
                <a:effectLst/>
                <a:latin typeface="Aptos" panose="020B0004020202020204" pitchFamily="34" charset="0"/>
                <a:ea typeface="Aptos" panose="020B0004020202020204" pitchFamily="34" charset="0"/>
                <a:cs typeface="Arial" panose="020B0604020202020204" pitchFamily="34" charset="0"/>
              </a:rPr>
              <a:t>In the NOC, </a:t>
            </a:r>
            <a:r>
              <a:rPr lang="en-BE" sz="1100" b="1" kern="100">
                <a:effectLst/>
                <a:latin typeface="Aptos" panose="020B0004020202020204" pitchFamily="34" charset="0"/>
                <a:ea typeface="Aptos" panose="020B0004020202020204" pitchFamily="34" charset="0"/>
                <a:cs typeface="Arial" panose="020B0604020202020204" pitchFamily="34" charset="0"/>
              </a:rPr>
              <a:t>develop the first MVP on transmission denoising</a:t>
            </a:r>
            <a:r>
              <a:rPr lang="en-BE" sz="1100" kern="100">
                <a:effectLst/>
                <a:latin typeface="Aptos" panose="020B0004020202020204" pitchFamily="34" charset="0"/>
                <a:ea typeface="Aptos" panose="020B0004020202020204" pitchFamily="34" charset="0"/>
                <a:cs typeface="Arial" panose="020B0604020202020204" pitchFamily="34" charset="0"/>
              </a:rPr>
              <a:t> (define the right elements to monitor in vast amounts of network data) </a:t>
            </a:r>
          </a:p>
          <a:p>
            <a:pPr marL="342900" lvl="0" indent="-342900">
              <a:lnSpc>
                <a:spcPct val="107000"/>
              </a:lnSpc>
              <a:spcAft>
                <a:spcPts val="800"/>
              </a:spcAft>
              <a:buFont typeface="+mj-lt"/>
              <a:buAutoNum type="arabicPeriod"/>
            </a:pPr>
            <a:r>
              <a:rPr lang="en-BE" sz="1100" kern="100">
                <a:effectLst/>
                <a:latin typeface="Aptos" panose="020B0004020202020204" pitchFamily="34" charset="0"/>
                <a:ea typeface="Aptos" panose="020B0004020202020204" pitchFamily="34" charset="0"/>
                <a:cs typeface="Arial" panose="020B0604020202020204" pitchFamily="34" charset="0"/>
              </a:rPr>
              <a:t>Perform a </a:t>
            </a:r>
            <a:r>
              <a:rPr lang="en-BE" sz="1100" b="1" kern="100">
                <a:effectLst/>
                <a:latin typeface="Aptos" panose="020B0004020202020204" pitchFamily="34" charset="0"/>
                <a:ea typeface="Aptos" panose="020B0004020202020204" pitchFamily="34" charset="0"/>
                <a:cs typeface="Arial" panose="020B0604020202020204" pitchFamily="34" charset="0"/>
              </a:rPr>
              <a:t>first layer of classical automation inside </a:t>
            </a:r>
            <a:r>
              <a:rPr lang="en-BE" sz="1100" b="1" kern="100" err="1">
                <a:effectLst/>
                <a:latin typeface="Aptos" panose="020B0004020202020204" pitchFamily="34" charset="0"/>
                <a:ea typeface="Aptos" panose="020B0004020202020204" pitchFamily="34" charset="0"/>
                <a:cs typeface="Arial" panose="020B0604020202020204" pitchFamily="34" charset="0"/>
              </a:rPr>
              <a:t>Mwingz</a:t>
            </a:r>
            <a:r>
              <a:rPr lang="en-BE" sz="1100" kern="100">
                <a:effectLst/>
                <a:latin typeface="Aptos" panose="020B0004020202020204" pitchFamily="34" charset="0"/>
                <a:ea typeface="Aptos" panose="020B0004020202020204" pitchFamily="34" charset="0"/>
                <a:cs typeface="Arial" panose="020B0604020202020204" pitchFamily="34" charset="0"/>
              </a:rPr>
              <a:t>, leveraging the new tool set and </a:t>
            </a:r>
            <a:r>
              <a:rPr lang="en-BE" sz="1100" b="1" kern="100">
                <a:effectLst/>
                <a:latin typeface="Aptos" panose="020B0004020202020204" pitchFamily="34" charset="0"/>
                <a:ea typeface="Aptos" panose="020B0004020202020204" pitchFamily="34" charset="0"/>
                <a:cs typeface="Arial" panose="020B0604020202020204" pitchFamily="34" charset="0"/>
              </a:rPr>
              <a:t>continue testing more advanced module to add AI/ML layer in second step</a:t>
            </a:r>
            <a:endParaRPr lang="en-BE" sz="11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B6468D3-1320-06DD-25FE-6AF54489AD0A}"/>
              </a:ext>
            </a:extLst>
          </p:cNvPr>
          <p:cNvSpPr>
            <a:spLocks noGrp="1"/>
          </p:cNvSpPr>
          <p:nvPr>
            <p:ph type="sldNum" sz="quarter" idx="5"/>
          </p:nvPr>
        </p:nvSpPr>
        <p:spPr/>
        <p:txBody>
          <a:bodyPr/>
          <a:lstStyle/>
          <a:p>
            <a:fld id="{FA918F22-1231-AB43-96E7-2B8B890DCD5E}" type="slidenum">
              <a:rPr lang="en-US" smtClean="0"/>
              <a:pPr/>
              <a:t>28</a:t>
            </a:fld>
            <a:endParaRPr lang="en-US"/>
          </a:p>
        </p:txBody>
      </p:sp>
    </p:spTree>
    <p:extLst>
      <p:ext uri="{BB962C8B-B14F-4D97-AF65-F5344CB8AC3E}">
        <p14:creationId xmlns:p14="http://schemas.microsoft.com/office/powerpoint/2010/main" val="33789742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t>VINCENT</a:t>
            </a:r>
          </a:p>
          <a:p>
            <a:r>
              <a:rPr lang="en-US" sz="1100"/>
              <a:t>Let’s discover together (</a:t>
            </a:r>
            <a:r>
              <a:rPr lang="en-US" sz="1100">
                <a:sym typeface="Wingdings" panose="05000000000000000000" pitchFamily="2" charset="2"/>
              </a:rPr>
              <a:t> video)</a:t>
            </a:r>
            <a:endParaRPr lang="fr-BE" sz="1100"/>
          </a:p>
        </p:txBody>
      </p:sp>
      <p:sp>
        <p:nvSpPr>
          <p:cNvPr id="4" name="Slide Number Placeholder 3"/>
          <p:cNvSpPr>
            <a:spLocks noGrp="1"/>
          </p:cNvSpPr>
          <p:nvPr>
            <p:ph type="sldNum" sz="quarter" idx="5"/>
          </p:nvPr>
        </p:nvSpPr>
        <p:spPr/>
        <p:txBody>
          <a:bodyPr/>
          <a:lstStyle/>
          <a:p>
            <a:fld id="{FA918F22-1231-AB43-96E7-2B8B890DCD5E}" type="slidenum">
              <a:rPr lang="en-US" smtClean="0"/>
              <a:pPr/>
              <a:t>29</a:t>
            </a:fld>
            <a:endParaRPr lang="en-US"/>
          </a:p>
        </p:txBody>
      </p:sp>
    </p:spTree>
    <p:extLst>
      <p:ext uri="{BB962C8B-B14F-4D97-AF65-F5344CB8AC3E}">
        <p14:creationId xmlns:p14="http://schemas.microsoft.com/office/powerpoint/2010/main" val="1292067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E19C5-D8EF-9CB2-85EF-8682A9B3BC98}"/>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3AB05D96-B3B8-A4AD-032E-8EAD2CC50645}"/>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a:solidFill>
                  <a:schemeClr val="accent6"/>
                </a:solidFill>
                <a:latin typeface="Proximus Bold"/>
              </a:rPr>
              <a:t>MAGALI &amp; ROBIN </a:t>
            </a:r>
            <a:r>
              <a:rPr lang="en-US" sz="1100">
                <a:solidFill>
                  <a:schemeClr val="accent6"/>
                </a:solidFill>
                <a:latin typeface="Proximus Bold"/>
              </a:rPr>
              <a:t>on stage</a:t>
            </a:r>
          </a:p>
          <a:p>
            <a:r>
              <a:rPr lang="en-US" sz="1100" b="1" u="sng">
                <a:solidFill>
                  <a:schemeClr val="accent6"/>
                </a:solidFill>
                <a:latin typeface="Proximus Bold"/>
              </a:rPr>
              <a:t>MAGALI </a:t>
            </a:r>
            <a:r>
              <a:rPr lang="en-US" sz="1100" b="1">
                <a:solidFill>
                  <a:schemeClr val="accent6"/>
                </a:solidFill>
                <a:latin typeface="Proximus Bold"/>
              </a:rPr>
              <a:t>: </a:t>
            </a:r>
            <a:r>
              <a:rPr lang="en-US" sz="1100">
                <a:solidFill>
                  <a:schemeClr val="accent6"/>
                </a:solidFill>
                <a:latin typeface="Proximus Bold"/>
              </a:rPr>
              <a:t>Et bien Robin, nous </a:t>
            </a:r>
            <a:r>
              <a:rPr lang="en-US" sz="1100" err="1">
                <a:solidFill>
                  <a:schemeClr val="accent6"/>
                </a:solidFill>
                <a:latin typeface="Proximus Bold"/>
              </a:rPr>
              <a:t>allons</a:t>
            </a:r>
            <a:r>
              <a:rPr lang="en-US" sz="1100">
                <a:solidFill>
                  <a:schemeClr val="accent6"/>
                </a:solidFill>
                <a:latin typeface="Proximus Bold"/>
              </a:rPr>
              <a:t> passer +/- 2h30 ensemble </a:t>
            </a:r>
            <a:r>
              <a:rPr lang="en-US" sz="1100" err="1">
                <a:solidFill>
                  <a:schemeClr val="accent6"/>
                </a:solidFill>
                <a:latin typeface="Proximus Bold"/>
              </a:rPr>
              <a:t>durant</a:t>
            </a:r>
            <a:r>
              <a:rPr lang="en-US" sz="1100">
                <a:solidFill>
                  <a:schemeClr val="accent6"/>
                </a:solidFill>
                <a:latin typeface="Proximus Bold"/>
              </a:rPr>
              <a:t> </a:t>
            </a:r>
            <a:r>
              <a:rPr lang="en-US" sz="1100" err="1">
                <a:solidFill>
                  <a:schemeClr val="accent6"/>
                </a:solidFill>
                <a:latin typeface="Proximus Bold"/>
              </a:rPr>
              <a:t>lesquelles</a:t>
            </a:r>
            <a:r>
              <a:rPr lang="en-US" sz="1100">
                <a:solidFill>
                  <a:schemeClr val="accent6"/>
                </a:solidFill>
                <a:latin typeface="Proximus Bold"/>
              </a:rPr>
              <a:t> Geert et son équipe </a:t>
            </a:r>
            <a:r>
              <a:rPr lang="en-US" sz="1100" err="1">
                <a:solidFill>
                  <a:schemeClr val="accent6"/>
                </a:solidFill>
                <a:latin typeface="Proximus Bold"/>
              </a:rPr>
              <a:t>vous</a:t>
            </a:r>
            <a:r>
              <a:rPr lang="en-US" sz="1100">
                <a:solidFill>
                  <a:schemeClr val="accent6"/>
                </a:solidFill>
                <a:latin typeface="Proximus Bold"/>
              </a:rPr>
              <a:t> </a:t>
            </a:r>
            <a:r>
              <a:rPr lang="en-US" sz="1100" err="1">
                <a:solidFill>
                  <a:schemeClr val="accent6"/>
                </a:solidFill>
                <a:latin typeface="Proximus Bold"/>
              </a:rPr>
              <a:t>présenteront</a:t>
            </a:r>
            <a:r>
              <a:rPr lang="en-US" sz="1100">
                <a:solidFill>
                  <a:schemeClr val="accent6"/>
                </a:solidFill>
                <a:latin typeface="Proximus Bold"/>
              </a:rPr>
              <a:t> la </a:t>
            </a:r>
            <a:r>
              <a:rPr lang="en-US" sz="1100" err="1">
                <a:solidFill>
                  <a:schemeClr val="accent6"/>
                </a:solidFill>
                <a:latin typeface="Proximus Bold"/>
              </a:rPr>
              <a:t>stratégie</a:t>
            </a:r>
            <a:r>
              <a:rPr lang="en-US" sz="1100">
                <a:solidFill>
                  <a:schemeClr val="accent6"/>
                </a:solidFill>
                <a:latin typeface="Proximus Bold"/>
              </a:rPr>
              <a:t> NBU que nous </a:t>
            </a:r>
            <a:r>
              <a:rPr lang="en-US" sz="1100" err="1">
                <a:solidFill>
                  <a:schemeClr val="accent6"/>
                </a:solidFill>
                <a:latin typeface="Proximus Bold"/>
              </a:rPr>
              <a:t>avons</a:t>
            </a:r>
            <a:r>
              <a:rPr lang="en-US" sz="1100">
                <a:solidFill>
                  <a:schemeClr val="accent6"/>
                </a:solidFill>
                <a:latin typeface="Proximus Bold"/>
              </a:rPr>
              <a:t> </a:t>
            </a:r>
            <a:r>
              <a:rPr lang="en-US" sz="1100" err="1">
                <a:solidFill>
                  <a:schemeClr val="accent6"/>
                </a:solidFill>
                <a:latin typeface="Proximus Bold"/>
              </a:rPr>
              <a:t>appelée</a:t>
            </a:r>
            <a:r>
              <a:rPr lang="en-US" sz="1100">
                <a:solidFill>
                  <a:schemeClr val="accent6"/>
                </a:solidFill>
                <a:latin typeface="Proximus Bold"/>
              </a:rPr>
              <a:t> NBU4.0…Nom </a:t>
            </a:r>
            <a:r>
              <a:rPr lang="en-US" sz="1100" err="1">
                <a:solidFill>
                  <a:schemeClr val="accent6"/>
                </a:solidFill>
                <a:latin typeface="Proximus Bold"/>
              </a:rPr>
              <a:t>étrange</a:t>
            </a:r>
            <a:r>
              <a:rPr lang="en-US" sz="1100">
                <a:solidFill>
                  <a:schemeClr val="accent6"/>
                </a:solidFill>
                <a:latin typeface="Proximus Bold"/>
              </a:rPr>
              <a:t> </a:t>
            </a:r>
            <a:r>
              <a:rPr lang="en-US" sz="1100" err="1">
                <a:solidFill>
                  <a:schemeClr val="accent6"/>
                </a:solidFill>
                <a:latin typeface="Proximus Bold"/>
              </a:rPr>
              <a:t>hein</a:t>
            </a:r>
            <a:r>
              <a:rPr lang="en-US" sz="1100">
                <a:solidFill>
                  <a:schemeClr val="accent6"/>
                </a:solidFill>
                <a:latin typeface="Proximus Bold"/>
              </a:rPr>
              <a:t>… </a:t>
            </a:r>
            <a:r>
              <a:rPr lang="en-US" sz="1100" err="1">
                <a:solidFill>
                  <a:schemeClr val="accent6"/>
                </a:solidFill>
                <a:latin typeface="Proximus Bold"/>
              </a:rPr>
              <a:t>mais</a:t>
            </a:r>
            <a:r>
              <a:rPr lang="en-US" sz="1100">
                <a:solidFill>
                  <a:schemeClr val="accent6"/>
                </a:solidFill>
                <a:latin typeface="Proximus Bold"/>
              </a:rPr>
              <a:t> </a:t>
            </a:r>
            <a:r>
              <a:rPr lang="en-US" sz="1100" err="1">
                <a:solidFill>
                  <a:schemeClr val="accent6"/>
                </a:solidFill>
                <a:latin typeface="Proximus Bold"/>
              </a:rPr>
              <a:t>vous</a:t>
            </a:r>
            <a:r>
              <a:rPr lang="en-US" sz="1100">
                <a:solidFill>
                  <a:schemeClr val="accent6"/>
                </a:solidFill>
                <a:latin typeface="Proximus Bold"/>
              </a:rPr>
              <a:t> </a:t>
            </a:r>
            <a:r>
              <a:rPr lang="en-US" sz="1100" err="1">
                <a:solidFill>
                  <a:schemeClr val="accent6"/>
                </a:solidFill>
                <a:latin typeface="Proximus Bold"/>
              </a:rPr>
              <a:t>découvrirez</a:t>
            </a:r>
            <a:r>
              <a:rPr lang="en-US" sz="1100">
                <a:solidFill>
                  <a:schemeClr val="accent6"/>
                </a:solidFill>
                <a:latin typeface="Proximus Bold"/>
              </a:rPr>
              <a:t> </a:t>
            </a:r>
            <a:r>
              <a:rPr lang="en-US" sz="1100" err="1">
                <a:solidFill>
                  <a:schemeClr val="accent6"/>
                </a:solidFill>
                <a:latin typeface="Proximus Bold"/>
              </a:rPr>
              <a:t>bientôt</a:t>
            </a:r>
            <a:r>
              <a:rPr lang="en-US" sz="1100">
                <a:solidFill>
                  <a:schemeClr val="accent6"/>
                </a:solidFill>
                <a:latin typeface="Proximus Bold"/>
              </a:rPr>
              <a:t> </a:t>
            </a:r>
            <a:r>
              <a:rPr lang="en-US" sz="1100" err="1">
                <a:solidFill>
                  <a:schemeClr val="accent6"/>
                </a:solidFill>
                <a:latin typeface="Proximus Bold"/>
              </a:rPr>
              <a:t>ce</a:t>
            </a:r>
            <a:r>
              <a:rPr lang="en-US" sz="1100">
                <a:solidFill>
                  <a:schemeClr val="accent6"/>
                </a:solidFill>
                <a:latin typeface="Proximus Bold"/>
              </a:rPr>
              <a:t> qui se cache derrière </a:t>
            </a:r>
            <a:r>
              <a:rPr lang="en-US" sz="1100" err="1">
                <a:solidFill>
                  <a:schemeClr val="accent6"/>
                </a:solidFill>
                <a:latin typeface="Proximus Bold"/>
              </a:rPr>
              <a:t>ce</a:t>
            </a:r>
            <a:r>
              <a:rPr lang="en-US" sz="1100">
                <a:solidFill>
                  <a:schemeClr val="accent6"/>
                </a:solidFill>
                <a:latin typeface="Proximus Bold"/>
              </a:rPr>
              <a:t> nom.</a:t>
            </a:r>
          </a:p>
          <a:p>
            <a:r>
              <a:rPr lang="en-US" sz="1100" err="1">
                <a:solidFill>
                  <a:schemeClr val="accent6"/>
                </a:solidFill>
                <a:latin typeface="Proximus Bold"/>
              </a:rPr>
              <a:t>Voici</a:t>
            </a:r>
            <a:r>
              <a:rPr lang="en-US" sz="1100">
                <a:solidFill>
                  <a:schemeClr val="accent6"/>
                </a:solidFill>
                <a:latin typeface="Proximus Bold"/>
              </a:rPr>
              <a:t> comment se </a:t>
            </a:r>
            <a:r>
              <a:rPr lang="en-US" sz="1100" err="1">
                <a:solidFill>
                  <a:schemeClr val="accent6"/>
                </a:solidFill>
                <a:latin typeface="Proximus Bold"/>
              </a:rPr>
              <a:t>déroulera</a:t>
            </a:r>
            <a:r>
              <a:rPr lang="en-US" sz="1100">
                <a:solidFill>
                  <a:schemeClr val="accent6"/>
                </a:solidFill>
                <a:latin typeface="Proximus Bold"/>
              </a:rPr>
              <a:t> </a:t>
            </a:r>
            <a:r>
              <a:rPr lang="en-US" sz="1100" err="1">
                <a:solidFill>
                  <a:schemeClr val="accent6"/>
                </a:solidFill>
                <a:latin typeface="Proximus Bold"/>
              </a:rPr>
              <a:t>cet</a:t>
            </a:r>
            <a:r>
              <a:rPr lang="en-US" sz="1100">
                <a:solidFill>
                  <a:schemeClr val="accent6"/>
                </a:solidFill>
                <a:latin typeface="Proximus Bold"/>
              </a:rPr>
              <a:t> après-midi:</a:t>
            </a:r>
            <a:r>
              <a:rPr lang="fr-BE" sz="1100">
                <a:solidFill>
                  <a:schemeClr val="accent6"/>
                </a:solidFill>
                <a:latin typeface="Proximus Bold"/>
              </a:rPr>
              <a:t> après une courte introduction de Geert </a:t>
            </a:r>
            <a:r>
              <a:rPr lang="fr-BE" sz="1100" err="1">
                <a:solidFill>
                  <a:schemeClr val="accent6"/>
                </a:solidFill>
                <a:latin typeface="Proximus Bold"/>
              </a:rPr>
              <a:t>Standaert</a:t>
            </a:r>
            <a:r>
              <a:rPr lang="fr-BE" sz="1100">
                <a:solidFill>
                  <a:schemeClr val="accent6"/>
                </a:solidFill>
                <a:latin typeface="Proximus Bold"/>
              </a:rPr>
              <a:t>, nous plongerons dans le 1ere partie de la Stratégie 4.0 de NBU. Avant de découvrir la 2</a:t>
            </a:r>
            <a:r>
              <a:rPr lang="fr-BE" sz="1100" baseline="30000">
                <a:solidFill>
                  <a:schemeClr val="accent6"/>
                </a:solidFill>
                <a:latin typeface="Proximus Bold"/>
              </a:rPr>
              <a:t>ème</a:t>
            </a:r>
            <a:r>
              <a:rPr lang="fr-BE" sz="1100">
                <a:solidFill>
                  <a:schemeClr val="accent6"/>
                </a:solidFill>
                <a:latin typeface="Proximus Bold"/>
              </a:rPr>
              <a:t> partie, nous aurons la chance d’accueillir Geert Van Mol pour un </a:t>
            </a:r>
            <a:r>
              <a:rPr lang="fr-BE" sz="1100" err="1">
                <a:solidFill>
                  <a:schemeClr val="accent6"/>
                </a:solidFill>
                <a:latin typeface="Proximus Bold"/>
              </a:rPr>
              <a:t>keynote</a:t>
            </a:r>
            <a:r>
              <a:rPr lang="fr-BE" sz="1100">
                <a:solidFill>
                  <a:schemeClr val="accent6"/>
                </a:solidFill>
                <a:latin typeface="Proximus Bold"/>
              </a:rPr>
              <a:t> « rock &amp; roll » de 45min basé sur son nouveau livre REBEL </a:t>
            </a:r>
            <a:r>
              <a:rPr lang="fr-BE" sz="1100" err="1">
                <a:solidFill>
                  <a:schemeClr val="accent6"/>
                </a:solidFill>
                <a:latin typeface="Proximus Bold"/>
              </a:rPr>
              <a:t>REBEL</a:t>
            </a:r>
            <a:r>
              <a:rPr lang="fr-BE" sz="1100">
                <a:solidFill>
                  <a:schemeClr val="accent6"/>
                </a:solidFill>
                <a:latin typeface="Proximus Bold"/>
              </a:rPr>
              <a:t>. Et nous terminerons cette session </a:t>
            </a:r>
            <a:r>
              <a:rPr lang="fr-BE" sz="1100" err="1">
                <a:solidFill>
                  <a:schemeClr val="accent6"/>
                </a:solidFill>
                <a:latin typeface="Proximus Bold"/>
              </a:rPr>
              <a:t>pléniaire</a:t>
            </a:r>
            <a:r>
              <a:rPr lang="fr-BE" sz="1100">
                <a:solidFill>
                  <a:schemeClr val="accent6"/>
                </a:solidFill>
                <a:latin typeface="Proximus Bold"/>
              </a:rPr>
              <a:t> par un Q&amp;A tant pour les personnes présentent dans la salle que vous qui nous suivez sur votre laptop ou votre TV.</a:t>
            </a:r>
          </a:p>
        </p:txBody>
      </p:sp>
    </p:spTree>
    <p:extLst>
      <p:ext uri="{BB962C8B-B14F-4D97-AF65-F5344CB8AC3E}">
        <p14:creationId xmlns:p14="http://schemas.microsoft.com/office/powerpoint/2010/main" val="7446490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deo NASA</a:t>
            </a:r>
          </a:p>
        </p:txBody>
      </p:sp>
      <p:sp>
        <p:nvSpPr>
          <p:cNvPr id="4" name="Slide Number Placeholder 3"/>
          <p:cNvSpPr>
            <a:spLocks noGrp="1"/>
          </p:cNvSpPr>
          <p:nvPr>
            <p:ph type="sldNum" sz="quarter" idx="5"/>
          </p:nvPr>
        </p:nvSpPr>
        <p:spPr/>
        <p:txBody>
          <a:bodyPr/>
          <a:lstStyle/>
          <a:p>
            <a:fld id="{FA918F22-1231-AB43-96E7-2B8B890DCD5E}" type="slidenum">
              <a:rPr lang="en-US" smtClean="0"/>
              <a:pPr/>
              <a:t>30</a:t>
            </a:fld>
            <a:endParaRPr lang="en-US"/>
          </a:p>
        </p:txBody>
      </p:sp>
    </p:spTree>
    <p:extLst>
      <p:ext uri="{BB962C8B-B14F-4D97-AF65-F5344CB8AC3E}">
        <p14:creationId xmlns:p14="http://schemas.microsoft.com/office/powerpoint/2010/main" val="3171215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1"/>
            <a:r>
              <a:rPr lang="en-US" sz="1100" b="1" u="sng" dirty="0">
                <a:latin typeface="Proximus Bold"/>
              </a:rPr>
              <a:t>PATRICK</a:t>
            </a:r>
            <a:endParaRPr lang="en-US" sz="1100" b="1" dirty="0">
              <a:latin typeface="Proximus Bold"/>
            </a:endParaRPr>
          </a:p>
          <a:p>
            <a:pPr marL="491490" lvl="1" indent="-285750">
              <a:buFont typeface="Arial"/>
              <a:buChar char="•"/>
            </a:pPr>
            <a:r>
              <a:rPr lang="en-US" sz="1100" b="0" dirty="0">
                <a:latin typeface="Proximus Bold"/>
              </a:rPr>
              <a:t>(Goal) We aim over time for a </a:t>
            </a:r>
            <a:r>
              <a:rPr lang="en-US" sz="1100" b="1" dirty="0">
                <a:latin typeface="Proximus Bold"/>
              </a:rPr>
              <a:t>Copper Free </a:t>
            </a:r>
            <a:r>
              <a:rPr lang="en-US" sz="1100" b="0" dirty="0">
                <a:latin typeface="Proximus Bold"/>
              </a:rPr>
              <a:t>network </a:t>
            </a:r>
            <a:r>
              <a:rPr lang="en-US" sz="1100" dirty="0">
                <a:latin typeface="Proximus Bold"/>
              </a:rPr>
              <a:t>by </a:t>
            </a:r>
            <a:r>
              <a:rPr lang="en-US" sz="1100" b="1" dirty="0">
                <a:latin typeface="Proximus Bold"/>
              </a:rPr>
              <a:t>switching off </a:t>
            </a:r>
            <a:r>
              <a:rPr lang="en-US" sz="1100" b="0" dirty="0">
                <a:latin typeface="Proximus Bold"/>
              </a:rPr>
              <a:t>the copper infrastructure. </a:t>
            </a:r>
          </a:p>
          <a:p>
            <a:pPr marL="491490" lvl="1" indent="-285750">
              <a:buFont typeface="Arial"/>
              <a:buChar char="•"/>
            </a:pPr>
            <a:r>
              <a:rPr lang="en-US" sz="1100" b="0" dirty="0">
                <a:latin typeface="Proximus Bold"/>
              </a:rPr>
              <a:t>(“Simplify”) We need to </a:t>
            </a:r>
            <a:r>
              <a:rPr lang="en-US" sz="1100" b="1" dirty="0">
                <a:latin typeface="Proximus Bold"/>
              </a:rPr>
              <a:t>Simplify</a:t>
            </a:r>
            <a:r>
              <a:rPr lang="en-US" sz="1100" dirty="0">
                <a:latin typeface="Proximus Bold"/>
              </a:rPr>
              <a:t> the network </a:t>
            </a:r>
            <a:r>
              <a:rPr lang="en-US" sz="1100" b="0" dirty="0">
                <a:latin typeface="Proximus Bold"/>
              </a:rPr>
              <a:t>to </a:t>
            </a:r>
            <a:r>
              <a:rPr lang="en-US" sz="1100" b="1" dirty="0">
                <a:latin typeface="Proximus Bold"/>
              </a:rPr>
              <a:t>reduce the operational costs</a:t>
            </a:r>
            <a:r>
              <a:rPr lang="en-US" sz="1100" dirty="0">
                <a:latin typeface="Proximus Bold"/>
              </a:rPr>
              <a:t> and </a:t>
            </a:r>
            <a:r>
              <a:rPr lang="en-US" sz="1100" b="0" dirty="0">
                <a:latin typeface="Proximus Bold"/>
              </a:rPr>
              <a:t>to work for the </a:t>
            </a:r>
            <a:r>
              <a:rPr lang="en-US" sz="1100" b="1" dirty="0">
                <a:latin typeface="Proximus Bold"/>
              </a:rPr>
              <a:t>sustainability</a:t>
            </a:r>
            <a:r>
              <a:rPr lang="en-US" sz="1100" b="0" dirty="0">
                <a:latin typeface="Proximus Bold"/>
              </a:rPr>
              <a:t>. </a:t>
            </a:r>
            <a:r>
              <a:rPr lang="en-US" sz="1100" b="1" dirty="0"/>
              <a:t> </a:t>
            </a:r>
            <a:br>
              <a:rPr lang="en-US" sz="1100" b="1" dirty="0"/>
            </a:br>
            <a:r>
              <a:rPr lang="en-US" sz="1100" b="0" dirty="0">
                <a:latin typeface="Proximus Bold"/>
              </a:rPr>
              <a:t>In total we have </a:t>
            </a:r>
            <a:r>
              <a:rPr lang="en-US" sz="1100" b="1" dirty="0">
                <a:latin typeface="Proximus Bold"/>
              </a:rPr>
              <a:t>60,000 street cabinets </a:t>
            </a:r>
            <a:r>
              <a:rPr lang="en-US" sz="1100" b="0" dirty="0">
                <a:latin typeface="Proximus Bold"/>
              </a:rPr>
              <a:t>(incl. 30,000 ROP) in the street and </a:t>
            </a:r>
            <a:r>
              <a:rPr lang="en-US" sz="1100" b="1" dirty="0">
                <a:latin typeface="Proximus Bold"/>
              </a:rPr>
              <a:t>200,000 km </a:t>
            </a:r>
            <a:r>
              <a:rPr lang="en-US" sz="1100" b="0" dirty="0">
                <a:latin typeface="Proximus Bold"/>
              </a:rPr>
              <a:t>of copper cable. </a:t>
            </a:r>
            <a:br>
              <a:rPr lang="en-US" sz="1100" b="0" dirty="0">
                <a:latin typeface="Proximus Bold"/>
              </a:rPr>
            </a:br>
            <a:r>
              <a:rPr lang="en-US" sz="1100" b="0" dirty="0">
                <a:latin typeface="Proximus Bold"/>
              </a:rPr>
              <a:t>It consumes </a:t>
            </a:r>
            <a:r>
              <a:rPr lang="en-US" sz="1100" b="1" dirty="0">
                <a:latin typeface="Proximus Bold"/>
              </a:rPr>
              <a:t>75 GWh, </a:t>
            </a:r>
            <a:r>
              <a:rPr lang="en-US" sz="1100" b="0" dirty="0">
                <a:latin typeface="Proximus Bold"/>
              </a:rPr>
              <a:t>so </a:t>
            </a:r>
            <a:r>
              <a:rPr lang="en-US" sz="1100" b="1" dirty="0">
                <a:latin typeface="Proximus Bold"/>
              </a:rPr>
              <a:t>22% </a:t>
            </a:r>
            <a:r>
              <a:rPr lang="en-US" sz="1100" b="0" dirty="0">
                <a:latin typeface="Proximus Bold"/>
              </a:rPr>
              <a:t>of the total Proximus electricity consumption, worth </a:t>
            </a:r>
            <a:r>
              <a:rPr lang="en-US" sz="1100" b="1" dirty="0">
                <a:latin typeface="Proximus Bold"/>
              </a:rPr>
              <a:t>18 m€/y</a:t>
            </a:r>
            <a:endParaRPr lang="nl-BE" sz="1100" b="1" dirty="0"/>
          </a:p>
          <a:p>
            <a:pPr marL="491490" marR="0" lvl="1" indent="-285750" algn="l" defTabSz="411480" rtl="0" eaLnBrk="1" fontAlgn="auto" latinLnBrk="0" hangingPunct="1">
              <a:lnSpc>
                <a:spcPct val="100000"/>
              </a:lnSpc>
              <a:spcBef>
                <a:spcPts val="0"/>
              </a:spcBef>
              <a:spcAft>
                <a:spcPts val="0"/>
              </a:spcAft>
              <a:buClrTx/>
              <a:buSzTx/>
              <a:buFont typeface="Arial"/>
              <a:buChar char="•"/>
              <a:tabLst/>
              <a:defRPr/>
            </a:pPr>
            <a:r>
              <a:rPr lang="en-US" sz="1100" dirty="0"/>
              <a:t>(“Migrate”) Copper switch off requires to migrate the </a:t>
            </a:r>
            <a:r>
              <a:rPr lang="en-US" sz="1100" b="1" dirty="0"/>
              <a:t>very last customer </a:t>
            </a:r>
            <a:r>
              <a:rPr lang="en-US" sz="1100" dirty="0"/>
              <a:t>of every </a:t>
            </a:r>
            <a:r>
              <a:rPr lang="en-US" sz="1100" b="1" dirty="0"/>
              <a:t>ROP </a:t>
            </a:r>
            <a:r>
              <a:rPr lang="en-US" sz="1100" dirty="0"/>
              <a:t>and of every </a:t>
            </a:r>
            <a:r>
              <a:rPr lang="en-US" sz="1100" b="1" dirty="0"/>
              <a:t>copper </a:t>
            </a:r>
            <a:r>
              <a:rPr lang="en-US" sz="1100" b="1" dirty="0" err="1"/>
              <a:t>cabl</a:t>
            </a:r>
            <a:br>
              <a:rPr lang="en-US" sz="1100" b="0" dirty="0"/>
            </a:br>
            <a:r>
              <a:rPr lang="en-US" sz="1100" b="0" dirty="0"/>
              <a:t>To offer them a Gigabit experience the customers will be migrated, massively to the Proximus fiber networks or to 3</a:t>
            </a:r>
            <a:r>
              <a:rPr lang="en-US" sz="1100" b="0" baseline="30000" dirty="0"/>
              <a:t>rd</a:t>
            </a:r>
            <a:r>
              <a:rPr lang="en-US" sz="1100" b="0" dirty="0"/>
              <a:t> party networks (Fiber, HFC or FWA)  </a:t>
            </a:r>
          </a:p>
          <a:p>
            <a:pPr marL="491490" lvl="1" indent="-285750">
              <a:buFont typeface="Arial"/>
              <a:buChar char="•"/>
            </a:pPr>
            <a:r>
              <a:rPr lang="en-US" sz="1100" b="0" dirty="0"/>
              <a:t>(Graph) </a:t>
            </a:r>
            <a:r>
              <a:rPr lang="en-US" sz="1100" b="1" dirty="0"/>
              <a:t>Volumes</a:t>
            </a:r>
            <a:r>
              <a:rPr lang="en-US" sz="1100" dirty="0"/>
              <a:t> of copper switch off </a:t>
            </a:r>
            <a:r>
              <a:rPr lang="en-US" sz="1100" b="1" dirty="0"/>
              <a:t>will tremendously increase</a:t>
            </a:r>
            <a:r>
              <a:rPr lang="en-US" sz="1100" dirty="0"/>
              <a:t> in the years to come, meaning that </a:t>
            </a:r>
            <a:r>
              <a:rPr lang="en-US" sz="1100" b="1" dirty="0"/>
              <a:t>industrialization / automation is a must</a:t>
            </a:r>
            <a:endParaRPr lang="nl-BE" sz="1100" b="0" dirty="0"/>
          </a:p>
          <a:p>
            <a:pPr marL="491490" lvl="1" indent="-285750">
              <a:buFont typeface="Arial"/>
              <a:buChar char="•"/>
            </a:pPr>
            <a:endParaRPr lang="nl-BE" sz="1100" b="0" dirty="0"/>
          </a:p>
          <a:p>
            <a:pPr marL="491490" lvl="1" indent="-285750">
              <a:buFont typeface="Arial"/>
              <a:buChar char="•"/>
            </a:pPr>
            <a:r>
              <a:rPr lang="en-US" sz="1100" b="0" dirty="0"/>
              <a:t>(“Manage Obsolescence”) Today 1,9 </a:t>
            </a:r>
            <a:r>
              <a:rPr lang="en-US" sz="1100" b="0" dirty="0" err="1"/>
              <a:t>mio</a:t>
            </a:r>
            <a:r>
              <a:rPr lang="en-US" sz="1100" b="0" dirty="0"/>
              <a:t> Proximus customers are on VDSL. </a:t>
            </a:r>
            <a:r>
              <a:rPr lang="en-US" sz="1100" b="1" dirty="0"/>
              <a:t>We need to keep copper network in good shape </a:t>
            </a:r>
            <a:r>
              <a:rPr lang="en-US" sz="1100" dirty="0"/>
              <a:t>to ensure right quality of service to customers. </a:t>
            </a:r>
            <a:br>
              <a:rPr lang="en-US" sz="1100" dirty="0"/>
            </a:br>
            <a:r>
              <a:rPr lang="en-US" sz="1100" b="1" dirty="0"/>
              <a:t>Investment</a:t>
            </a:r>
            <a:r>
              <a:rPr lang="en-US" sz="1100" dirty="0"/>
              <a:t> and efforts have </a:t>
            </a:r>
            <a:r>
              <a:rPr lang="en-US" sz="1100" b="1" dirty="0"/>
              <a:t>to remain very reasonable</a:t>
            </a:r>
            <a:r>
              <a:rPr lang="en-US" sz="1100" dirty="0"/>
              <a:t>. </a:t>
            </a:r>
            <a:r>
              <a:rPr lang="en-US" sz="1100" b="1" dirty="0"/>
              <a:t>Monitoring</a:t>
            </a:r>
            <a:r>
              <a:rPr lang="en-US" sz="1100" dirty="0"/>
              <a:t> aging and finding remedies are keys.</a:t>
            </a:r>
            <a:endParaRPr lang="nl-BE" sz="1100" dirty="0"/>
          </a:p>
          <a:p>
            <a:endParaRPr lang="nl-BE" sz="500" dirty="0"/>
          </a:p>
          <a:p>
            <a:endParaRPr lang="nl-BE" sz="500" dirty="0"/>
          </a:p>
        </p:txBody>
      </p:sp>
      <p:sp>
        <p:nvSpPr>
          <p:cNvPr id="4" name="Tijdelijke aanduiding voor dianummer 3"/>
          <p:cNvSpPr>
            <a:spLocks noGrp="1"/>
          </p:cNvSpPr>
          <p:nvPr>
            <p:ph type="sldNum" sz="quarter" idx="5"/>
          </p:nvPr>
        </p:nvSpPr>
        <p:spPr/>
        <p:txBody>
          <a:bodyPr/>
          <a:lstStyle/>
          <a:p>
            <a:fld id="{FA918F22-1231-AB43-96E7-2B8B890DCD5E}" type="slidenum">
              <a:rPr lang="en-US" smtClean="0"/>
              <a:pPr/>
              <a:t>31</a:t>
            </a:fld>
            <a:endParaRPr lang="en-US"/>
          </a:p>
        </p:txBody>
      </p:sp>
    </p:spTree>
    <p:extLst>
      <p:ext uri="{BB962C8B-B14F-4D97-AF65-F5344CB8AC3E}">
        <p14:creationId xmlns:p14="http://schemas.microsoft.com/office/powerpoint/2010/main" val="5365173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0D9C0-9E98-8724-3997-79B96401A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2ED3BB-BA82-F77D-85FC-769A67D71F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AC0A74-D991-818B-FB05-CDF8B7A9CC66}"/>
              </a:ext>
            </a:extLst>
          </p:cNvPr>
          <p:cNvSpPr>
            <a:spLocks noGrp="1"/>
          </p:cNvSpPr>
          <p:nvPr>
            <p:ph type="body" idx="1"/>
          </p:nvPr>
        </p:nvSpPr>
        <p:spPr/>
        <p:txBody>
          <a:bodyPr/>
          <a:lstStyle/>
          <a:p>
            <a:r>
              <a:rPr lang="en-US" sz="1100" b="1" u="sng" dirty="0">
                <a:latin typeface="Calibri"/>
                <a:ea typeface="Calibri"/>
                <a:cs typeface="Calibri"/>
              </a:rPr>
              <a:t>PATRICK</a:t>
            </a:r>
          </a:p>
          <a:p>
            <a:r>
              <a:rPr lang="en-US" sz="1100" b="1" dirty="0">
                <a:latin typeface="Calibri"/>
                <a:ea typeface="Calibri"/>
                <a:cs typeface="Calibri"/>
              </a:rPr>
              <a:t>Y2025</a:t>
            </a:r>
          </a:p>
          <a:p>
            <a:r>
              <a:rPr lang="en-US" sz="1100" dirty="0">
                <a:latin typeface="Calibri"/>
                <a:ea typeface="Calibri"/>
                <a:cs typeface="Calibri"/>
              </a:rPr>
              <a:t>1.  Migrating all customers on fiber in a era requires a </a:t>
            </a:r>
            <a:r>
              <a:rPr lang="en-US" sz="1100" b="1" dirty="0">
                <a:latin typeface="Calibri"/>
                <a:ea typeface="Calibri"/>
                <a:cs typeface="Calibri"/>
              </a:rPr>
              <a:t>focus </a:t>
            </a:r>
            <a:r>
              <a:rPr lang="en-US" sz="1100" dirty="0">
                <a:latin typeface="Calibri"/>
                <a:ea typeface="Calibri"/>
                <a:cs typeface="Calibri"/>
              </a:rPr>
              <a:t>on </a:t>
            </a:r>
            <a:r>
              <a:rPr lang="en-US" sz="1100" b="1" dirty="0">
                <a:latin typeface="Calibri"/>
                <a:ea typeface="Calibri"/>
                <a:cs typeface="Calibri"/>
              </a:rPr>
              <a:t>“100%-RFT” </a:t>
            </a:r>
            <a:r>
              <a:rPr lang="en-US" sz="1100" dirty="0">
                <a:latin typeface="Calibri"/>
                <a:ea typeface="Calibri"/>
                <a:cs typeface="Calibri"/>
              </a:rPr>
              <a:t>(Ready for Termination). Target Y2025 RFT/HP  120% = 111 </a:t>
            </a:r>
            <a:r>
              <a:rPr lang="en-US" sz="1100" dirty="0" err="1">
                <a:latin typeface="Calibri"/>
                <a:ea typeface="Calibri"/>
                <a:cs typeface="Calibri"/>
              </a:rPr>
              <a:t>kRFT</a:t>
            </a:r>
            <a:r>
              <a:rPr lang="en-US" sz="1100" dirty="0">
                <a:latin typeface="Calibri"/>
                <a:ea typeface="Calibri"/>
                <a:cs typeface="Calibri"/>
              </a:rPr>
              <a:t> (tbc) and on “</a:t>
            </a:r>
            <a:r>
              <a:rPr lang="en-US" sz="1100" b="1" dirty="0">
                <a:latin typeface="Calibri"/>
                <a:ea typeface="Calibri"/>
                <a:cs typeface="Calibri"/>
              </a:rPr>
              <a:t>T9x”</a:t>
            </a:r>
            <a:br>
              <a:rPr lang="en-US" sz="1100" b="1" dirty="0">
                <a:latin typeface="Calibri"/>
                <a:ea typeface="Calibri"/>
                <a:cs typeface="Calibri"/>
              </a:rPr>
            </a:br>
            <a:r>
              <a:rPr lang="en-US" sz="1100" b="1" dirty="0">
                <a:latin typeface="Calibri"/>
                <a:ea typeface="Calibri"/>
                <a:cs typeface="Calibri"/>
              </a:rPr>
              <a:t>     Seize any opportunity </a:t>
            </a:r>
            <a:r>
              <a:rPr lang="en-US" sz="1100" b="0" dirty="0">
                <a:latin typeface="Calibri"/>
                <a:ea typeface="Calibri"/>
                <a:cs typeface="Calibri"/>
              </a:rPr>
              <a:t>during roadworks to migrate customer to fiber sooner, in touch with CBU/EBU/CWS.</a:t>
            </a:r>
          </a:p>
          <a:p>
            <a:r>
              <a:rPr lang="en-US" sz="1100" dirty="0">
                <a:latin typeface="Calibri"/>
                <a:ea typeface="Calibri"/>
                <a:cs typeface="Calibri"/>
              </a:rPr>
              <a:t>2.  We </a:t>
            </a:r>
            <a:r>
              <a:rPr lang="en-US" sz="1100" b="1" dirty="0">
                <a:latin typeface="Calibri"/>
                <a:ea typeface="Calibri"/>
                <a:cs typeface="Calibri"/>
              </a:rPr>
              <a:t>double </a:t>
            </a:r>
            <a:r>
              <a:rPr lang="en-US" sz="1100" dirty="0">
                <a:latin typeface="Calibri"/>
                <a:ea typeface="Calibri"/>
                <a:cs typeface="Calibri"/>
              </a:rPr>
              <a:t>the number of ROP Switch Off (400 in 2025) and intensify the ROP compacting (2000), to reduce the energy consumption with (tbc) GWh/y</a:t>
            </a:r>
          </a:p>
          <a:p>
            <a:r>
              <a:rPr lang="en-US" sz="1100" dirty="0">
                <a:latin typeface="Calibri"/>
                <a:ea typeface="Calibri"/>
                <a:cs typeface="Calibri"/>
              </a:rPr>
              <a:t>3.  The </a:t>
            </a:r>
            <a:r>
              <a:rPr lang="en-US" sz="1100" b="1" dirty="0">
                <a:latin typeface="Calibri"/>
                <a:ea typeface="Calibri"/>
                <a:cs typeface="Calibri"/>
              </a:rPr>
              <a:t>ROP switch-off </a:t>
            </a:r>
            <a:r>
              <a:rPr lang="en-US" sz="1100" dirty="0">
                <a:latin typeface="Calibri"/>
                <a:ea typeface="Calibri"/>
                <a:cs typeface="Calibri"/>
              </a:rPr>
              <a:t>and </a:t>
            </a:r>
            <a:r>
              <a:rPr lang="en-US" sz="1100" b="1" dirty="0">
                <a:latin typeface="Calibri"/>
                <a:ea typeface="Calibri"/>
                <a:cs typeface="Calibri"/>
              </a:rPr>
              <a:t>copper decommissioning </a:t>
            </a:r>
            <a:r>
              <a:rPr lang="en-US" sz="1100" dirty="0">
                <a:latin typeface="Calibri"/>
                <a:ea typeface="Calibri"/>
                <a:cs typeface="Calibri"/>
              </a:rPr>
              <a:t>requires lot of </a:t>
            </a:r>
            <a:r>
              <a:rPr lang="en-US" sz="1100" b="1" dirty="0">
                <a:latin typeface="Calibri"/>
                <a:ea typeface="Calibri"/>
                <a:cs typeface="Calibri"/>
              </a:rPr>
              <a:t>manual works</a:t>
            </a:r>
            <a:r>
              <a:rPr lang="en-US" sz="1100" dirty="0">
                <a:latin typeface="Calibri"/>
                <a:ea typeface="Calibri"/>
                <a:cs typeface="Calibri"/>
              </a:rPr>
              <a:t> that will be </a:t>
            </a:r>
            <a:r>
              <a:rPr lang="en-US" sz="1100" b="1" dirty="0">
                <a:latin typeface="Calibri"/>
                <a:ea typeface="Calibri"/>
                <a:cs typeface="Calibri"/>
              </a:rPr>
              <a:t>highly automated </a:t>
            </a:r>
            <a:r>
              <a:rPr lang="en-US" sz="1100" dirty="0">
                <a:latin typeface="Calibri"/>
                <a:ea typeface="Calibri"/>
                <a:cs typeface="Calibri"/>
              </a:rPr>
              <a:t>with xx IT deliverables (CIRO project)</a:t>
            </a:r>
          </a:p>
          <a:p>
            <a:r>
              <a:rPr lang="en-US" sz="1100" dirty="0">
                <a:latin typeface="Calibri"/>
                <a:ea typeface="Calibri"/>
                <a:cs typeface="Calibri"/>
              </a:rPr>
              <a:t>4.  We will continue the </a:t>
            </a:r>
            <a:r>
              <a:rPr lang="en-US" sz="1100" b="1" dirty="0">
                <a:latin typeface="Calibri"/>
                <a:ea typeface="Calibri"/>
                <a:cs typeface="Calibri"/>
              </a:rPr>
              <a:t>card recuperation </a:t>
            </a:r>
            <a:r>
              <a:rPr lang="en-US" sz="1100" b="0" dirty="0">
                <a:latin typeface="Calibri"/>
                <a:ea typeface="Calibri"/>
                <a:cs typeface="Calibri"/>
              </a:rPr>
              <a:t>and are selecting a </a:t>
            </a:r>
            <a:r>
              <a:rPr lang="en-US" sz="1100" b="1" dirty="0">
                <a:latin typeface="Calibri"/>
                <a:ea typeface="Calibri"/>
                <a:cs typeface="Calibri"/>
              </a:rPr>
              <a:t>3</a:t>
            </a:r>
            <a:r>
              <a:rPr lang="en-US" sz="1100" b="1" baseline="30000" dirty="0">
                <a:latin typeface="Calibri"/>
                <a:ea typeface="Calibri"/>
                <a:cs typeface="Calibri"/>
              </a:rPr>
              <a:t>rd</a:t>
            </a:r>
            <a:r>
              <a:rPr lang="en-US" sz="1100" b="1" dirty="0">
                <a:latin typeface="Calibri"/>
                <a:ea typeface="Calibri"/>
                <a:cs typeface="Calibri"/>
              </a:rPr>
              <a:t> party </a:t>
            </a:r>
            <a:r>
              <a:rPr lang="en-US" sz="1100" b="0" dirty="0">
                <a:latin typeface="Calibri"/>
                <a:ea typeface="Calibri"/>
                <a:cs typeface="Calibri"/>
              </a:rPr>
              <a:t>for electronic card repair (ongoing CTDI &amp; Cordon) </a:t>
            </a:r>
            <a:br>
              <a:rPr lang="en-US" sz="1100" b="0" dirty="0">
                <a:latin typeface="Calibri"/>
                <a:ea typeface="Calibri"/>
                <a:cs typeface="Calibri"/>
              </a:rPr>
            </a:br>
            <a:r>
              <a:rPr lang="en-US" sz="1100" b="0" dirty="0">
                <a:latin typeface="Calibri"/>
                <a:ea typeface="Calibri"/>
                <a:cs typeface="Calibri"/>
              </a:rPr>
              <a:t>    Parallelly, we continue the </a:t>
            </a:r>
            <a:r>
              <a:rPr lang="en-US" sz="1100" b="1" dirty="0">
                <a:latin typeface="Calibri"/>
                <a:ea typeface="Calibri"/>
                <a:cs typeface="Calibri"/>
              </a:rPr>
              <a:t>PROF AI project </a:t>
            </a:r>
            <a:r>
              <a:rPr lang="en-US" sz="1100" dirty="0">
                <a:latin typeface="Calibri"/>
                <a:ea typeface="Calibri"/>
                <a:cs typeface="Calibri"/>
              </a:rPr>
              <a:t>that is modelling (trying to </a:t>
            </a:r>
            <a:r>
              <a:rPr lang="en-US" sz="1100" dirty="0" err="1">
                <a:latin typeface="Calibri"/>
                <a:ea typeface="Calibri"/>
                <a:cs typeface="Calibri"/>
              </a:rPr>
              <a:t>beter</a:t>
            </a:r>
            <a:r>
              <a:rPr lang="en-US" sz="1100" dirty="0">
                <a:latin typeface="Calibri"/>
                <a:ea typeface="Calibri"/>
                <a:cs typeface="Calibri"/>
              </a:rPr>
              <a:t> predict) the ROP ageing </a:t>
            </a:r>
            <a:r>
              <a:rPr lang="en-US" sz="1100" dirty="0" err="1">
                <a:latin typeface="Calibri"/>
                <a:ea typeface="Calibri"/>
                <a:cs typeface="Calibri"/>
              </a:rPr>
              <a:t>LifeCycleManagement</a:t>
            </a:r>
            <a:r>
              <a:rPr lang="en-US" sz="1100" dirty="0">
                <a:latin typeface="Calibri"/>
                <a:ea typeface="Calibri"/>
                <a:cs typeface="Calibri"/>
              </a:rPr>
              <a:t>.</a:t>
            </a:r>
          </a:p>
          <a:p>
            <a:endParaRPr lang="en-US" sz="1100" dirty="0">
              <a:latin typeface="Calibri"/>
              <a:ea typeface="Calibri"/>
              <a:cs typeface="Calibri"/>
            </a:endParaRPr>
          </a:p>
          <a:p>
            <a:endParaRPr lang="en-GB" sz="1100" dirty="0">
              <a:effectLst/>
            </a:endParaRPr>
          </a:p>
          <a:p>
            <a:pPr marL="1828800" lvl="4" indent="0" fontAlgn="ctr">
              <a:buSzPts val="1000"/>
              <a:buFont typeface="Symbol" panose="05050102010706020507" pitchFamily="18" charset="2"/>
              <a:buNone/>
              <a:tabLst>
                <a:tab pos="2286000" algn="l"/>
              </a:tabLst>
            </a:pPr>
            <a:r>
              <a:rPr lang="en-US" sz="1100" b="1" dirty="0">
                <a:effectLst/>
                <a:latin typeface="Calibri" panose="020F0502020204030204" pitchFamily="34" charset="0"/>
                <a:ea typeface="Times New Roman" panose="02020603050405020304" pitchFamily="18" charset="0"/>
                <a:cs typeface="Aptos" panose="020B0004020202020204" pitchFamily="34" charset="0"/>
              </a:rPr>
              <a:t>IT CIRO</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of AGW-LEX </a:t>
            </a:r>
            <a:r>
              <a:rPr lang="en-GB" sz="1100" dirty="0" err="1">
                <a:effectLst/>
                <a:latin typeface="Aptos" panose="020B0004020202020204" pitchFamily="34" charset="0"/>
                <a:ea typeface="Times New Roman" panose="02020603050405020304" pitchFamily="18" charset="0"/>
                <a:cs typeface="Aptos" panose="020B0004020202020204" pitchFamily="34" charset="0"/>
              </a:rPr>
              <a:t>compactin</a:t>
            </a:r>
            <a:endParaRPr lang="en-GB" sz="1100" dirty="0">
              <a:effectLst/>
              <a:latin typeface="Aptos" panose="020B0004020202020204" pitchFamily="34" charset="0"/>
              <a:ea typeface="Times New Roman" panose="02020603050405020304" pitchFamily="18" charset="0"/>
              <a:cs typeface="Aptos" panose="020B0004020202020204" pitchFamily="34" charset="0"/>
            </a:endParaRP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a:t>
            </a:r>
            <a:r>
              <a:rPr lang="en-GB" sz="1100" dirty="0" err="1">
                <a:effectLst/>
                <a:latin typeface="Aptos" panose="020B0004020202020204" pitchFamily="34" charset="0"/>
                <a:ea typeface="Times New Roman" panose="02020603050405020304" pitchFamily="18" charset="0"/>
                <a:cs typeface="Aptos" panose="020B0004020202020204" pitchFamily="34" charset="0"/>
              </a:rPr>
              <a:t>Fluvius</a:t>
            </a:r>
            <a:r>
              <a:rPr lang="en-GB" sz="1100" dirty="0">
                <a:effectLst/>
                <a:latin typeface="Aptos" panose="020B0004020202020204" pitchFamily="34" charset="0"/>
                <a:ea typeface="Times New Roman" panose="02020603050405020304" pitchFamily="18" charset="0"/>
                <a:cs typeface="Aptos" panose="020B0004020202020204" pitchFamily="34" charset="0"/>
              </a:rPr>
              <a:t> ROP power off (RPA</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of documentation adaptation after full ROP DEPEC (RPA</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ROP compacting full automation (RPA</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SIBELGA ROP power off  (RPA).   (ORES is still questioned given multiple regional administrations</a:t>
            </a:r>
          </a:p>
          <a:p>
            <a:pPr marL="2000250" lvl="4" indent="-171450" fontAlgn="ctr">
              <a:buSzPts val="1000"/>
              <a:buFontTx/>
              <a:buChar char="-"/>
              <a:tabLst>
                <a:tab pos="2286000" algn="l"/>
              </a:tabLst>
            </a:pPr>
            <a:r>
              <a:rPr lang="en-GB" sz="1100" dirty="0">
                <a:effectLst/>
                <a:latin typeface="Aptos" panose="020B0004020202020204" pitchFamily="34" charset="0"/>
                <a:ea typeface="Times New Roman" panose="02020603050405020304" pitchFamily="18" charset="0"/>
                <a:cs typeface="Aptos" panose="020B0004020202020204" pitchFamily="34" charset="0"/>
              </a:rPr>
              <a:t>Automation of copper cables documentation adaptation (to be ready end 2026)</a:t>
            </a:r>
            <a:endParaRPr lang="en-GB" sz="1100" dirty="0">
              <a:effectLst/>
              <a:latin typeface="Aptos" panose="020B0004020202020204" pitchFamily="34" charset="0"/>
              <a:ea typeface="Calibri" panose="020F0502020204030204" pitchFamily="34" charset="0"/>
              <a:cs typeface="Aptos" panose="020B0004020202020204" pitchFamily="34" charset="0"/>
            </a:endParaRPr>
          </a:p>
          <a:p>
            <a:r>
              <a:rPr lang="en-US" dirty="0">
                <a:latin typeface="Calibri"/>
                <a:ea typeface="Calibri"/>
                <a:cs typeface="Calibri"/>
              </a:rPr>
              <a:t>  </a:t>
            </a:r>
          </a:p>
        </p:txBody>
      </p:sp>
      <p:sp>
        <p:nvSpPr>
          <p:cNvPr id="4" name="Slide Number Placeholder 3">
            <a:extLst>
              <a:ext uri="{FF2B5EF4-FFF2-40B4-BE49-F238E27FC236}">
                <a16:creationId xmlns:a16="http://schemas.microsoft.com/office/drawing/2014/main" id="{39071AFC-6353-F4CF-27D1-89ED38B13D4B}"/>
              </a:ext>
            </a:extLst>
          </p:cNvPr>
          <p:cNvSpPr>
            <a:spLocks noGrp="1"/>
          </p:cNvSpPr>
          <p:nvPr>
            <p:ph type="sldNum" sz="quarter" idx="5"/>
          </p:nvPr>
        </p:nvSpPr>
        <p:spPr/>
        <p:txBody>
          <a:bodyPr/>
          <a:lstStyle/>
          <a:p>
            <a:fld id="{FA918F22-1231-AB43-96E7-2B8B890DCD5E}" type="slidenum">
              <a:rPr lang="en-US" smtClean="0"/>
              <a:pPr/>
              <a:t>32</a:t>
            </a:fld>
            <a:endParaRPr lang="en-US"/>
          </a:p>
        </p:txBody>
      </p:sp>
    </p:spTree>
    <p:extLst>
      <p:ext uri="{BB962C8B-B14F-4D97-AF65-F5344CB8AC3E}">
        <p14:creationId xmlns:p14="http://schemas.microsoft.com/office/powerpoint/2010/main" val="18762968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8CC038-6F22-C787-54D6-7C08B178605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D9E8E46-4358-8F17-4896-E2390114802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5F88D2B-B926-7076-6893-090450EC8BF5}"/>
              </a:ext>
            </a:extLst>
          </p:cNvPr>
          <p:cNvSpPr>
            <a:spLocks noGrp="1"/>
          </p:cNvSpPr>
          <p:nvPr>
            <p:ph type="body" idx="1"/>
          </p:nvPr>
        </p:nvSpPr>
        <p:spPr/>
        <p:txBody>
          <a:bodyPr/>
          <a:lstStyle/>
          <a:p>
            <a:pPr lvl="1"/>
            <a:r>
              <a:rPr lang="en-US" sz="1100" b="1" u="sng" dirty="0">
                <a:latin typeface="Proximus Bold"/>
              </a:rPr>
              <a:t>PATRICK</a:t>
            </a:r>
            <a:endParaRPr lang="en-US" sz="1100" u="sng" dirty="0"/>
          </a:p>
          <a:p>
            <a:pPr marL="491490" lvl="1" indent="-285750">
              <a:buFont typeface="Arial"/>
              <a:buChar char="•"/>
            </a:pPr>
            <a:r>
              <a:rPr lang="en-US" sz="1100" dirty="0"/>
              <a:t>The </a:t>
            </a:r>
            <a:r>
              <a:rPr lang="en-US" sz="1100" b="1" dirty="0"/>
              <a:t>network transition </a:t>
            </a:r>
            <a:r>
              <a:rPr lang="en-US" sz="1100" dirty="0"/>
              <a:t>present an opportunity to </a:t>
            </a:r>
            <a:r>
              <a:rPr lang="en-US" sz="1100" b="1" dirty="0"/>
              <a:t>streamline </a:t>
            </a:r>
            <a:r>
              <a:rPr lang="en-US" sz="1100" dirty="0"/>
              <a:t>our real-estate portfolio, enabling </a:t>
            </a:r>
            <a:r>
              <a:rPr lang="en-US" sz="1100" b="1" dirty="0"/>
              <a:t>cash generation</a:t>
            </a:r>
            <a:r>
              <a:rPr lang="en-US" sz="1100" dirty="0"/>
              <a:t>, </a:t>
            </a:r>
            <a:r>
              <a:rPr lang="en-US" sz="1100" b="1" dirty="0"/>
              <a:t>sustained savings </a:t>
            </a:r>
            <a:r>
              <a:rPr lang="en-US" sz="1100" dirty="0"/>
              <a:t>and </a:t>
            </a:r>
            <a:r>
              <a:rPr lang="en-US" sz="1100" b="1" dirty="0"/>
              <a:t>decreased carbon emission.</a:t>
            </a:r>
            <a:endParaRPr lang="en-US" sz="1100" b="0" dirty="0">
              <a:latin typeface="Proximus Bold"/>
            </a:endParaRPr>
          </a:p>
          <a:p>
            <a:pPr marL="491490" lvl="1" indent="-285750">
              <a:buFont typeface="Arial"/>
              <a:buChar char="•"/>
            </a:pPr>
            <a:endParaRPr lang="en-US" sz="1100" b="0" dirty="0">
              <a:latin typeface="Proximus Bold"/>
            </a:endParaRPr>
          </a:p>
          <a:p>
            <a:pPr marL="491490" lvl="1" indent="-285750">
              <a:buFont typeface="Arial"/>
              <a:buChar char="•"/>
            </a:pPr>
            <a:r>
              <a:rPr lang="en-US" sz="1100" b="0" dirty="0">
                <a:latin typeface="Proximus Bold"/>
              </a:rPr>
              <a:t>Proximus owns </a:t>
            </a:r>
            <a:r>
              <a:rPr lang="en-US" sz="1100" b="1" dirty="0"/>
              <a:t>800+ buildings </a:t>
            </a:r>
            <a:r>
              <a:rPr lang="en-US" sz="1100" b="0" dirty="0"/>
              <a:t>for </a:t>
            </a:r>
            <a:r>
              <a:rPr lang="en-US" sz="1100" dirty="0"/>
              <a:t>telco equipment. (mainly Small buildings such as Small Lex and LDC = 650)</a:t>
            </a:r>
            <a:br>
              <a:rPr lang="en-US" sz="1100" b="0" dirty="0">
                <a:latin typeface="Proximus Bold" panose="00000500000000000000" pitchFamily="2" charset="0"/>
              </a:rPr>
            </a:br>
            <a:r>
              <a:rPr lang="en-US" sz="1100" b="0" dirty="0">
                <a:latin typeface="Proximus Bold"/>
              </a:rPr>
              <a:t>We can reduce those assets by -</a:t>
            </a:r>
            <a:r>
              <a:rPr lang="en-US" sz="1100" b="1" dirty="0">
                <a:latin typeface="Proximus Bold"/>
              </a:rPr>
              <a:t>80% </a:t>
            </a:r>
            <a:r>
              <a:rPr lang="en-US" sz="1100" b="0" dirty="0">
                <a:latin typeface="Proximus Bold"/>
              </a:rPr>
              <a:t>(down to 156 buildings)</a:t>
            </a:r>
            <a:r>
              <a:rPr lang="en-US" sz="1100" b="1" dirty="0">
                <a:latin typeface="Proximus Bold"/>
              </a:rPr>
              <a:t>, </a:t>
            </a:r>
            <a:r>
              <a:rPr lang="en-US" sz="1100" b="0" dirty="0">
                <a:latin typeface="Proximus Bold"/>
              </a:rPr>
              <a:t>allowing to </a:t>
            </a:r>
            <a:r>
              <a:rPr lang="en-US" sz="1100" b="1" dirty="0">
                <a:latin typeface="Proximus Bold"/>
              </a:rPr>
              <a:t>reduce </a:t>
            </a:r>
            <a:r>
              <a:rPr lang="en-US" sz="1100" b="0" dirty="0">
                <a:latin typeface="Proximus Bold"/>
              </a:rPr>
              <a:t>the occupied </a:t>
            </a:r>
            <a:r>
              <a:rPr lang="en-US" sz="1100" b="1" dirty="0">
                <a:latin typeface="Proximus Bold"/>
              </a:rPr>
              <a:t>surface </a:t>
            </a:r>
            <a:r>
              <a:rPr lang="en-US" sz="1100" b="0" dirty="0">
                <a:latin typeface="Proximus Bold"/>
              </a:rPr>
              <a:t>by </a:t>
            </a:r>
            <a:r>
              <a:rPr lang="en-US" sz="1100" b="1" dirty="0">
                <a:latin typeface="Proximus Bold"/>
              </a:rPr>
              <a:t>-94% </a:t>
            </a:r>
            <a:r>
              <a:rPr lang="en-US" sz="1100" b="0" dirty="0">
                <a:latin typeface="Proximus Bold"/>
              </a:rPr>
              <a:t>(640k SQM to 40k SQM) and -56% energy decrease</a:t>
            </a:r>
            <a:br>
              <a:rPr lang="en-US" sz="1100" b="0" dirty="0">
                <a:latin typeface="Proximus Bold"/>
              </a:rPr>
            </a:br>
            <a:r>
              <a:rPr lang="en-US" sz="1100" b="0" dirty="0">
                <a:latin typeface="Proximus Bold"/>
              </a:rPr>
              <a:t>We will </a:t>
            </a:r>
            <a:r>
              <a:rPr lang="en-US" sz="1100" b="1" dirty="0">
                <a:latin typeface="Proximus Bold"/>
              </a:rPr>
              <a:t>accelerate Mantra+, </a:t>
            </a:r>
            <a:r>
              <a:rPr lang="en-US" sz="1100" b="0" dirty="0">
                <a:latin typeface="Proximus Bold"/>
              </a:rPr>
              <a:t>this is the </a:t>
            </a:r>
            <a:r>
              <a:rPr lang="en-US" sz="1100" b="1" dirty="0">
                <a:latin typeface="Proximus Bold"/>
              </a:rPr>
              <a:t>Picasso project</a:t>
            </a:r>
            <a:r>
              <a:rPr lang="en-US" sz="1100" b="0" dirty="0">
                <a:latin typeface="Proximus Bold"/>
              </a:rPr>
              <a:t>, a massive building </a:t>
            </a:r>
            <a:r>
              <a:rPr lang="en-US" sz="1100" b="1" dirty="0">
                <a:latin typeface="Proximus Bold"/>
              </a:rPr>
              <a:t>phase-out </a:t>
            </a:r>
            <a:r>
              <a:rPr lang="en-US" sz="1100" b="0" dirty="0">
                <a:latin typeface="Proximus Bold"/>
              </a:rPr>
              <a:t>program for </a:t>
            </a:r>
            <a:r>
              <a:rPr lang="en-US" sz="1100" b="1" dirty="0">
                <a:latin typeface="Proximus Bold"/>
              </a:rPr>
              <a:t>reselling</a:t>
            </a:r>
            <a:endParaRPr lang="en-US" sz="1100" b="0" dirty="0">
              <a:latin typeface="Proximus Bold"/>
            </a:endParaRPr>
          </a:p>
          <a:p>
            <a:pPr marL="491490" lvl="1" indent="-285750">
              <a:buFont typeface="Arial"/>
              <a:buChar char="•"/>
            </a:pPr>
            <a:endParaRPr lang="en-US" sz="1200" b="0" dirty="0">
              <a:latin typeface="Proximus Bold"/>
            </a:endParaRPr>
          </a:p>
          <a:p>
            <a:pPr marL="205740" lvl="1" indent="0">
              <a:buFont typeface="Arial"/>
              <a:buNone/>
            </a:pPr>
            <a:r>
              <a:rPr lang="en-US" sz="1200" b="1" dirty="0">
                <a:latin typeface="Proximus Bold"/>
              </a:rPr>
              <a:t>  </a:t>
            </a:r>
          </a:p>
          <a:p>
            <a:pPr marL="491490" lvl="1" indent="-285750">
              <a:buFont typeface="Arial"/>
              <a:buChar char="•"/>
            </a:pPr>
            <a:endParaRPr lang="nl-BE" sz="1200" dirty="0"/>
          </a:p>
          <a:p>
            <a:endParaRPr lang="nl-BE" sz="500" dirty="0"/>
          </a:p>
        </p:txBody>
      </p:sp>
      <p:sp>
        <p:nvSpPr>
          <p:cNvPr id="4" name="Tijdelijke aanduiding voor dianummer 3">
            <a:extLst>
              <a:ext uri="{FF2B5EF4-FFF2-40B4-BE49-F238E27FC236}">
                <a16:creationId xmlns:a16="http://schemas.microsoft.com/office/drawing/2014/main" id="{0CA68A4A-2B4E-A8B3-2B6D-3697FDF3C024}"/>
              </a:ext>
            </a:extLst>
          </p:cNvPr>
          <p:cNvSpPr>
            <a:spLocks noGrp="1"/>
          </p:cNvSpPr>
          <p:nvPr>
            <p:ph type="sldNum" sz="quarter" idx="5"/>
          </p:nvPr>
        </p:nvSpPr>
        <p:spPr/>
        <p:txBody>
          <a:bodyPr/>
          <a:lstStyle/>
          <a:p>
            <a:fld id="{FA918F22-1231-AB43-96E7-2B8B890DCD5E}" type="slidenum">
              <a:rPr lang="en-US" smtClean="0"/>
              <a:pPr/>
              <a:t>33</a:t>
            </a:fld>
            <a:endParaRPr lang="en-US"/>
          </a:p>
        </p:txBody>
      </p:sp>
    </p:spTree>
    <p:extLst>
      <p:ext uri="{BB962C8B-B14F-4D97-AF65-F5344CB8AC3E}">
        <p14:creationId xmlns:p14="http://schemas.microsoft.com/office/powerpoint/2010/main" val="25240822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7AB3A-3440-0DA8-195A-D61F1507FCB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5DA7B275-EA7C-36A2-919D-364DD4C6311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CF1B4E3-CE8F-377B-E618-40DE138AEE23}"/>
              </a:ext>
            </a:extLst>
          </p:cNvPr>
          <p:cNvSpPr>
            <a:spLocks noGrp="1"/>
          </p:cNvSpPr>
          <p:nvPr>
            <p:ph type="body" idx="1"/>
          </p:nvPr>
        </p:nvSpPr>
        <p:spPr/>
        <p:txBody>
          <a:bodyPr/>
          <a:lstStyle/>
          <a:p>
            <a:pPr lvl="1"/>
            <a:r>
              <a:rPr lang="en-US" sz="1100" b="1" u="sng" dirty="0">
                <a:latin typeface="Proximus Bold"/>
              </a:rPr>
              <a:t>PATRICK</a:t>
            </a:r>
            <a:endParaRPr lang="en-US" sz="1100" u="sng" dirty="0"/>
          </a:p>
          <a:p>
            <a:pPr marL="377190" lvl="1" indent="-171450">
              <a:buFont typeface="Arial" panose="020B0604020202020204" pitchFamily="34" charset="0"/>
              <a:buChar char="•"/>
            </a:pPr>
            <a:r>
              <a:rPr lang="en-US" sz="1100" b="0" dirty="0">
                <a:latin typeface="Proximus Bold"/>
              </a:rPr>
              <a:t>Proximus still owns </a:t>
            </a:r>
            <a:r>
              <a:rPr lang="en-US" sz="1100" b="1" dirty="0"/>
              <a:t>800 building </a:t>
            </a:r>
            <a:r>
              <a:rPr lang="en-US" sz="1100" b="0" dirty="0"/>
              <a:t>for </a:t>
            </a:r>
            <a:r>
              <a:rPr lang="en-US" sz="1100" dirty="0"/>
              <a:t>telco. </a:t>
            </a:r>
            <a:br>
              <a:rPr lang="en-US" sz="1100" dirty="0"/>
            </a:br>
            <a:r>
              <a:rPr lang="en-US" sz="1100" b="0" dirty="0">
                <a:latin typeface="Proximus Bold"/>
              </a:rPr>
              <a:t>We we evolve to a tempo of </a:t>
            </a:r>
            <a:r>
              <a:rPr lang="en-US" sz="1100" b="1" dirty="0">
                <a:latin typeface="Proximus Bold"/>
              </a:rPr>
              <a:t>40 buildings/years </a:t>
            </a:r>
            <a:r>
              <a:rPr lang="en-US" sz="1100" b="0" dirty="0">
                <a:latin typeface="Proximus Bold"/>
              </a:rPr>
              <a:t>including very big ones (x 6) .</a:t>
            </a:r>
          </a:p>
          <a:p>
            <a:pPr marL="491490" lvl="1" indent="-285750">
              <a:buFont typeface="Arial"/>
              <a:buChar char="•"/>
            </a:pPr>
            <a:endParaRPr lang="en-US" sz="1100" b="0" dirty="0">
              <a:latin typeface="Proximus Bold"/>
            </a:endParaRPr>
          </a:p>
          <a:p>
            <a:pPr marL="491490" lvl="1" indent="-285750">
              <a:buFont typeface="Arial"/>
              <a:buChar char="•"/>
            </a:pPr>
            <a:r>
              <a:rPr lang="en-US" sz="1100" b="0" dirty="0">
                <a:latin typeface="Proximus Bold"/>
              </a:rPr>
              <a:t>Picasso consists in fully </a:t>
            </a:r>
            <a:r>
              <a:rPr lang="en-US" sz="1100" b="1" dirty="0">
                <a:latin typeface="Proximus Bold"/>
              </a:rPr>
              <a:t>redesigning </a:t>
            </a:r>
            <a:r>
              <a:rPr lang="en-US" sz="1100" b="0" dirty="0">
                <a:latin typeface="Proximus Bold"/>
              </a:rPr>
              <a:t>and </a:t>
            </a:r>
            <a:r>
              <a:rPr lang="en-US" sz="1100" b="1" dirty="0">
                <a:latin typeface="Proximus Bold"/>
              </a:rPr>
              <a:t>relocating </a:t>
            </a:r>
            <a:r>
              <a:rPr lang="en-US" sz="1100" b="0" dirty="0">
                <a:latin typeface="Proximus Bold"/>
              </a:rPr>
              <a:t>the telco network </a:t>
            </a:r>
          </a:p>
          <a:p>
            <a:pPr marL="697230" lvl="2" indent="-285750">
              <a:buFont typeface="Arial"/>
              <a:buChar char="•"/>
            </a:pPr>
            <a:r>
              <a:rPr lang="en-US" sz="1100" b="0" dirty="0">
                <a:latin typeface="Proximus Bold"/>
              </a:rPr>
              <a:t>to </a:t>
            </a:r>
            <a:r>
              <a:rPr lang="en-US" sz="1100" b="1" dirty="0">
                <a:latin typeface="Proximus Bold"/>
              </a:rPr>
              <a:t>sell the building </a:t>
            </a:r>
            <a:endParaRPr lang="en-US" sz="1100" b="0" dirty="0">
              <a:latin typeface="Proximus Bold"/>
            </a:endParaRPr>
          </a:p>
          <a:p>
            <a:pPr marL="697230" lvl="2" indent="-285750">
              <a:buFont typeface="Arial"/>
              <a:buChar char="•"/>
            </a:pPr>
            <a:r>
              <a:rPr lang="en-US" sz="1100" b="0" dirty="0">
                <a:latin typeface="Proximus Bold"/>
              </a:rPr>
              <a:t>to replace it by </a:t>
            </a:r>
            <a:r>
              <a:rPr lang="en-US" sz="1100" b="1" dirty="0">
                <a:latin typeface="Proximus Bold"/>
              </a:rPr>
              <a:t>technical room </a:t>
            </a:r>
            <a:r>
              <a:rPr lang="en-US" sz="1100" b="0" dirty="0">
                <a:latin typeface="Proximus Bold"/>
              </a:rPr>
              <a:t>(Atropos), container (shelter </a:t>
            </a:r>
            <a:r>
              <a:rPr lang="en-US" sz="1100" b="0" dirty="0" err="1">
                <a:latin typeface="Proximus Bold"/>
              </a:rPr>
              <a:t>PoP</a:t>
            </a:r>
            <a:r>
              <a:rPr lang="en-US" sz="1100" b="0" dirty="0">
                <a:latin typeface="Proximus Bold"/>
              </a:rPr>
              <a:t> 20m²) or a passive cabinet (2m²)</a:t>
            </a:r>
          </a:p>
          <a:p>
            <a:pPr marL="697230" lvl="2" indent="-285750">
              <a:buFont typeface="Arial"/>
              <a:buChar char="•"/>
            </a:pPr>
            <a:r>
              <a:rPr lang="en-US" sz="1100" b="0" dirty="0">
                <a:latin typeface="Proximus Bold"/>
              </a:rPr>
              <a:t>to phase out the </a:t>
            </a:r>
            <a:r>
              <a:rPr lang="en-US" sz="1100" b="1" dirty="0">
                <a:latin typeface="Proximus Bold"/>
              </a:rPr>
              <a:t>copper feeding </a:t>
            </a:r>
            <a:r>
              <a:rPr lang="en-US" sz="1100" b="0" dirty="0">
                <a:latin typeface="Proximus Bold"/>
              </a:rPr>
              <a:t>network </a:t>
            </a:r>
          </a:p>
          <a:p>
            <a:pPr marL="205740" lvl="1" indent="0">
              <a:buFont typeface="Arial"/>
              <a:buNone/>
            </a:pPr>
            <a:endParaRPr lang="en-US" sz="1100" b="1" dirty="0">
              <a:latin typeface="Proximus Bold"/>
            </a:endParaRPr>
          </a:p>
          <a:p>
            <a:pPr marL="205740" lvl="1" indent="0">
              <a:buFont typeface="Arial"/>
              <a:buNone/>
            </a:pPr>
            <a:r>
              <a:rPr lang="en-US" sz="1100" b="0" dirty="0">
                <a:latin typeface="Proximus Bold"/>
              </a:rPr>
              <a:t>* A typical phase-out is a </a:t>
            </a:r>
            <a:r>
              <a:rPr lang="en-US" sz="1100" b="1" dirty="0">
                <a:latin typeface="Proximus Bold"/>
              </a:rPr>
              <a:t>3 years </a:t>
            </a:r>
            <a:r>
              <a:rPr lang="en-US" sz="1100" b="0" dirty="0" err="1">
                <a:latin typeface="Proximus Bold"/>
              </a:rPr>
              <a:t>uo</a:t>
            </a:r>
            <a:r>
              <a:rPr lang="en-US" sz="1100" b="0" dirty="0">
                <a:latin typeface="Proximus Bold"/>
              </a:rPr>
              <a:t> to </a:t>
            </a:r>
            <a:r>
              <a:rPr lang="en-US" sz="1100" b="1" dirty="0">
                <a:latin typeface="Proximus Bold"/>
              </a:rPr>
              <a:t>5 years </a:t>
            </a:r>
            <a:r>
              <a:rPr lang="en-US" sz="1100" b="0" dirty="0">
                <a:latin typeface="Proximus Bold"/>
              </a:rPr>
              <a:t>work, from </a:t>
            </a:r>
            <a:r>
              <a:rPr lang="en-US" sz="1100" b="1" dirty="0">
                <a:latin typeface="Proximus Bold"/>
              </a:rPr>
              <a:t>design </a:t>
            </a:r>
            <a:r>
              <a:rPr lang="en-US" sz="1100" b="0" dirty="0">
                <a:latin typeface="Proximus Bold"/>
              </a:rPr>
              <a:t>to </a:t>
            </a:r>
            <a:r>
              <a:rPr lang="en-US" sz="1100" b="1" dirty="0">
                <a:latin typeface="Proximus Bold"/>
              </a:rPr>
              <a:t>phase-out </a:t>
            </a:r>
          </a:p>
          <a:p>
            <a:pPr marL="205740" lvl="1" indent="0">
              <a:buFont typeface="Arial"/>
              <a:buNone/>
            </a:pPr>
            <a:endParaRPr lang="en-US" sz="1200" b="1" dirty="0">
              <a:latin typeface="Proximus Bold"/>
            </a:endParaRPr>
          </a:p>
          <a:p>
            <a:pPr marL="491490" lvl="1" indent="-285750">
              <a:buFont typeface="Arial"/>
              <a:buChar char="•"/>
            </a:pPr>
            <a:endParaRPr lang="nl-BE" sz="1200" dirty="0"/>
          </a:p>
          <a:p>
            <a:endParaRPr lang="nl-BE" sz="500" dirty="0"/>
          </a:p>
          <a:p>
            <a:pPr marL="491490" lvl="1" indent="-285750">
              <a:buFont typeface="Arial"/>
              <a:buChar char="•"/>
            </a:pPr>
            <a:endParaRPr lang="en-US" sz="1200" b="0" dirty="0">
              <a:latin typeface="Proximus Bold"/>
            </a:endParaRPr>
          </a:p>
          <a:p>
            <a:pPr marL="205740" lvl="1" indent="0">
              <a:buFont typeface="Arial"/>
              <a:buNone/>
            </a:pPr>
            <a:r>
              <a:rPr lang="en-US" sz="1200" b="1" dirty="0">
                <a:latin typeface="Proximus Bold"/>
              </a:rPr>
              <a:t>  </a:t>
            </a:r>
          </a:p>
          <a:p>
            <a:pPr marL="491490" lvl="1" indent="-285750">
              <a:buFont typeface="Arial"/>
              <a:buChar char="•"/>
            </a:pPr>
            <a:endParaRPr lang="nl-BE" sz="1200" dirty="0"/>
          </a:p>
          <a:p>
            <a:endParaRPr lang="nl-BE" sz="500" dirty="0"/>
          </a:p>
        </p:txBody>
      </p:sp>
      <p:sp>
        <p:nvSpPr>
          <p:cNvPr id="4" name="Tijdelijke aanduiding voor dianummer 3">
            <a:extLst>
              <a:ext uri="{FF2B5EF4-FFF2-40B4-BE49-F238E27FC236}">
                <a16:creationId xmlns:a16="http://schemas.microsoft.com/office/drawing/2014/main" id="{3170F245-7257-8C5A-1565-743462104877}"/>
              </a:ext>
            </a:extLst>
          </p:cNvPr>
          <p:cNvSpPr>
            <a:spLocks noGrp="1"/>
          </p:cNvSpPr>
          <p:nvPr>
            <p:ph type="sldNum" sz="quarter" idx="5"/>
          </p:nvPr>
        </p:nvSpPr>
        <p:spPr/>
        <p:txBody>
          <a:bodyPr/>
          <a:lstStyle/>
          <a:p>
            <a:fld id="{FA918F22-1231-AB43-96E7-2B8B890DCD5E}" type="slidenum">
              <a:rPr lang="en-US" smtClean="0"/>
              <a:pPr/>
              <a:t>34</a:t>
            </a:fld>
            <a:endParaRPr lang="en-US"/>
          </a:p>
        </p:txBody>
      </p:sp>
    </p:spTree>
    <p:extLst>
      <p:ext uri="{BB962C8B-B14F-4D97-AF65-F5344CB8AC3E}">
        <p14:creationId xmlns:p14="http://schemas.microsoft.com/office/powerpoint/2010/main" val="39731624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0F28C-44AE-E14D-57E4-3F87C7ABAB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E1AE67-E3DE-52B8-902C-8CB839F9FC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DEAE1E-80BF-9791-6B9A-E2B3E5E9EC7E}"/>
              </a:ext>
            </a:extLst>
          </p:cNvPr>
          <p:cNvSpPr>
            <a:spLocks noGrp="1"/>
          </p:cNvSpPr>
          <p:nvPr>
            <p:ph type="body" idx="1"/>
          </p:nvPr>
        </p:nvSpPr>
        <p:spPr/>
        <p:txBody>
          <a:bodyPr/>
          <a:lstStyle/>
          <a:p>
            <a:r>
              <a:rPr lang="en-US" b="1" u="sng" dirty="0">
                <a:latin typeface="Calibri"/>
                <a:ea typeface="Calibri"/>
                <a:cs typeface="Calibri"/>
              </a:rPr>
              <a:t>PATRICK</a:t>
            </a:r>
          </a:p>
          <a:p>
            <a:endParaRPr lang="en-US" dirty="0">
              <a:latin typeface="Calibri"/>
              <a:ea typeface="Calibri"/>
              <a:cs typeface="Calibri"/>
            </a:endParaRPr>
          </a:p>
          <a:p>
            <a:endParaRPr lang="en-US" dirty="0">
              <a:latin typeface="Calibri"/>
              <a:ea typeface="Calibri"/>
              <a:cs typeface="Calibri"/>
            </a:endParaRPr>
          </a:p>
        </p:txBody>
      </p:sp>
      <p:sp>
        <p:nvSpPr>
          <p:cNvPr id="4" name="Slide Number Placeholder 3">
            <a:extLst>
              <a:ext uri="{FF2B5EF4-FFF2-40B4-BE49-F238E27FC236}">
                <a16:creationId xmlns:a16="http://schemas.microsoft.com/office/drawing/2014/main" id="{CFD233FA-6D8D-E93E-99B2-E9CB1D8BF496}"/>
              </a:ext>
            </a:extLst>
          </p:cNvPr>
          <p:cNvSpPr>
            <a:spLocks noGrp="1"/>
          </p:cNvSpPr>
          <p:nvPr>
            <p:ph type="sldNum" sz="quarter" idx="5"/>
          </p:nvPr>
        </p:nvSpPr>
        <p:spPr/>
        <p:txBody>
          <a:bodyPr/>
          <a:lstStyle/>
          <a:p>
            <a:fld id="{FA918F22-1231-AB43-96E7-2B8B890DCD5E}" type="slidenum">
              <a:rPr lang="en-US" smtClean="0"/>
              <a:pPr/>
              <a:t>35</a:t>
            </a:fld>
            <a:endParaRPr lang="en-US"/>
          </a:p>
        </p:txBody>
      </p:sp>
    </p:spTree>
    <p:extLst>
      <p:ext uri="{BB962C8B-B14F-4D97-AF65-F5344CB8AC3E}">
        <p14:creationId xmlns:p14="http://schemas.microsoft.com/office/powerpoint/2010/main" val="2708299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BE" sz="1100" b="1" u="sng">
                <a:latin typeface="Proximus Bold"/>
              </a:rPr>
              <a:t>PATRICK</a:t>
            </a:r>
            <a:endParaRPr lang="en-US" sz="1100" b="1" u="sng"/>
          </a:p>
          <a:p>
            <a:pPr marL="491490" lvl="1" indent="-285750">
              <a:buFont typeface="Arial"/>
              <a:buChar char="•"/>
            </a:pPr>
            <a:r>
              <a:rPr lang="en-US" sz="1100">
                <a:latin typeface="Proximus Bold"/>
              </a:rPr>
              <a:t>We want to define and implement an </a:t>
            </a:r>
            <a:r>
              <a:rPr lang="en-US" sz="1100" b="1">
                <a:latin typeface="Proximus Bold"/>
              </a:rPr>
              <a:t>optimal Proximus organizational structure</a:t>
            </a:r>
            <a:r>
              <a:rPr lang="en-US" sz="1100">
                <a:latin typeface="Proximus Bold"/>
              </a:rPr>
              <a:t> that ensures efficient and customer-centric </a:t>
            </a:r>
            <a:r>
              <a:rPr lang="en-US" sz="1100" b="1">
                <a:latin typeface="Proximus Bold"/>
              </a:rPr>
              <a:t>Fiber Repair and Maintenance</a:t>
            </a:r>
            <a:r>
              <a:rPr lang="en-US" sz="1100">
                <a:latin typeface="Proximus Bold"/>
              </a:rPr>
              <a:t> activities, on our own footprint and embracing over time the consolidated JV footprints (Fiberklaar, </a:t>
            </a:r>
            <a:r>
              <a:rPr lang="en-US" sz="1100" err="1">
                <a:latin typeface="Proximus Bold"/>
              </a:rPr>
              <a:t>Gofiber</a:t>
            </a:r>
            <a:r>
              <a:rPr lang="en-US" sz="1100">
                <a:latin typeface="Proximus Bold"/>
              </a:rPr>
              <a:t> &amp; </a:t>
            </a:r>
            <a:r>
              <a:rPr lang="en-US" sz="1100" err="1">
                <a:latin typeface="Proximus Bold"/>
              </a:rPr>
              <a:t>Unifiber</a:t>
            </a:r>
            <a:r>
              <a:rPr lang="en-US" sz="1100">
                <a:latin typeface="Proximus Bold"/>
              </a:rPr>
              <a:t>).</a:t>
            </a:r>
            <a:endParaRPr lang="nl-BE" sz="1100">
              <a:latin typeface="Proximus Bold"/>
            </a:endParaRPr>
          </a:p>
          <a:p>
            <a:pPr marL="491490" lvl="1" indent="-285750">
              <a:buFont typeface="Arial"/>
              <a:buChar char="•"/>
            </a:pPr>
            <a:r>
              <a:rPr lang="en-US" sz="1100">
                <a:latin typeface="Proximus Bold"/>
              </a:rPr>
              <a:t>For </a:t>
            </a:r>
            <a:r>
              <a:rPr lang="en-US" sz="1100" err="1">
                <a:latin typeface="Proximus Bold"/>
              </a:rPr>
              <a:t>Unifiber</a:t>
            </a:r>
            <a:r>
              <a:rPr lang="en-US" sz="1100">
                <a:latin typeface="Proximus Bold"/>
              </a:rPr>
              <a:t>, the Proximus vision is to provide O&amp;M servicing, for which we start pilot on two cities in 2025.</a:t>
            </a:r>
            <a:endParaRPr lang="nl-BE" sz="1100">
              <a:latin typeface="Proximus Bold"/>
            </a:endParaRPr>
          </a:p>
          <a:p>
            <a:pPr marL="491490" lvl="1" indent="-285750">
              <a:buFont typeface="Arial"/>
              <a:buChar char="•"/>
            </a:pPr>
            <a:r>
              <a:rPr lang="en-US" sz="1100">
                <a:latin typeface="Proximus Bold"/>
              </a:rPr>
              <a:t>Managing different footprints presents challenges in SLA management thanks to back-to-back agreements and to the timely availability of the super-NOC which integrates the new multi-access ecosystem for precise diagnosis and efficient dispatch.</a:t>
            </a:r>
            <a:endParaRPr lang="nl-BE" sz="1100">
              <a:latin typeface="Proximus Bold"/>
            </a:endParaRPr>
          </a:p>
          <a:p>
            <a:pPr marL="491490" lvl="1" indent="-285750">
              <a:buFont typeface="Arial"/>
              <a:buChar char="•"/>
            </a:pPr>
            <a:r>
              <a:rPr lang="en-US" sz="1100">
                <a:latin typeface="Proximus Bold"/>
              </a:rPr>
              <a:t>For the future Fiber Build activities required in rural zones as Oceania, we intend using an improved </a:t>
            </a:r>
            <a:r>
              <a:rPr lang="en-US" sz="1100" b="1">
                <a:latin typeface="Proximus Bold"/>
              </a:rPr>
              <a:t>GOFIT model</a:t>
            </a:r>
            <a:r>
              <a:rPr lang="en-US" sz="1100">
                <a:latin typeface="Proximus Bold"/>
              </a:rPr>
              <a:t> (i.e. construction by NEO teams, without Panda©) that could be leaner and even more cost effective </a:t>
            </a:r>
            <a:r>
              <a:rPr lang="en-US" sz="1100" b="1">
                <a:latin typeface="Proximus Bold"/>
              </a:rPr>
              <a:t>(</a:t>
            </a:r>
            <a:r>
              <a:rPr lang="en-US" sz="1100" b="1" err="1">
                <a:latin typeface="Proximus Bold"/>
              </a:rPr>
              <a:t>GOfitlight</a:t>
            </a:r>
            <a:r>
              <a:rPr lang="en-US" sz="1100" b="1">
                <a:latin typeface="Proximus Bold"/>
              </a:rPr>
              <a:t>)</a:t>
            </a:r>
            <a:r>
              <a:rPr lang="en-US" sz="1100">
                <a:latin typeface="Proximus Bold"/>
              </a:rPr>
              <a:t>.</a:t>
            </a:r>
            <a:endParaRPr lang="nl-BE" sz="1100">
              <a:latin typeface="Proximus Bold"/>
            </a:endParaRPr>
          </a:p>
          <a:p>
            <a:endParaRPr lang="nl-BE" sz="500"/>
          </a:p>
          <a:p>
            <a:endParaRPr lang="nl-BE" sz="500"/>
          </a:p>
        </p:txBody>
      </p:sp>
      <p:sp>
        <p:nvSpPr>
          <p:cNvPr id="4" name="Tijdelijke aanduiding voor dianummer 3"/>
          <p:cNvSpPr>
            <a:spLocks noGrp="1"/>
          </p:cNvSpPr>
          <p:nvPr>
            <p:ph type="sldNum" sz="quarter" idx="5"/>
          </p:nvPr>
        </p:nvSpPr>
        <p:spPr/>
        <p:txBody>
          <a:bodyPr/>
          <a:lstStyle/>
          <a:p>
            <a:fld id="{FA918F22-1231-AB43-96E7-2B8B890DCD5E}" type="slidenum">
              <a:rPr lang="en-US" smtClean="0"/>
              <a:pPr/>
              <a:t>36</a:t>
            </a:fld>
            <a:endParaRPr lang="en-US"/>
          </a:p>
        </p:txBody>
      </p:sp>
    </p:spTree>
    <p:extLst>
      <p:ext uri="{BB962C8B-B14F-4D97-AF65-F5344CB8AC3E}">
        <p14:creationId xmlns:p14="http://schemas.microsoft.com/office/powerpoint/2010/main" val="26529614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PATRICK</a:t>
            </a:r>
          </a:p>
          <a:p>
            <a:pPr marL="0" marR="0" lvl="0" indent="0" algn="l" defTabSz="411480" rtl="0" eaLnBrk="1" fontAlgn="auto" latinLnBrk="0" hangingPunct="1">
              <a:lnSpc>
                <a:spcPct val="100000"/>
              </a:lnSpc>
              <a:spcBef>
                <a:spcPts val="0"/>
              </a:spcBef>
              <a:spcAft>
                <a:spcPts val="0"/>
              </a:spcAft>
              <a:buClrTx/>
              <a:buSzTx/>
              <a:buFontTx/>
              <a:buNone/>
              <a:tabLst/>
              <a:defRPr/>
            </a:pPr>
            <a:r>
              <a:rPr lang="en-US" sz="800" b="0" u="none" dirty="0">
                <a:solidFill>
                  <a:schemeClr val="accent6"/>
                </a:solidFill>
              </a:rPr>
              <a:t>(on </a:t>
            </a:r>
            <a:r>
              <a:rPr lang="en-US" sz="800" b="0" u="none" dirty="0" err="1">
                <a:solidFill>
                  <a:schemeClr val="accent6"/>
                </a:solidFill>
              </a:rPr>
              <a:t>regardera</a:t>
            </a:r>
            <a:r>
              <a:rPr lang="en-US" sz="800" b="0" u="none" dirty="0">
                <a:solidFill>
                  <a:schemeClr val="accent6"/>
                </a:solidFill>
              </a:rPr>
              <a:t> </a:t>
            </a:r>
            <a:r>
              <a:rPr lang="en-US" sz="800" b="0" u="none" dirty="0" err="1">
                <a:solidFill>
                  <a:schemeClr val="accent6"/>
                </a:solidFill>
              </a:rPr>
              <a:t>vos</a:t>
            </a:r>
            <a:r>
              <a:rPr lang="en-US" sz="800" b="0" u="none" dirty="0">
                <a:solidFill>
                  <a:schemeClr val="accent6"/>
                </a:solidFill>
              </a:rPr>
              <a:t> </a:t>
            </a:r>
            <a:r>
              <a:rPr lang="en-US" sz="800" b="0" u="none" dirty="0" err="1">
                <a:solidFill>
                  <a:schemeClr val="accent6"/>
                </a:solidFill>
              </a:rPr>
              <a:t>réponses</a:t>
            </a:r>
            <a:r>
              <a:rPr lang="en-US" sz="800" b="0" u="none" dirty="0">
                <a:solidFill>
                  <a:schemeClr val="accent6"/>
                </a:solidFill>
              </a:rPr>
              <a:t> à la fin du slide </a:t>
            </a:r>
            <a:r>
              <a:rPr lang="en-US" sz="800" b="0" u="none" dirty="0" err="1">
                <a:solidFill>
                  <a:schemeClr val="accent6"/>
                </a:solidFill>
              </a:rPr>
              <a:t>suivant</a:t>
            </a:r>
            <a:r>
              <a:rPr lang="en-US" sz="800" b="0" u="none" dirty="0">
                <a:solidFill>
                  <a:schemeClr val="accent6"/>
                </a:solidFill>
              </a:rPr>
              <a:t> (Patrick </a:t>
            </a:r>
            <a:r>
              <a:rPr lang="en-US" sz="800" b="0" u="none" dirty="0" err="1">
                <a:solidFill>
                  <a:schemeClr val="accent6"/>
                </a:solidFill>
              </a:rPr>
              <a:t>regarde</a:t>
            </a:r>
            <a:r>
              <a:rPr lang="en-US" sz="800" b="0" u="none" dirty="0">
                <a:solidFill>
                  <a:schemeClr val="accent6"/>
                </a:solidFill>
              </a:rPr>
              <a:t> sur </a:t>
            </a:r>
            <a:r>
              <a:rPr lang="en-US" sz="800" b="0" u="none" dirty="0" err="1">
                <a:solidFill>
                  <a:schemeClr val="accent6"/>
                </a:solidFill>
              </a:rPr>
              <a:t>écran</a:t>
            </a:r>
            <a:r>
              <a:rPr lang="en-US" sz="800" b="0" u="none" dirty="0">
                <a:solidFill>
                  <a:schemeClr val="accent6"/>
                </a:solidFill>
              </a:rPr>
              <a:t> de </a:t>
            </a:r>
            <a:r>
              <a:rPr lang="en-US" sz="800" b="0" u="none" dirty="0" err="1">
                <a:solidFill>
                  <a:schemeClr val="accent6"/>
                </a:solidFill>
              </a:rPr>
              <a:t>contrôle</a:t>
            </a:r>
            <a:r>
              <a:rPr lang="en-US" sz="800" b="0" u="none" dirty="0">
                <a:solidFill>
                  <a:schemeClr val="accent6"/>
                </a:solidFill>
              </a:rPr>
              <a:t>)</a:t>
            </a:r>
            <a:endParaRPr lang="en-BE" sz="800" b="0" u="none" dirty="0">
              <a:solidFill>
                <a:schemeClr val="accent6"/>
              </a:solidFill>
            </a:endParaRPr>
          </a:p>
          <a:p>
            <a:endParaRPr lang="en-BE" b="1" u="sng"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37</a:t>
            </a:fld>
            <a:endParaRPr lang="en-US"/>
          </a:p>
        </p:txBody>
      </p:sp>
    </p:spTree>
    <p:extLst>
      <p:ext uri="{BB962C8B-B14F-4D97-AF65-F5344CB8AC3E}">
        <p14:creationId xmlns:p14="http://schemas.microsoft.com/office/powerpoint/2010/main" val="8273293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sz="500" b="1" u="sng" dirty="0">
                <a:latin typeface="Proximus Bold"/>
              </a:rPr>
              <a:t>PATRICK</a:t>
            </a:r>
            <a:endParaRPr lang="en-US" sz="500" b="1" u="sng" dirty="0">
              <a:latin typeface="Proximus Bold"/>
            </a:endParaRPr>
          </a:p>
          <a:p>
            <a:endParaRPr lang="en-US" sz="500" b="1" u="sng" dirty="0">
              <a:latin typeface="Proximus Bold"/>
            </a:endParaRPr>
          </a:p>
          <a:p>
            <a:pPr marL="251460" lvl="0" indent="0">
              <a:lnSpc>
                <a:spcPct val="107000"/>
              </a:lnSpc>
              <a:buFont typeface="+mj-lt"/>
              <a:buNone/>
            </a:pPr>
            <a:r>
              <a:rPr lang="en-US" sz="800" b="0" dirty="0">
                <a:solidFill>
                  <a:schemeClr val="accent6"/>
                </a:solidFill>
                <a:latin typeface="Proximus Bold"/>
              </a:rPr>
              <a:t>+ LOOK at the results of the </a:t>
            </a:r>
            <a:r>
              <a:rPr lang="en-US" sz="800" b="0" dirty="0" err="1">
                <a:solidFill>
                  <a:schemeClr val="accent6"/>
                </a:solidFill>
                <a:latin typeface="Proximus Bold"/>
              </a:rPr>
              <a:t>Slido</a:t>
            </a:r>
            <a:r>
              <a:rPr lang="en-US" sz="800" b="0" dirty="0">
                <a:solidFill>
                  <a:schemeClr val="accent6"/>
                </a:solidFill>
                <a:latin typeface="Proximus Bold"/>
              </a:rPr>
              <a:t> question</a:t>
            </a:r>
            <a:endParaRPr lang="en-BE" sz="800" b="0" dirty="0">
              <a:solidFill>
                <a:schemeClr val="accent6"/>
              </a:solidFill>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38</a:t>
            </a:fld>
            <a:endParaRPr lang="en-US"/>
          </a:p>
        </p:txBody>
      </p:sp>
    </p:spTree>
    <p:extLst>
      <p:ext uri="{BB962C8B-B14F-4D97-AF65-F5344CB8AC3E}">
        <p14:creationId xmlns:p14="http://schemas.microsoft.com/office/powerpoint/2010/main" val="33433833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A7C02-10B0-D5BD-E012-5AD813247A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5434B8-BE47-7102-D385-607756A83E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22E704-0C53-D69C-B6A7-82235A2F858C}"/>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a:latin typeface="Proximus Bold"/>
            </a:endParaRPr>
          </a:p>
          <a:p>
            <a:r>
              <a:rPr lang="en-US" sz="1100" b="1" u="sng">
                <a:latin typeface="Proximus Bold"/>
              </a:rPr>
              <a:t>MAGALI</a:t>
            </a:r>
            <a:r>
              <a:rPr lang="en-US" sz="1100" b="1">
                <a:latin typeface="Proximus Bold"/>
              </a:rPr>
              <a:t> : </a:t>
            </a:r>
            <a:r>
              <a:rPr lang="en-US" sz="1100">
                <a:latin typeface="Proximus Bold"/>
              </a:rPr>
              <a:t>thank you all for your presentation. The road to our networks of the future is clearly still long, but our efficiency and automation initiatives will help us to get to our destination without too many bumps. And above all, we know it is the drivers, our amazing NBU colleagues, who will make the difference.</a:t>
            </a:r>
          </a:p>
          <a:p>
            <a:r>
              <a:rPr lang="en-US" sz="1100">
                <a:latin typeface="Proximus Bold"/>
              </a:rPr>
              <a:t>We will discover the 2 other pillars: Bold Future Proofness &amp; Bold People during the second part.</a:t>
            </a:r>
            <a:endParaRPr lang="en-US" sz="1100"/>
          </a:p>
          <a:p>
            <a:r>
              <a:rPr lang="en-US" sz="1100">
                <a:latin typeface="Proximus Bold"/>
              </a:rPr>
              <a:t>But now it is time for some rebellion in music. Curious about what it means? </a:t>
            </a:r>
            <a:endParaRPr lang="en-US" sz="1100"/>
          </a:p>
          <a:p>
            <a:r>
              <a:rPr lang="en-US" sz="1100">
                <a:latin typeface="Proximus Bold"/>
              </a:rPr>
              <a:t>We have the honor today to welcome the person who has been nominated as very first Chief Digital Officer in Belgium in 2018 </a:t>
            </a:r>
            <a:endParaRPr lang="en-US" sz="1100"/>
          </a:p>
          <a:p>
            <a:r>
              <a:rPr lang="en-US" sz="1100">
                <a:latin typeface="Proximus Bold"/>
              </a:rPr>
              <a:t>and who has enabled Belfius to win several awards, such as - the best digital bank of Belgium &amp; - the 2nd best mobile banking app in the world in 2020.</a:t>
            </a:r>
            <a:endParaRPr lang="en-US" sz="1100"/>
          </a:p>
          <a:p>
            <a:r>
              <a:rPr lang="en-US" sz="1100">
                <a:latin typeface="Proximus Bold"/>
              </a:rPr>
              <a:t>Ladies &amp; gentleman, please make a big round of applause for our second Geert of the day: Geert Van Mol !</a:t>
            </a:r>
            <a:endParaRPr lang="en-US" sz="1100"/>
          </a:p>
          <a:p>
            <a:endParaRPr lang="en-US" sz="1200" b="1">
              <a:latin typeface="Proximus Bold"/>
            </a:endParaRPr>
          </a:p>
          <a:p>
            <a:endParaRPr lang="nl-BE" sz="1200" b="0"/>
          </a:p>
        </p:txBody>
      </p:sp>
      <p:sp>
        <p:nvSpPr>
          <p:cNvPr id="4" name="Slide Number Placeholder 3">
            <a:extLst>
              <a:ext uri="{FF2B5EF4-FFF2-40B4-BE49-F238E27FC236}">
                <a16:creationId xmlns:a16="http://schemas.microsoft.com/office/drawing/2014/main" id="{0A19BF82-AA7A-5480-D667-0A2842C59796}"/>
              </a:ext>
            </a:extLst>
          </p:cNvPr>
          <p:cNvSpPr>
            <a:spLocks noGrp="1"/>
          </p:cNvSpPr>
          <p:nvPr>
            <p:ph type="sldNum" sz="quarter" idx="5"/>
          </p:nvPr>
        </p:nvSpPr>
        <p:spPr/>
        <p:txBody>
          <a:bodyPr/>
          <a:lstStyle/>
          <a:p>
            <a:fld id="{FA918F22-1231-AB43-96E7-2B8B890DCD5E}" type="slidenum">
              <a:rPr lang="en-US" smtClean="0"/>
              <a:pPr/>
              <a:t>39</a:t>
            </a:fld>
            <a:endParaRPr lang="en-US"/>
          </a:p>
        </p:txBody>
      </p:sp>
    </p:spTree>
    <p:extLst>
      <p:ext uri="{BB962C8B-B14F-4D97-AF65-F5344CB8AC3E}">
        <p14:creationId xmlns:p14="http://schemas.microsoft.com/office/powerpoint/2010/main" val="3894002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C2870-DB92-F7FA-0079-9672E81A69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45FD47-D98A-A028-6941-8224E7A6AD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5DDA68-7846-190A-67D3-66D5F337E0B0}"/>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a:solidFill>
                  <a:schemeClr val="accent6"/>
                </a:solidFill>
                <a:latin typeface="Proximus Bold"/>
              </a:rPr>
              <a:t>MAGALI &amp; ROBIN </a:t>
            </a:r>
            <a:r>
              <a:rPr lang="en-US" sz="1100">
                <a:solidFill>
                  <a:schemeClr val="accent6"/>
                </a:solidFill>
                <a:latin typeface="Proximus Bold"/>
              </a:rPr>
              <a:t>on stage</a:t>
            </a:r>
          </a:p>
          <a:p>
            <a:r>
              <a:rPr lang="en-US" sz="1100" b="1" u="sng">
                <a:solidFill>
                  <a:schemeClr val="accent6"/>
                </a:solidFill>
                <a:latin typeface="Proximus Bold"/>
              </a:rPr>
              <a:t>ROBIN</a:t>
            </a:r>
            <a:r>
              <a:rPr lang="en-US" sz="1100">
                <a:solidFill>
                  <a:schemeClr val="accent6"/>
                </a:solidFill>
                <a:latin typeface="Proximus Bold"/>
              </a:rPr>
              <a:t> : </a:t>
            </a:r>
            <a:r>
              <a:rPr lang="nl-NL" sz="1100" b="0" i="0">
                <a:solidFill>
                  <a:schemeClr val="accent6"/>
                </a:solidFill>
                <a:effectLst/>
                <a:latin typeface="Segoe UI"/>
                <a:cs typeface="Segoe UI"/>
              </a:rPr>
              <a:t>Helemaal juist, Magali. Ik nodig iedereen in de zaal uit om de QR-code van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 te scannen. Op die manier zullen ook jullie tijdens de presentatie kunnen deelnemen aan de quiz. En mochten jullie liever via </a:t>
            </a:r>
            <a:r>
              <a:rPr lang="nl-NL" sz="1100" b="0" i="0" err="1">
                <a:solidFill>
                  <a:schemeClr val="accent6"/>
                </a:solidFill>
                <a:effectLst/>
                <a:latin typeface="Segoe UI"/>
                <a:cs typeface="Segoe UI"/>
              </a:rPr>
              <a:t>Slido</a:t>
            </a:r>
            <a:r>
              <a:rPr lang="nl-NL" sz="1100" b="0" i="0">
                <a:solidFill>
                  <a:schemeClr val="accent6"/>
                </a:solidFill>
                <a:effectLst/>
                <a:latin typeface="Segoe UI"/>
                <a:cs typeface="Segoe UI"/>
              </a:rPr>
              <a:t> vragen stellen, kan dit dan ook via uw smartphone. </a:t>
            </a:r>
          </a:p>
          <a:p>
            <a:r>
              <a:rPr lang="nl-NL" sz="1100" b="0" i="0">
                <a:solidFill>
                  <a:schemeClr val="accent6"/>
                </a:solidFill>
                <a:effectLst/>
                <a:latin typeface="Segoe UI"/>
                <a:cs typeface="Segoe UI"/>
              </a:rPr>
              <a:t>Oké Magali, ik denk dat het dan nu tijd is in de content te duiken. Met veel plezier nodig ik dan de eerste Geert van de namiddag uit op het podium: Geert Standaert!</a:t>
            </a:r>
            <a:endParaRPr lang="en-US" sz="1100" b="0" i="0">
              <a:solidFill>
                <a:schemeClr val="accent6"/>
              </a:solidFill>
              <a:effectLst/>
              <a:cs typeface="Segoe UI"/>
            </a:endParaRPr>
          </a:p>
          <a:p>
            <a:endParaRPr lang="nl-NL" sz="1100">
              <a:solidFill>
                <a:schemeClr val="accent6"/>
              </a:solidFill>
              <a:latin typeface="Segoe UI"/>
              <a:cs typeface="Segoe UI"/>
            </a:endParaRPr>
          </a:p>
          <a:p>
            <a:r>
              <a:rPr lang="en-US" sz="1100" b="1">
                <a:solidFill>
                  <a:schemeClr val="accent6"/>
                </a:solidFill>
                <a:latin typeface="Proximus Bold"/>
              </a:rPr>
              <a:t>MAGALI OUT OF STAGE</a:t>
            </a:r>
            <a:endParaRPr lang="nl-NL" sz="1100">
              <a:solidFill>
                <a:schemeClr val="accent6"/>
              </a:solidFill>
            </a:endParaRPr>
          </a:p>
          <a:p>
            <a:endParaRPr lang="nl-NL" sz="1100">
              <a:solidFill>
                <a:srgbClr val="242424"/>
              </a:solidFill>
              <a:latin typeface="Segoe UI"/>
              <a:cs typeface="Segoe UI"/>
            </a:endParaRPr>
          </a:p>
          <a:p>
            <a:endParaRPr lang="nl-NL" sz="1100">
              <a:solidFill>
                <a:srgbClr val="242424"/>
              </a:solidFill>
              <a:latin typeface="Segoe UI"/>
              <a:cs typeface="Segoe UI"/>
            </a:endParaRPr>
          </a:p>
        </p:txBody>
      </p:sp>
      <p:sp>
        <p:nvSpPr>
          <p:cNvPr id="4" name="Slide Number Placeholder 3">
            <a:extLst>
              <a:ext uri="{FF2B5EF4-FFF2-40B4-BE49-F238E27FC236}">
                <a16:creationId xmlns:a16="http://schemas.microsoft.com/office/drawing/2014/main" id="{AC4ECC0C-741B-4BFC-B940-CCCC299B2D59}"/>
              </a:ext>
            </a:extLst>
          </p:cNvPr>
          <p:cNvSpPr>
            <a:spLocks noGrp="1"/>
          </p:cNvSpPr>
          <p:nvPr>
            <p:ph type="sldNum" sz="quarter" idx="5"/>
          </p:nvPr>
        </p:nvSpPr>
        <p:spPr/>
        <p:txBody>
          <a:bodyPr/>
          <a:lstStyle/>
          <a:p>
            <a:fld id="{FA918F22-1231-AB43-96E7-2B8B890DCD5E}" type="slidenum">
              <a:rPr lang="en-US" smtClean="0"/>
              <a:pPr/>
              <a:t>4</a:t>
            </a:fld>
            <a:endParaRPr lang="en-US"/>
          </a:p>
        </p:txBody>
      </p:sp>
    </p:spTree>
    <p:extLst>
      <p:ext uri="{BB962C8B-B14F-4D97-AF65-F5344CB8AC3E}">
        <p14:creationId xmlns:p14="http://schemas.microsoft.com/office/powerpoint/2010/main" val="39514799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FC2BD-DF2D-731D-781E-E2A79C5EB4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FE2C80-03E2-0368-DBCE-B2FD1442FB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33482B-B759-747F-A1DE-B86AE0129D32}"/>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nl-BE" sz="1100">
              <a:latin typeface="Proximus Bold"/>
            </a:endParaRPr>
          </a:p>
          <a:p>
            <a:r>
              <a:rPr lang="nl-BE" sz="1100" b="1" u="sng">
                <a:latin typeface="Proximus Bold"/>
              </a:rPr>
              <a:t>MAGALI</a:t>
            </a:r>
            <a:r>
              <a:rPr lang="nl-BE" sz="1100">
                <a:latin typeface="Proximus Bold"/>
              </a:rPr>
              <a:t> : </a:t>
            </a:r>
            <a:r>
              <a:rPr lang="nl-BE" sz="1100" err="1">
                <a:latin typeface="Proximus Bold"/>
              </a:rPr>
              <a:t>Hello</a:t>
            </a:r>
            <a:r>
              <a:rPr lang="nl-BE" sz="1100">
                <a:latin typeface="Proximus Bold"/>
              </a:rPr>
              <a:t> Geert, we are super </a:t>
            </a:r>
            <a:r>
              <a:rPr lang="nl-BE" sz="1100" err="1">
                <a:latin typeface="Proximus Bold"/>
              </a:rPr>
              <a:t>curious</a:t>
            </a:r>
            <a:r>
              <a:rPr lang="nl-BE" sz="1100">
                <a:latin typeface="Proximus Bold"/>
              </a:rPr>
              <a:t> </a:t>
            </a:r>
            <a:r>
              <a:rPr lang="nl-BE" sz="1100" err="1">
                <a:latin typeface="Proximus Bold"/>
              </a:rPr>
              <a:t>to</a:t>
            </a:r>
            <a:r>
              <a:rPr lang="nl-BE" sz="1100">
                <a:latin typeface="Proximus Bold"/>
              </a:rPr>
              <a:t> </a:t>
            </a:r>
            <a:r>
              <a:rPr lang="nl-BE" sz="1100" err="1">
                <a:latin typeface="Proximus Bold"/>
              </a:rPr>
              <a:t>know</a:t>
            </a:r>
            <a:r>
              <a:rPr lang="nl-BE" sz="1100">
                <a:latin typeface="Proximus Bold"/>
              </a:rPr>
              <a:t> more </a:t>
            </a:r>
            <a:r>
              <a:rPr lang="nl-BE" sz="1100" err="1">
                <a:latin typeface="Proximus Bold"/>
              </a:rPr>
              <a:t>about</a:t>
            </a:r>
            <a:r>
              <a:rPr lang="nl-BE" sz="1100">
                <a:latin typeface="Proximus Bold"/>
              </a:rPr>
              <a:t> </a:t>
            </a:r>
            <a:r>
              <a:rPr lang="nl-BE" sz="1100" err="1">
                <a:latin typeface="Proximus Bold"/>
              </a:rPr>
              <a:t>how</a:t>
            </a:r>
            <a:r>
              <a:rPr lang="nl-BE" sz="1100">
                <a:latin typeface="Proximus Bold"/>
              </a:rPr>
              <a:t> </a:t>
            </a:r>
            <a:r>
              <a:rPr lang="nl-BE" sz="1100" err="1">
                <a:latin typeface="Proximus Bold"/>
              </a:rPr>
              <a:t>your</a:t>
            </a:r>
            <a:r>
              <a:rPr lang="nl-BE" sz="1100">
                <a:latin typeface="Proximus Bold"/>
              </a:rPr>
              <a:t> </a:t>
            </a:r>
            <a:r>
              <a:rPr lang="nl-BE" sz="1100" err="1">
                <a:latin typeface="Proximus Bold"/>
              </a:rPr>
              <a:t>passion</a:t>
            </a:r>
            <a:r>
              <a:rPr lang="nl-BE" sz="1100">
                <a:latin typeface="Proximus Bold"/>
              </a:rPr>
              <a:t> </a:t>
            </a:r>
            <a:r>
              <a:rPr lang="nl-BE" sz="1100" err="1">
                <a:latin typeface="Proximus Bold"/>
              </a:rPr>
              <a:t>for</a:t>
            </a:r>
            <a:r>
              <a:rPr lang="nl-BE" sz="1100">
                <a:latin typeface="Proximus Bold"/>
              </a:rPr>
              <a:t> </a:t>
            </a:r>
            <a:r>
              <a:rPr lang="nl-BE" sz="1100" err="1">
                <a:latin typeface="Proximus Bold"/>
              </a:rPr>
              <a:t>music</a:t>
            </a:r>
            <a:r>
              <a:rPr lang="nl-BE" sz="1100">
                <a:latin typeface="Proximus Bold"/>
              </a:rPr>
              <a:t> and experience as a DJ has </a:t>
            </a:r>
            <a:r>
              <a:rPr lang="nl-BE" sz="1100" err="1">
                <a:latin typeface="Proximus Bold"/>
              </a:rPr>
              <a:t>also</a:t>
            </a:r>
            <a:r>
              <a:rPr lang="nl-BE" sz="1100">
                <a:latin typeface="Proximus Bold"/>
              </a:rPr>
              <a:t> </a:t>
            </a:r>
            <a:r>
              <a:rPr lang="nl-BE" sz="1100" err="1">
                <a:latin typeface="Proximus Bold"/>
              </a:rPr>
              <a:t>influenced</a:t>
            </a:r>
            <a:r>
              <a:rPr lang="nl-BE" sz="1100">
                <a:latin typeface="Proximus Bold"/>
              </a:rPr>
              <a:t> </a:t>
            </a:r>
            <a:r>
              <a:rPr lang="nl-BE" sz="1100" err="1">
                <a:latin typeface="Proximus Bold"/>
              </a:rPr>
              <a:t>your</a:t>
            </a:r>
            <a:r>
              <a:rPr lang="nl-BE" sz="1100">
                <a:latin typeface="Proximus Bold"/>
              </a:rPr>
              <a:t> </a:t>
            </a:r>
            <a:r>
              <a:rPr lang="nl-BE" sz="1100" err="1">
                <a:latin typeface="Proximus Bold"/>
              </a:rPr>
              <a:t>creativity</a:t>
            </a:r>
            <a:r>
              <a:rPr lang="nl-BE" sz="1100">
                <a:latin typeface="Proximus Bold"/>
              </a:rPr>
              <a:t>, </a:t>
            </a:r>
            <a:r>
              <a:rPr lang="nl-BE" sz="1100" err="1">
                <a:latin typeface="Proximus Bold"/>
              </a:rPr>
              <a:t>vision</a:t>
            </a:r>
            <a:r>
              <a:rPr lang="nl-BE" sz="1100">
                <a:latin typeface="Proximus Bold"/>
              </a:rPr>
              <a:t> and </a:t>
            </a:r>
            <a:r>
              <a:rPr lang="nl-BE" sz="1100" err="1">
                <a:latin typeface="Proximus Bold"/>
              </a:rPr>
              <a:t>strategy</a:t>
            </a:r>
            <a:r>
              <a:rPr lang="nl-BE" sz="1100">
                <a:latin typeface="Proximus Bold"/>
              </a:rPr>
              <a:t> in </a:t>
            </a:r>
            <a:r>
              <a:rPr lang="nl-BE" sz="1100" err="1">
                <a:latin typeface="Proximus Bold"/>
              </a:rPr>
              <a:t>the</a:t>
            </a:r>
            <a:r>
              <a:rPr lang="nl-BE" sz="1100">
                <a:latin typeface="Proximus Bold"/>
              </a:rPr>
              <a:t> corporate </a:t>
            </a:r>
            <a:r>
              <a:rPr lang="nl-BE" sz="1100" err="1">
                <a:latin typeface="Proximus Bold"/>
              </a:rPr>
              <a:t>world</a:t>
            </a:r>
            <a:r>
              <a:rPr lang="nl-BE" sz="1100">
                <a:latin typeface="Proximus Bold"/>
              </a:rPr>
              <a:t> … </a:t>
            </a:r>
            <a:r>
              <a:rPr lang="nl-BE" sz="1100" err="1">
                <a:latin typeface="Proximus Bold"/>
              </a:rPr>
              <a:t>now</a:t>
            </a:r>
            <a:r>
              <a:rPr lang="nl-BE" sz="1100">
                <a:latin typeface="Proximus Bold"/>
              </a:rPr>
              <a:t> Geert, </a:t>
            </a:r>
            <a:r>
              <a:rPr lang="nl-BE" sz="1100" err="1">
                <a:latin typeface="Proximus Bold"/>
              </a:rPr>
              <a:t>the</a:t>
            </a:r>
            <a:r>
              <a:rPr lang="nl-BE" sz="1100">
                <a:latin typeface="Proximus Bold"/>
              </a:rPr>
              <a:t> floor is </a:t>
            </a:r>
            <a:r>
              <a:rPr lang="nl-BE" sz="1100" err="1">
                <a:latin typeface="Proximus Bold"/>
              </a:rPr>
              <a:t>yours</a:t>
            </a:r>
            <a:r>
              <a:rPr lang="nl-BE" sz="1100">
                <a:latin typeface="Proximus Bold"/>
              </a:rPr>
              <a:t>…</a:t>
            </a:r>
          </a:p>
          <a:p>
            <a:endParaRPr lang="nl-BE" sz="1100">
              <a:latin typeface="Proximus Bold"/>
            </a:endParaRPr>
          </a:p>
          <a:p>
            <a:r>
              <a:rPr lang="nl-BE" sz="1100" b="1">
                <a:latin typeface="Proximus Bold"/>
              </a:rPr>
              <a:t>SWITCH TO </a:t>
            </a:r>
            <a:r>
              <a:rPr lang="nl-BE" sz="1100">
                <a:latin typeface="Proximus Bold"/>
              </a:rPr>
              <a:t>Geert Van Mol </a:t>
            </a:r>
            <a:r>
              <a:rPr lang="nl-BE" sz="1100" err="1">
                <a:latin typeface="Proximus Bold"/>
              </a:rPr>
              <a:t>presentation</a:t>
            </a:r>
            <a:endParaRPr lang="nl-BE" sz="1100">
              <a:latin typeface="Proximus Bold"/>
            </a:endParaRPr>
          </a:p>
          <a:p>
            <a:endParaRPr lang="nl-BE" sz="1100">
              <a:latin typeface="Proximus Bold"/>
            </a:endParaRPr>
          </a:p>
          <a:p>
            <a:r>
              <a:rPr lang="nl-BE" sz="1100" b="1" u="sng">
                <a:latin typeface="Proximus Bold"/>
              </a:rPr>
              <a:t>MAGALI OUT of stage</a:t>
            </a:r>
          </a:p>
          <a:p>
            <a:endParaRPr lang="en-GB" sz="500">
              <a:latin typeface="Proximus Bold"/>
            </a:endParaRPr>
          </a:p>
        </p:txBody>
      </p:sp>
      <p:sp>
        <p:nvSpPr>
          <p:cNvPr id="4" name="Slide Number Placeholder 3">
            <a:extLst>
              <a:ext uri="{FF2B5EF4-FFF2-40B4-BE49-F238E27FC236}">
                <a16:creationId xmlns:a16="http://schemas.microsoft.com/office/drawing/2014/main" id="{D1C4DD15-5290-98DE-98A9-0101F1F4F05B}"/>
              </a:ext>
            </a:extLst>
          </p:cNvPr>
          <p:cNvSpPr>
            <a:spLocks noGrp="1"/>
          </p:cNvSpPr>
          <p:nvPr>
            <p:ph type="sldNum" sz="quarter" idx="5"/>
          </p:nvPr>
        </p:nvSpPr>
        <p:spPr/>
        <p:txBody>
          <a:bodyPr/>
          <a:lstStyle/>
          <a:p>
            <a:fld id="{FA918F22-1231-AB43-96E7-2B8B890DCD5E}" type="slidenum">
              <a:rPr lang="en-US" smtClean="0"/>
              <a:pPr/>
              <a:t>40</a:t>
            </a:fld>
            <a:endParaRPr lang="en-US"/>
          </a:p>
        </p:txBody>
      </p:sp>
    </p:spTree>
    <p:extLst>
      <p:ext uri="{BB962C8B-B14F-4D97-AF65-F5344CB8AC3E}">
        <p14:creationId xmlns:p14="http://schemas.microsoft.com/office/powerpoint/2010/main" val="3622486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51DF9-45FE-46F5-3BED-1FF943092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CF0A7C-E588-D4AD-0ED6-33118ECFE7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D874F-6EC4-3F50-9439-5B120A4B8D2D}"/>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pitchFamily="2" charset="77"/>
                <a:ea typeface="Aptos" panose="020B0004020202020204" pitchFamily="34" charset="0"/>
                <a:cs typeface="Arial" panose="020B0604020202020204" pitchFamily="34" charset="0"/>
              </a:rPr>
              <a:t>MAGALI </a:t>
            </a:r>
            <a:r>
              <a:rPr lang="en-US" sz="1100" u="sng" kern="100">
                <a:solidFill>
                  <a:srgbClr val="C04F15"/>
                </a:solidFill>
                <a:effectLst/>
                <a:latin typeface="Proximus Light" pitchFamily="2" charset="77"/>
                <a:ea typeface="Aptos" panose="020B0004020202020204" pitchFamily="34" charset="0"/>
                <a:cs typeface="Arial" panose="020B0604020202020204" pitchFamily="34" charset="0"/>
              </a:rPr>
              <a:t>on stage </a:t>
            </a:r>
          </a:p>
          <a:p>
            <a:endParaRPr lang="nl-BE" sz="1100" b="0"/>
          </a:p>
          <a:p>
            <a:r>
              <a:rPr lang="nl-BE" sz="1100" b="1" u="sng">
                <a:latin typeface="Proximus Bold"/>
              </a:rPr>
              <a:t>MAGALI</a:t>
            </a:r>
            <a:r>
              <a:rPr lang="nl-BE" sz="1100" b="0">
                <a:latin typeface="Proximus Bold"/>
              </a:rPr>
              <a:t> : </a:t>
            </a:r>
            <a:r>
              <a:rPr lang="nl-BE" sz="1100" b="0" err="1">
                <a:latin typeface="Proximus Bold"/>
              </a:rPr>
              <a:t>thanks</a:t>
            </a:r>
            <a:r>
              <a:rPr lang="nl-BE" sz="1100" b="0">
                <a:latin typeface="Proximus Bold"/>
              </a:rPr>
              <a:t> a lot Geert</a:t>
            </a:r>
            <a:r>
              <a:rPr lang="nl-BE" sz="1100">
                <a:latin typeface="Proximus Bold"/>
              </a:rPr>
              <a:t>, </a:t>
            </a:r>
            <a:r>
              <a:rPr lang="nl-BE" sz="1100" err="1">
                <a:latin typeface="Proximus Bold"/>
              </a:rPr>
              <a:t>what</a:t>
            </a:r>
            <a:r>
              <a:rPr lang="nl-BE" sz="1100">
                <a:latin typeface="Proximus Bold"/>
              </a:rPr>
              <a:t> </a:t>
            </a:r>
            <a:r>
              <a:rPr lang="nl-BE" sz="1100" err="1">
                <a:latin typeface="Proximus Bold"/>
              </a:rPr>
              <a:t>an</a:t>
            </a:r>
            <a:r>
              <a:rPr lang="nl-BE" sz="1100">
                <a:latin typeface="Proximus Bold"/>
              </a:rPr>
              <a:t> </a:t>
            </a:r>
            <a:r>
              <a:rPr lang="nl-BE" sz="1100" err="1">
                <a:latin typeface="Proximus Bold"/>
              </a:rPr>
              <a:t>inspiring</a:t>
            </a:r>
            <a:r>
              <a:rPr lang="nl-BE" sz="1100">
                <a:latin typeface="Proximus Bold"/>
              </a:rPr>
              <a:t> </a:t>
            </a:r>
            <a:r>
              <a:rPr lang="nl-BE" sz="1100" err="1">
                <a:latin typeface="Proximus Bold"/>
              </a:rPr>
              <a:t>keynote</a:t>
            </a:r>
            <a:r>
              <a:rPr lang="nl-BE" sz="1100">
                <a:latin typeface="Proximus Bold"/>
              </a:rPr>
              <a:t>.</a:t>
            </a:r>
            <a:r>
              <a:rPr lang="nl-BE" sz="1100" b="0">
                <a:latin typeface="Proximus Bold"/>
              </a:rPr>
              <a:t> </a:t>
            </a:r>
            <a:r>
              <a:rPr lang="nl-BE" sz="1100">
                <a:latin typeface="Proximus Bold"/>
              </a:rPr>
              <a:t>We </a:t>
            </a:r>
            <a:r>
              <a:rPr lang="nl-BE" sz="1100" err="1">
                <a:latin typeface="Proximus Bold"/>
              </a:rPr>
              <a:t>already</a:t>
            </a:r>
            <a:r>
              <a:rPr lang="nl-BE" sz="1100">
                <a:latin typeface="Proximus Bold"/>
              </a:rPr>
              <a:t> </a:t>
            </a:r>
            <a:r>
              <a:rPr lang="nl-BE" sz="1100" err="1">
                <a:latin typeface="Proximus Bold"/>
              </a:rPr>
              <a:t>knew</a:t>
            </a:r>
            <a:r>
              <a:rPr lang="nl-BE" sz="1100">
                <a:latin typeface="Proximus Bold"/>
              </a:rPr>
              <a:t> </a:t>
            </a:r>
            <a:r>
              <a:rPr lang="nl-BE" sz="1100" err="1">
                <a:latin typeface="Proximus Bold"/>
              </a:rPr>
              <a:t>that</a:t>
            </a:r>
            <a:r>
              <a:rPr lang="nl-BE" sz="1100">
                <a:latin typeface="Proximus Bold"/>
              </a:rPr>
              <a:t> </a:t>
            </a:r>
            <a:r>
              <a:rPr lang="nl-BE" sz="1100" err="1">
                <a:latin typeface="Proximus Bold"/>
              </a:rPr>
              <a:t>music</a:t>
            </a:r>
            <a:r>
              <a:rPr lang="nl-BE" sz="1100">
                <a:latin typeface="Proximus Bold"/>
              </a:rPr>
              <a:t> </a:t>
            </a:r>
            <a:r>
              <a:rPr lang="nl-BE" sz="1100" err="1">
                <a:latin typeface="Proximus Bold"/>
              </a:rPr>
              <a:t>could</a:t>
            </a:r>
            <a:r>
              <a:rPr lang="nl-BE" sz="1100">
                <a:latin typeface="Proximus Bold"/>
              </a:rPr>
              <a:t> </a:t>
            </a:r>
            <a:r>
              <a:rPr lang="nl-BE" sz="1100" err="1">
                <a:latin typeface="Proximus Bold"/>
              </a:rPr>
              <a:t>be</a:t>
            </a:r>
            <a:r>
              <a:rPr lang="nl-BE" sz="1100">
                <a:latin typeface="Proximus Bold"/>
              </a:rPr>
              <a:t> </a:t>
            </a:r>
            <a:r>
              <a:rPr lang="nl-BE" sz="1100" err="1">
                <a:latin typeface="Proximus Bold"/>
              </a:rPr>
              <a:t>relaxing</a:t>
            </a:r>
            <a:r>
              <a:rPr lang="nl-BE" sz="1100">
                <a:latin typeface="Proximus Bold"/>
              </a:rPr>
              <a:t>, </a:t>
            </a:r>
            <a:r>
              <a:rPr lang="nl-BE" sz="1100" err="1">
                <a:latin typeface="Proximus Bold"/>
              </a:rPr>
              <a:t>joyful</a:t>
            </a:r>
            <a:r>
              <a:rPr lang="nl-BE" sz="1100">
                <a:latin typeface="Proximus Bold"/>
              </a:rPr>
              <a:t>, and </a:t>
            </a:r>
            <a:r>
              <a:rPr lang="nl-BE" sz="1100" err="1">
                <a:latin typeface="Proximus Bold"/>
              </a:rPr>
              <a:t>bringing</a:t>
            </a:r>
            <a:r>
              <a:rPr lang="nl-BE" sz="1100">
                <a:latin typeface="Proximus Bold"/>
              </a:rPr>
              <a:t> </a:t>
            </a:r>
            <a:r>
              <a:rPr lang="nl-BE" sz="1100" err="1">
                <a:latin typeface="Proximus Bold"/>
              </a:rPr>
              <a:t>people</a:t>
            </a:r>
            <a:r>
              <a:rPr lang="nl-BE" sz="1100">
                <a:latin typeface="Proximus Bold"/>
              </a:rPr>
              <a:t> </a:t>
            </a:r>
            <a:r>
              <a:rPr lang="nl-BE" sz="1100" err="1">
                <a:latin typeface="Proximus Bold"/>
              </a:rPr>
              <a:t>together</a:t>
            </a:r>
            <a:r>
              <a:rPr lang="nl-BE" sz="1100">
                <a:latin typeface="Proximus Bold"/>
              </a:rPr>
              <a:t>, but </a:t>
            </a:r>
            <a:r>
              <a:rPr lang="nl-BE" sz="1100" err="1">
                <a:latin typeface="Proximus Bold"/>
              </a:rPr>
              <a:t>who</a:t>
            </a:r>
            <a:r>
              <a:rPr lang="nl-BE" sz="1100">
                <a:latin typeface="Proximus Bold"/>
              </a:rPr>
              <a:t> </a:t>
            </a:r>
            <a:r>
              <a:rPr lang="nl-BE" sz="1100" err="1">
                <a:latin typeface="Proximus Bold"/>
              </a:rPr>
              <a:t>knew</a:t>
            </a:r>
            <a:r>
              <a:rPr lang="nl-BE" sz="1100">
                <a:latin typeface="Proximus Bold"/>
              </a:rPr>
              <a:t> </a:t>
            </a:r>
            <a:r>
              <a:rPr lang="nl-BE" sz="1100" err="1">
                <a:latin typeface="Proximus Bold"/>
              </a:rPr>
              <a:t>that</a:t>
            </a:r>
            <a:r>
              <a:rPr lang="nl-BE" sz="1100">
                <a:latin typeface="Proximus Bold"/>
              </a:rPr>
              <a:t> </a:t>
            </a:r>
            <a:r>
              <a:rPr lang="nl-BE" sz="1100" err="1">
                <a:latin typeface="Proximus Bold"/>
              </a:rPr>
              <a:t>it</a:t>
            </a:r>
            <a:r>
              <a:rPr lang="nl-BE" sz="1100">
                <a:latin typeface="Proximus Bold"/>
              </a:rPr>
              <a:t> </a:t>
            </a:r>
            <a:r>
              <a:rPr lang="nl-BE" sz="1100" err="1">
                <a:latin typeface="Proximus Bold"/>
              </a:rPr>
              <a:t>would</a:t>
            </a:r>
            <a:r>
              <a:rPr lang="nl-BE" sz="1100">
                <a:latin typeface="Proximus Bold"/>
              </a:rPr>
              <a:t> </a:t>
            </a:r>
            <a:r>
              <a:rPr lang="nl-BE" sz="1100" err="1">
                <a:latin typeface="Proximus Bold"/>
              </a:rPr>
              <a:t>also</a:t>
            </a:r>
            <a:r>
              <a:rPr lang="nl-BE" sz="1100">
                <a:latin typeface="Proximus Bold"/>
              </a:rPr>
              <a:t> </a:t>
            </a:r>
            <a:r>
              <a:rPr lang="nl-BE" sz="1100" err="1">
                <a:latin typeface="Proximus Bold"/>
              </a:rPr>
              <a:t>be</a:t>
            </a:r>
            <a:r>
              <a:rPr lang="nl-BE" sz="1100">
                <a:latin typeface="Proximus Bold"/>
              </a:rPr>
              <a:t> a source of </a:t>
            </a:r>
            <a:r>
              <a:rPr lang="nl-BE" sz="1100" err="1">
                <a:latin typeface="Proximus Bold"/>
              </a:rPr>
              <a:t>inspiration</a:t>
            </a:r>
            <a:r>
              <a:rPr lang="nl-BE" sz="1100">
                <a:latin typeface="Proximus Bold"/>
              </a:rPr>
              <a:t> </a:t>
            </a:r>
            <a:r>
              <a:rPr lang="nl-BE" sz="1100" err="1">
                <a:latin typeface="Proximus Bold"/>
              </a:rPr>
              <a:t>for</a:t>
            </a:r>
            <a:r>
              <a:rPr lang="nl-BE" sz="1100">
                <a:latin typeface="Proximus Bold"/>
              </a:rPr>
              <a:t> digital thinking and a </a:t>
            </a:r>
            <a:r>
              <a:rPr lang="nl-BE" sz="1100" err="1">
                <a:latin typeface="Proximus Bold"/>
              </a:rPr>
              <a:t>successful</a:t>
            </a:r>
            <a:r>
              <a:rPr lang="nl-BE" sz="1100">
                <a:latin typeface="Proximus Bold"/>
              </a:rPr>
              <a:t> digital </a:t>
            </a:r>
            <a:r>
              <a:rPr lang="nl-BE" sz="1100" err="1">
                <a:latin typeface="Proximus Bold"/>
              </a:rPr>
              <a:t>transformation</a:t>
            </a:r>
            <a:r>
              <a:rPr lang="nl-BE" sz="1100">
                <a:latin typeface="Proximus Bold"/>
              </a:rPr>
              <a:t>.</a:t>
            </a:r>
          </a:p>
          <a:p>
            <a:r>
              <a:rPr lang="nl-BE" sz="1100" err="1">
                <a:latin typeface="Proximus Bold"/>
              </a:rPr>
              <a:t>Thanks</a:t>
            </a:r>
            <a:r>
              <a:rPr lang="nl-BE" sz="1100">
                <a:latin typeface="Proximus Bold"/>
              </a:rPr>
              <a:t> </a:t>
            </a:r>
            <a:r>
              <a:rPr lang="nl-BE" sz="1100" err="1">
                <a:latin typeface="Proximus Bold"/>
              </a:rPr>
              <a:t>again</a:t>
            </a:r>
            <a:r>
              <a:rPr lang="nl-BE" sz="1100">
                <a:latin typeface="Proximus Bold"/>
              </a:rPr>
              <a:t> Geert </a:t>
            </a:r>
            <a:r>
              <a:rPr lang="nl-BE" sz="1100" err="1">
                <a:latin typeface="Proximus Bold"/>
              </a:rPr>
              <a:t>for</a:t>
            </a:r>
            <a:r>
              <a:rPr lang="nl-BE" sz="1100">
                <a:latin typeface="Proximus Bold"/>
              </a:rPr>
              <a:t> </a:t>
            </a:r>
            <a:r>
              <a:rPr lang="nl-BE" sz="1100" err="1">
                <a:latin typeface="Proximus Bold"/>
              </a:rPr>
              <a:t>sharing</a:t>
            </a:r>
            <a:r>
              <a:rPr lang="nl-BE" sz="1100">
                <a:latin typeface="Proximus Bold"/>
              </a:rPr>
              <a:t> </a:t>
            </a:r>
            <a:r>
              <a:rPr lang="nl-BE" sz="1100" err="1">
                <a:latin typeface="Proximus Bold"/>
              </a:rPr>
              <a:t>your</a:t>
            </a:r>
            <a:r>
              <a:rPr lang="nl-BE" sz="1100">
                <a:latin typeface="Proximus Bold"/>
              </a:rPr>
              <a:t> expertise and </a:t>
            </a:r>
            <a:r>
              <a:rPr lang="nl-BE" sz="1100" err="1">
                <a:latin typeface="Proximus Bold"/>
              </a:rPr>
              <a:t>passion</a:t>
            </a:r>
            <a:r>
              <a:rPr lang="nl-BE" sz="1100">
                <a:latin typeface="Proximus Bold"/>
              </a:rPr>
              <a:t> </a:t>
            </a:r>
            <a:r>
              <a:rPr lang="nl-BE" sz="1100" err="1">
                <a:latin typeface="Proximus Bold"/>
              </a:rPr>
              <a:t>with</a:t>
            </a:r>
            <a:r>
              <a:rPr lang="nl-BE" sz="1100">
                <a:latin typeface="Proximus Bold"/>
              </a:rPr>
              <a:t> </a:t>
            </a:r>
            <a:r>
              <a:rPr lang="nl-BE" sz="1100" err="1">
                <a:latin typeface="Proximus Bold"/>
              </a:rPr>
              <a:t>us</a:t>
            </a:r>
            <a:r>
              <a:rPr lang="nl-BE" sz="1100">
                <a:latin typeface="Proximus Bold"/>
              </a:rPr>
              <a:t>!</a:t>
            </a:r>
            <a:endParaRPr lang="nl-BE" sz="1100"/>
          </a:p>
        </p:txBody>
      </p:sp>
      <p:sp>
        <p:nvSpPr>
          <p:cNvPr id="4" name="Slide Number Placeholder 3">
            <a:extLst>
              <a:ext uri="{FF2B5EF4-FFF2-40B4-BE49-F238E27FC236}">
                <a16:creationId xmlns:a16="http://schemas.microsoft.com/office/drawing/2014/main" id="{095F79C4-F9BF-AAD4-4B04-90AF1EB1705D}"/>
              </a:ext>
            </a:extLst>
          </p:cNvPr>
          <p:cNvSpPr>
            <a:spLocks noGrp="1"/>
          </p:cNvSpPr>
          <p:nvPr>
            <p:ph type="sldNum" sz="quarter" idx="5"/>
          </p:nvPr>
        </p:nvSpPr>
        <p:spPr/>
        <p:txBody>
          <a:bodyPr/>
          <a:lstStyle/>
          <a:p>
            <a:fld id="{FA918F22-1231-AB43-96E7-2B8B890DCD5E}" type="slidenum">
              <a:rPr lang="en-US" smtClean="0"/>
              <a:pPr/>
              <a:t>41</a:t>
            </a:fld>
            <a:endParaRPr lang="en-US"/>
          </a:p>
        </p:txBody>
      </p:sp>
    </p:spTree>
    <p:extLst>
      <p:ext uri="{BB962C8B-B14F-4D97-AF65-F5344CB8AC3E}">
        <p14:creationId xmlns:p14="http://schemas.microsoft.com/office/powerpoint/2010/main" val="22260563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a:ea typeface="Aptos" panose="020B0004020202020204" pitchFamily="34" charset="0"/>
                <a:cs typeface="Arial" panose="020B0604020202020204" pitchFamily="34" charset="0"/>
              </a:rPr>
              <a:t>MAGALI </a:t>
            </a:r>
            <a:r>
              <a:rPr lang="en-US" sz="1100" u="sng" kern="100" dirty="0">
                <a:solidFill>
                  <a:srgbClr val="C04F15"/>
                </a:solidFill>
                <a:effectLst/>
                <a:latin typeface="Proximus Light"/>
                <a:ea typeface="Aptos" panose="020B0004020202020204" pitchFamily="34" charset="0"/>
                <a:cs typeface="Arial" panose="020B0604020202020204" pitchFamily="34" charset="0"/>
              </a:rPr>
              <a:t>on stage </a:t>
            </a:r>
          </a:p>
          <a:p>
            <a:endParaRPr lang="en-US" dirty="0"/>
          </a:p>
          <a:p>
            <a:r>
              <a:rPr lang="en-US" sz="1100" b="1" u="sng" dirty="0">
                <a:latin typeface="Proximus Bold"/>
              </a:rPr>
              <a:t>MAGALI </a:t>
            </a:r>
            <a:r>
              <a:rPr lang="en-US" sz="1100" b="0" dirty="0">
                <a:latin typeface="Proximus Bold"/>
              </a:rPr>
              <a:t>: il </a:t>
            </a:r>
            <a:r>
              <a:rPr lang="en-US" sz="1100" b="0" dirty="0" err="1">
                <a:latin typeface="Proximus Bold"/>
              </a:rPr>
              <a:t>est</a:t>
            </a:r>
            <a:r>
              <a:rPr lang="en-US" sz="1100" b="0" dirty="0">
                <a:latin typeface="Proximus Bold"/>
              </a:rPr>
              <a:t> temps à </a:t>
            </a:r>
            <a:r>
              <a:rPr lang="en-US" sz="1100" b="0" dirty="0" err="1">
                <a:latin typeface="Proximus Bold"/>
              </a:rPr>
              <a:t>présent</a:t>
            </a:r>
            <a:r>
              <a:rPr lang="en-US" sz="1100" b="0" dirty="0">
                <a:latin typeface="Proximus Bold"/>
              </a:rPr>
              <a:t> de passer à </a:t>
            </a:r>
            <a:r>
              <a:rPr lang="en-US" sz="1100" b="0" dirty="0" err="1">
                <a:latin typeface="Proximus Bold"/>
              </a:rPr>
              <a:t>notre</a:t>
            </a:r>
            <a:r>
              <a:rPr lang="en-US" sz="1100" b="0" dirty="0">
                <a:latin typeface="Proximus Bold"/>
              </a:rPr>
              <a:t> 2ème </a:t>
            </a:r>
            <a:r>
              <a:rPr lang="en-US" sz="1100" b="0" dirty="0" err="1">
                <a:latin typeface="Proximus Bold"/>
              </a:rPr>
              <a:t>partie</a:t>
            </a:r>
            <a:r>
              <a:rPr lang="en-US" sz="1100" b="0" dirty="0">
                <a:latin typeface="Proximus Bold"/>
              </a:rPr>
              <a:t> de </a:t>
            </a:r>
            <a:r>
              <a:rPr lang="en-US" sz="1100" b="0" dirty="0" err="1">
                <a:latin typeface="Proximus Bold"/>
              </a:rPr>
              <a:t>notre</a:t>
            </a:r>
            <a:r>
              <a:rPr lang="en-US" sz="1100" b="0" dirty="0">
                <a:latin typeface="Proximus Bold"/>
              </a:rPr>
              <a:t> </a:t>
            </a:r>
            <a:r>
              <a:rPr lang="en-US" sz="1100" b="0" dirty="0" err="1">
                <a:latin typeface="Proximus Bold"/>
              </a:rPr>
              <a:t>stratégie</a:t>
            </a:r>
            <a:r>
              <a:rPr lang="en-US" sz="1100" b="0" dirty="0">
                <a:latin typeface="Proximus Bold"/>
              </a:rPr>
              <a:t> NBU 4.0… </a:t>
            </a:r>
            <a:endParaRPr lang="en-US" dirty="0"/>
          </a:p>
          <a:p>
            <a:r>
              <a:rPr lang="en-US" sz="1100" b="0" dirty="0" err="1">
                <a:latin typeface="Proximus Bold"/>
              </a:rPr>
              <a:t>J’invite</a:t>
            </a:r>
            <a:r>
              <a:rPr lang="en-US" sz="1100" b="0" dirty="0">
                <a:latin typeface="Proximus Bold"/>
              </a:rPr>
              <a:t> (encore ;-) Patrick, Laurent (Core &amp; COM solution Divisions Lead), Alex (Wholesale tribe and chapter Area Lead), et Gael. à me </a:t>
            </a:r>
            <a:r>
              <a:rPr lang="en-US" sz="1100" b="0" dirty="0" err="1">
                <a:latin typeface="Proximus Bold"/>
              </a:rPr>
              <a:t>rejoindre</a:t>
            </a:r>
            <a:r>
              <a:rPr lang="en-US" sz="1100" b="0" dirty="0">
                <a:latin typeface="Proximus Bold"/>
              </a:rPr>
              <a:t> sur le podium</a:t>
            </a:r>
            <a:r>
              <a:rPr lang="en-US" sz="1100" dirty="0">
                <a:latin typeface="Proximus Bold"/>
              </a:rPr>
              <a:t>, Gael, qui </a:t>
            </a:r>
            <a:r>
              <a:rPr lang="en-US" sz="1100" dirty="0" err="1">
                <a:latin typeface="Proximus Bold"/>
              </a:rPr>
              <a:t>est</a:t>
            </a:r>
            <a:r>
              <a:rPr lang="en-US" sz="1100" dirty="0">
                <a:latin typeface="Proximus Bold"/>
              </a:rPr>
              <a:t> </a:t>
            </a:r>
            <a:r>
              <a:rPr lang="en-US" sz="1100" dirty="0" err="1">
                <a:latin typeface="Proximus Bold"/>
              </a:rPr>
              <a:t>l'Epic</a:t>
            </a:r>
            <a:r>
              <a:rPr lang="en-US" sz="1100" dirty="0">
                <a:latin typeface="Proximus Bold"/>
              </a:rPr>
              <a:t> Owner dans la tribe Energy, et qui </a:t>
            </a:r>
            <a:r>
              <a:rPr lang="en-US" sz="1100" dirty="0" err="1">
                <a:latin typeface="Proximus Bold"/>
              </a:rPr>
              <a:t>remplace</a:t>
            </a:r>
            <a:r>
              <a:rPr lang="en-US" sz="1100" dirty="0">
                <a:latin typeface="Proximus Bold"/>
              </a:rPr>
              <a:t> </a:t>
            </a:r>
            <a:r>
              <a:rPr lang="en-US" sz="1100" dirty="0" err="1">
                <a:latin typeface="Proximus Bold"/>
              </a:rPr>
              <a:t>aujourd'hui</a:t>
            </a:r>
            <a:r>
              <a:rPr lang="en-US" sz="1100" dirty="0">
                <a:latin typeface="Proximus Bold"/>
              </a:rPr>
              <a:t> Stefan </a:t>
            </a:r>
            <a:r>
              <a:rPr lang="en-US" sz="1100" dirty="0" err="1">
                <a:latin typeface="Proximus Bold"/>
              </a:rPr>
              <a:t>Bovy</a:t>
            </a:r>
            <a:r>
              <a:rPr lang="en-US" sz="1100" dirty="0">
                <a:latin typeface="Proximus Bold"/>
              </a:rPr>
              <a:t> qui ne </a:t>
            </a:r>
            <a:r>
              <a:rPr lang="en-US" sz="1100" dirty="0" err="1">
                <a:latin typeface="Proximus Bold"/>
              </a:rPr>
              <a:t>pouvait</a:t>
            </a:r>
            <a:r>
              <a:rPr lang="en-US" sz="1100" dirty="0">
                <a:latin typeface="Proximus Bold"/>
              </a:rPr>
              <a:t> pas se </a:t>
            </a:r>
            <a:r>
              <a:rPr lang="en-US" sz="1100" dirty="0" err="1">
                <a:latin typeface="Proximus Bold"/>
              </a:rPr>
              <a:t>joindre</a:t>
            </a:r>
            <a:r>
              <a:rPr lang="en-US" sz="1100" dirty="0">
                <a:latin typeface="Proximus Bold"/>
              </a:rPr>
              <a:t> à nous. </a:t>
            </a:r>
            <a:endParaRPr lang="en-US" sz="1100" dirty="0"/>
          </a:p>
          <a:p>
            <a:endParaRPr lang="en-US" sz="1100"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42</a:t>
            </a:fld>
            <a:endParaRPr lang="en-US"/>
          </a:p>
        </p:txBody>
      </p:sp>
    </p:spTree>
    <p:extLst>
      <p:ext uri="{BB962C8B-B14F-4D97-AF65-F5344CB8AC3E}">
        <p14:creationId xmlns:p14="http://schemas.microsoft.com/office/powerpoint/2010/main" val="19604414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46FA7-79E6-E7E6-84C9-04A8601872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08F755-C798-2486-8D41-73C0B85370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254558-DB1A-16E1-3052-268FBA7879CD}"/>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b="0">
              <a:latin typeface="Proximus Bold"/>
            </a:endParaRPr>
          </a:p>
          <a:p>
            <a:r>
              <a:rPr lang="en-US" sz="1100" b="1" u="sng">
                <a:latin typeface="Proximus Bold"/>
              </a:rPr>
              <a:t>MAGALI </a:t>
            </a:r>
            <a:r>
              <a:rPr lang="en-US" sz="1100" b="0">
                <a:latin typeface="Proximus Bold"/>
              </a:rPr>
              <a:t>: nous </a:t>
            </a:r>
            <a:r>
              <a:rPr lang="en-US" sz="1100" b="0" err="1">
                <a:latin typeface="Proximus Bold"/>
              </a:rPr>
              <a:t>passons</a:t>
            </a:r>
            <a:r>
              <a:rPr lang="en-US" sz="1100" b="0">
                <a:latin typeface="Proximus Bold"/>
              </a:rPr>
              <a:t> </a:t>
            </a:r>
            <a:r>
              <a:rPr lang="en-US" sz="1100" b="0" err="1">
                <a:latin typeface="Proximus Bold"/>
              </a:rPr>
              <a:t>donc</a:t>
            </a:r>
            <a:r>
              <a:rPr lang="en-US" sz="1100" b="0">
                <a:latin typeface="Proximus Bold"/>
              </a:rPr>
              <a:t> au 3ème </a:t>
            </a:r>
            <a:r>
              <a:rPr lang="en-US" sz="1100" b="0" err="1">
                <a:latin typeface="Proximus Bold"/>
              </a:rPr>
              <a:t>pillier</a:t>
            </a:r>
            <a:r>
              <a:rPr lang="en-US" sz="1100" b="0">
                <a:latin typeface="Proximus Bold"/>
              </a:rPr>
              <a:t> de </a:t>
            </a:r>
            <a:r>
              <a:rPr lang="en-US" sz="1100" b="0" err="1">
                <a:latin typeface="Proximus Bold"/>
              </a:rPr>
              <a:t>notre</a:t>
            </a:r>
            <a:r>
              <a:rPr lang="en-US" sz="1100" b="0">
                <a:latin typeface="Proximus Bold"/>
              </a:rPr>
              <a:t> </a:t>
            </a:r>
            <a:r>
              <a:rPr lang="en-US" sz="1100" b="0" err="1">
                <a:latin typeface="Proximus Bold"/>
              </a:rPr>
              <a:t>stratégie</a:t>
            </a:r>
            <a:r>
              <a:rPr lang="en-US" sz="1100" b="0">
                <a:latin typeface="Proximus Bold"/>
              </a:rPr>
              <a:t> qui </a:t>
            </a:r>
            <a:r>
              <a:rPr lang="en-US" sz="1100" b="0" err="1">
                <a:latin typeface="Proximus Bold"/>
              </a:rPr>
              <a:t>s’intitule</a:t>
            </a:r>
            <a:r>
              <a:rPr lang="en-US" sz="1100" b="0">
                <a:latin typeface="Proximus Bold"/>
              </a:rPr>
              <a:t> “Bold future-proofness”. Patrick nous </a:t>
            </a:r>
            <a:r>
              <a:rPr lang="en-US" sz="1100" b="0" err="1">
                <a:latin typeface="Proximus Bold"/>
              </a:rPr>
              <a:t>commençons</a:t>
            </a:r>
            <a:r>
              <a:rPr lang="en-US" sz="1100" b="0">
                <a:latin typeface="Proximus Bold"/>
              </a:rPr>
              <a:t> avec </a:t>
            </a:r>
            <a:r>
              <a:rPr lang="en-US" sz="1100" b="0" err="1">
                <a:latin typeface="Proximus Bold"/>
              </a:rPr>
              <a:t>toi</a:t>
            </a:r>
            <a:r>
              <a:rPr lang="en-US" sz="1100" b="0">
                <a:latin typeface="Proximus Bold"/>
              </a:rPr>
              <a:t> je </a:t>
            </a:r>
            <a:r>
              <a:rPr lang="en-US" sz="1100" b="0" err="1">
                <a:latin typeface="Proximus Bold"/>
              </a:rPr>
              <a:t>pense</a:t>
            </a:r>
            <a:r>
              <a:rPr lang="en-US" sz="1100" b="0">
                <a:latin typeface="Proximus Bold"/>
              </a:rPr>
              <a:t> ? Que </a:t>
            </a:r>
            <a:r>
              <a:rPr lang="en-US" sz="1100" b="0" err="1">
                <a:latin typeface="Proximus Bold"/>
              </a:rPr>
              <a:t>peux-tu</a:t>
            </a:r>
            <a:r>
              <a:rPr lang="en-US" sz="1100" b="0">
                <a:latin typeface="Proximus Bold"/>
              </a:rPr>
              <a:t> nous dire </a:t>
            </a:r>
            <a:r>
              <a:rPr lang="en-US" sz="1100" b="0" err="1">
                <a:latin typeface="Proximus Bold"/>
              </a:rPr>
              <a:t>concernant</a:t>
            </a:r>
            <a:r>
              <a:rPr lang="en-US" sz="1100" b="0">
                <a:latin typeface="Proximus Bold"/>
              </a:rPr>
              <a:t> </a:t>
            </a:r>
            <a:r>
              <a:rPr lang="en-US" sz="1100" b="0" err="1">
                <a:latin typeface="Proximus Bold"/>
              </a:rPr>
              <a:t>nos</a:t>
            </a:r>
            <a:r>
              <a:rPr lang="en-US" sz="1100" b="0">
                <a:latin typeface="Proximus Bold"/>
              </a:rPr>
              <a:t> infrastructures </a:t>
            </a:r>
            <a:r>
              <a:rPr lang="en-US" sz="1100">
                <a:latin typeface="Proximus Bold"/>
              </a:rPr>
              <a:t>réseau</a:t>
            </a:r>
            <a:r>
              <a:rPr lang="en-US" sz="1100" b="0">
                <a:latin typeface="Proximus Bold"/>
              </a:rPr>
              <a:t>? </a:t>
            </a:r>
            <a:r>
              <a:rPr lang="en-US" sz="1100" b="0" err="1">
                <a:latin typeface="Proximus Bold"/>
              </a:rPr>
              <a:t>Seras-tu</a:t>
            </a:r>
            <a:r>
              <a:rPr lang="en-US" sz="1100" b="0">
                <a:latin typeface="Proximus Bold"/>
              </a:rPr>
              <a:t> </a:t>
            </a:r>
            <a:r>
              <a:rPr lang="en-US" sz="1100" b="0" err="1">
                <a:latin typeface="Proximus Bold"/>
              </a:rPr>
              <a:t>aussi</a:t>
            </a:r>
            <a:r>
              <a:rPr lang="en-US" sz="1100" b="0">
                <a:latin typeface="Proximus Bold"/>
              </a:rPr>
              <a:t> rock &amp; roll que Geert Van Mol ?</a:t>
            </a:r>
          </a:p>
          <a:p>
            <a:pPr>
              <a:lnSpc>
                <a:spcPct val="107000"/>
              </a:lnSpc>
              <a:spcAft>
                <a:spcPts val="800"/>
              </a:spcAft>
            </a:pPr>
            <a:endParaRPr lang="en-US" sz="1200" kern="100">
              <a:latin typeface="Proximus Light"/>
            </a:endParaRPr>
          </a:p>
        </p:txBody>
      </p:sp>
      <p:sp>
        <p:nvSpPr>
          <p:cNvPr id="4" name="Slide Number Placeholder 3">
            <a:extLst>
              <a:ext uri="{FF2B5EF4-FFF2-40B4-BE49-F238E27FC236}">
                <a16:creationId xmlns:a16="http://schemas.microsoft.com/office/drawing/2014/main" id="{50AF0657-49CA-C095-4289-6585F34673A6}"/>
              </a:ext>
            </a:extLst>
          </p:cNvPr>
          <p:cNvSpPr>
            <a:spLocks noGrp="1"/>
          </p:cNvSpPr>
          <p:nvPr>
            <p:ph type="sldNum" sz="quarter" idx="5"/>
          </p:nvPr>
        </p:nvSpPr>
        <p:spPr/>
        <p:txBody>
          <a:bodyPr/>
          <a:lstStyle/>
          <a:p>
            <a:fld id="{FA918F22-1231-AB43-96E7-2B8B890DCD5E}" type="slidenum">
              <a:rPr lang="en-US" smtClean="0"/>
              <a:pPr/>
              <a:t>43</a:t>
            </a:fld>
            <a:endParaRPr lang="en-US"/>
          </a:p>
        </p:txBody>
      </p:sp>
    </p:spTree>
    <p:extLst>
      <p:ext uri="{BB962C8B-B14F-4D97-AF65-F5344CB8AC3E}">
        <p14:creationId xmlns:p14="http://schemas.microsoft.com/office/powerpoint/2010/main" val="22789872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5A69A2-5B99-7022-60C1-A696C6EF90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E39A2F-6F9B-9B73-E7DC-BD1B576282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7809B8-3477-1974-FB75-3D0F05CA1119}"/>
              </a:ext>
            </a:extLst>
          </p:cNvPr>
          <p:cNvSpPr>
            <a:spLocks noGrp="1"/>
          </p:cNvSpPr>
          <p:nvPr>
            <p:ph type="body" idx="1"/>
          </p:nvPr>
        </p:nvSpPr>
        <p:spPr/>
        <p:txBody>
          <a:bodyPr/>
          <a:lstStyle/>
          <a:p>
            <a:pPr marL="0" marR="0" lvl="0" indent="0" algn="l" defTabSz="411480" rtl="0" eaLnBrk="1" fontAlgn="auto" latinLnBrk="0" hangingPunct="1">
              <a:lnSpc>
                <a:spcPct val="90000"/>
              </a:lnSpc>
              <a:spcBef>
                <a:spcPts val="0"/>
              </a:spcBef>
              <a:spcAft>
                <a:spcPts val="0"/>
              </a:spcAft>
              <a:buClrTx/>
              <a:buSzTx/>
              <a:buFontTx/>
              <a:buNone/>
              <a:tabLst/>
              <a:defRPr/>
            </a:pPr>
            <a:r>
              <a:rPr kumimoji="0" lang="en-GB" sz="1100" b="1" i="0" u="sng" strike="noStrike" kern="1200" cap="none" spc="0" normalizeH="0" baseline="0" noProof="0">
                <a:ln>
                  <a:noFill/>
                </a:ln>
                <a:solidFill>
                  <a:srgbClr val="141C24"/>
                </a:solidFill>
                <a:effectLst/>
                <a:uLnTx/>
                <a:uFillTx/>
                <a:latin typeface="Proximus Light"/>
                <a:ea typeface="+mn-ea"/>
                <a:cs typeface="+mn-cs"/>
              </a:rPr>
              <a:t>PATRICK</a:t>
            </a:r>
            <a:endParaRPr kumimoji="0" lang="en-US" sz="1100" b="1" i="0" u="sng" strike="noStrike" kern="1200" cap="none" spc="0" normalizeH="0" baseline="0" noProof="0">
              <a:ln>
                <a:noFill/>
              </a:ln>
              <a:solidFill>
                <a:srgbClr val="000000"/>
              </a:solidFill>
              <a:effectLst/>
              <a:uLnTx/>
              <a:uFillTx/>
              <a:latin typeface="Proximus Bold" panose="00000500000000000000" pitchFamily="2" charset="0"/>
              <a:ea typeface="+mn-ea"/>
              <a:cs typeface="+mn-cs"/>
            </a:endParaRP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Backbone Networks </a:t>
            </a:r>
            <a:r>
              <a:rPr kumimoji="0" lang="en-GB" sz="1100" b="0" i="0" u="none" strike="noStrike" kern="1200" cap="none" spc="0" normalizeH="0" baseline="0" noProof="0">
                <a:ln>
                  <a:noFill/>
                </a:ln>
                <a:solidFill>
                  <a:srgbClr val="141C24"/>
                </a:solidFill>
                <a:effectLst/>
                <a:uLnTx/>
                <a:uFillTx/>
                <a:latin typeface="Proximus Bold"/>
                <a:ea typeface="+mn-ea"/>
                <a:cs typeface="+mn-cs"/>
              </a:rPr>
              <a:t>are the </a:t>
            </a:r>
            <a:r>
              <a:rPr kumimoji="0" lang="en-GB" sz="1100" b="1" i="0" u="none" strike="noStrike" kern="1200" cap="none" spc="0" normalizeH="0" baseline="0" noProof="0">
                <a:ln>
                  <a:noFill/>
                </a:ln>
                <a:solidFill>
                  <a:srgbClr val="141C24"/>
                </a:solidFill>
                <a:effectLst/>
                <a:uLnTx/>
                <a:uFillTx/>
                <a:latin typeface="Proximus Bold"/>
                <a:ea typeface="+mn-ea"/>
                <a:cs typeface="+mn-cs"/>
              </a:rPr>
              <a:t>Network Foundations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Over the past years, </a:t>
            </a:r>
            <a:r>
              <a:rPr kumimoji="0" lang="en-GB" sz="1100" b="1" i="0" u="none" strike="noStrike" kern="1200" cap="none" spc="0" normalizeH="0" baseline="0" noProof="0">
                <a:ln>
                  <a:noFill/>
                </a:ln>
                <a:solidFill>
                  <a:srgbClr val="141C24"/>
                </a:solidFill>
                <a:effectLst/>
                <a:uLnTx/>
                <a:uFillTx/>
                <a:latin typeface="Proximus Bold"/>
                <a:ea typeface="+mn-ea"/>
                <a:cs typeface="+mn-cs"/>
              </a:rPr>
              <a:t>we have significantly SIMPLIFIED </a:t>
            </a:r>
            <a:r>
              <a:rPr kumimoji="0" lang="en-GB" sz="1100" b="0" i="0" u="none" strike="noStrike" kern="1200" cap="none" spc="0" normalizeH="0" baseline="0" noProof="0">
                <a:ln>
                  <a:noFill/>
                </a:ln>
                <a:solidFill>
                  <a:srgbClr val="141C24"/>
                </a:solidFill>
                <a:effectLst/>
                <a:uLnTx/>
                <a:uFillTx/>
                <a:latin typeface="Proximus Bold"/>
                <a:ea typeface="+mn-ea"/>
                <a:cs typeface="+mn-cs"/>
              </a:rPr>
              <a:t>by phasing out legacy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NeON</a:t>
            </a:r>
            <a:r>
              <a:rPr kumimoji="0" lang="en-GB" sz="1100" b="0" i="0" u="none" strike="noStrike" kern="1200" cap="none" spc="0" normalizeH="0" baseline="0" noProof="0">
                <a:ln>
                  <a:noFill/>
                </a:ln>
                <a:solidFill>
                  <a:srgbClr val="141C24"/>
                </a:solidFill>
                <a:effectLst/>
                <a:uLnTx/>
                <a:uFillTx/>
                <a:latin typeface="Proximus Bold"/>
                <a:ea typeface="+mn-ea"/>
                <a:cs typeface="+mn-cs"/>
              </a:rPr>
              <a:t> DWDM,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Erion</a:t>
            </a:r>
            <a:r>
              <a:rPr kumimoji="0" lang="en-GB" sz="1100" b="0" i="0" u="none" strike="noStrike" kern="1200" cap="none" spc="0" normalizeH="0" baseline="0" noProof="0">
                <a:ln>
                  <a:noFill/>
                </a:ln>
                <a:solidFill>
                  <a:srgbClr val="141C24"/>
                </a:solidFill>
                <a:effectLst/>
                <a:uLnTx/>
                <a:uFillTx/>
                <a:latin typeface="Proximus Bold"/>
                <a:ea typeface="+mn-ea"/>
                <a:cs typeface="+mn-cs"/>
              </a:rPr>
              <a:t> DWDM, SDH, Ethane MPLS, and BAS.</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oday, </a:t>
            </a:r>
            <a:r>
              <a:rPr kumimoji="0" lang="en-GB" sz="1100" b="1" i="0" u="none" strike="noStrike" kern="1200" cap="none" spc="0" normalizeH="0" baseline="0" noProof="0">
                <a:ln>
                  <a:noFill/>
                </a:ln>
                <a:solidFill>
                  <a:srgbClr val="141C24"/>
                </a:solidFill>
                <a:effectLst/>
                <a:uLnTx/>
                <a:uFillTx/>
                <a:latin typeface="Proximus Bold"/>
                <a:ea typeface="+mn-ea"/>
                <a:cs typeface="+mn-cs"/>
              </a:rPr>
              <a:t>ALL </a:t>
            </a: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Proximus services</a:t>
            </a:r>
            <a:r>
              <a:rPr kumimoji="0" lang="en-GB" sz="1100" b="0" i="0" u="none" strike="noStrike" kern="1200" cap="none" spc="0" normalizeH="0" baseline="0" noProof="0">
                <a:ln>
                  <a:noFill/>
                </a:ln>
                <a:solidFill>
                  <a:srgbClr val="141C24"/>
                </a:solidFill>
                <a:effectLst/>
                <a:uLnTx/>
                <a:uFillTx/>
                <a:latin typeface="Proximus Bold"/>
                <a:ea typeface="+mn-ea"/>
                <a:cs typeface="+mn-cs"/>
              </a:rPr>
              <a:t> run on our simple </a:t>
            </a:r>
            <a:r>
              <a:rPr kumimoji="0" lang="en-GB" sz="1100" b="1" i="0" u="none" strike="noStrike" kern="1200" cap="none" spc="0" normalizeH="0" baseline="0" noProof="0">
                <a:ln>
                  <a:noFill/>
                </a:ln>
                <a:solidFill>
                  <a:srgbClr val="141C24"/>
                </a:solidFill>
                <a:effectLst/>
                <a:uLnTx/>
                <a:uFillTx/>
                <a:latin typeface="Proximus Bold"/>
                <a:ea typeface="+mn-ea"/>
                <a:cs typeface="+mn-cs"/>
              </a:rPr>
              <a:t>dual-layer backbone</a:t>
            </a:r>
            <a:r>
              <a:rPr kumimoji="0" lang="en-GB" sz="1100" b="0" i="0" u="none" strike="noStrike" kern="1200" cap="none" spc="0" normalizeH="0" baseline="0" noProof="0">
                <a:ln>
                  <a:noFill/>
                </a:ln>
                <a:solidFill>
                  <a:srgbClr val="141C24"/>
                </a:solidFill>
                <a:effectLst/>
                <a:uLnTx/>
                <a:uFillTx/>
                <a:latin typeface="Proximus Bold"/>
                <a:ea typeface="+mn-ea"/>
                <a:cs typeface="+mn-cs"/>
              </a:rPr>
              <a:t> comprising </a:t>
            </a:r>
            <a:r>
              <a:rPr kumimoji="0" lang="en-GB" sz="1100" b="1" i="0" u="none" strike="noStrike" kern="1200" cap="none" spc="0" normalizeH="0" baseline="0" noProof="0">
                <a:ln>
                  <a:noFill/>
                </a:ln>
                <a:solidFill>
                  <a:srgbClr val="141C24"/>
                </a:solidFill>
                <a:effectLst/>
                <a:uLnTx/>
                <a:uFillTx/>
                <a:latin typeface="Proximus Bold"/>
                <a:ea typeface="+mn-ea"/>
                <a:cs typeface="+mn-cs"/>
              </a:rPr>
              <a:t>Simba Optical</a:t>
            </a:r>
            <a:r>
              <a:rPr kumimoji="0" lang="en-GB" sz="1100" b="0" i="0" u="none" strike="noStrike" kern="1200" cap="none" spc="0" normalizeH="0" baseline="0" noProof="0">
                <a:ln>
                  <a:noFill/>
                </a:ln>
                <a:solidFill>
                  <a:srgbClr val="141C24"/>
                </a:solidFill>
                <a:effectLst/>
                <a:uLnTx/>
                <a:uFillTx/>
                <a:latin typeface="Proximus Bold"/>
                <a:ea typeface="+mn-ea"/>
                <a:cs typeface="+mn-cs"/>
              </a:rPr>
              <a:t> DWDM and </a:t>
            </a:r>
            <a:r>
              <a:rPr kumimoji="0" lang="en-GB" sz="1100" b="1" i="0" u="none" strike="noStrike" kern="1200" cap="none" spc="0" normalizeH="0" baseline="0" noProof="0">
                <a:ln>
                  <a:noFill/>
                </a:ln>
                <a:solidFill>
                  <a:srgbClr val="141C24"/>
                </a:solidFill>
                <a:effectLst/>
                <a:uLnTx/>
                <a:uFillTx/>
                <a:latin typeface="Proximus Bold"/>
                <a:ea typeface="+mn-ea"/>
                <a:cs typeface="+mn-cs"/>
              </a:rPr>
              <a:t>Titan IP</a:t>
            </a:r>
            <a:r>
              <a:rPr kumimoji="0" lang="en-GB" sz="1100" b="0" i="0" u="none" strike="noStrike" kern="1200" cap="none" spc="0" normalizeH="0" baseline="0" noProof="0">
                <a:ln>
                  <a:noFill/>
                </a:ln>
                <a:solidFill>
                  <a:srgbClr val="141C24"/>
                </a:solidFill>
                <a:effectLst/>
                <a:uLnTx/>
                <a:uFillTx/>
                <a:latin typeface="Proximus Bold"/>
                <a:ea typeface="+mn-ea"/>
                <a:cs typeface="+mn-cs"/>
              </a:rPr>
              <a:t>.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is simplified backbone is </a:t>
            </a:r>
            <a:r>
              <a:rPr kumimoji="0" lang="en-GB" sz="1100" b="1" i="0" u="none" strike="noStrike" kern="1200" cap="none" spc="0" normalizeH="0" baseline="0" noProof="0">
                <a:ln>
                  <a:noFill/>
                </a:ln>
                <a:solidFill>
                  <a:srgbClr val="141C24"/>
                </a:solidFill>
                <a:effectLst/>
                <a:uLnTx/>
                <a:uFillTx/>
                <a:latin typeface="Proximus Bold"/>
                <a:ea typeface="+mn-ea"/>
                <a:cs typeface="+mn-cs"/>
              </a:rPr>
              <a:t>scalable</a:t>
            </a:r>
            <a:r>
              <a:rPr kumimoji="0" lang="en-GB" sz="1100" b="0" i="0" u="none" strike="noStrike" kern="1200" cap="none" spc="0" normalizeH="0" baseline="0" noProof="0">
                <a:ln>
                  <a:noFill/>
                </a:ln>
                <a:solidFill>
                  <a:srgbClr val="141C24"/>
                </a:solidFill>
                <a:effectLst/>
                <a:uLnTx/>
                <a:uFillTx/>
                <a:latin typeface="Proximus Bold"/>
                <a:ea typeface="+mn-ea"/>
                <a:cs typeface="+mn-cs"/>
              </a:rPr>
              <a:t>, </a:t>
            </a:r>
            <a:r>
              <a:rPr kumimoji="0" lang="en-GB" sz="1100" b="1" i="0" u="none" strike="noStrike" kern="1200" cap="none" spc="0" normalizeH="0" baseline="0" noProof="0">
                <a:ln>
                  <a:noFill/>
                </a:ln>
                <a:solidFill>
                  <a:srgbClr val="141C24"/>
                </a:solidFill>
                <a:effectLst/>
                <a:uLnTx/>
                <a:uFillTx/>
                <a:latin typeface="Proximus Bold"/>
                <a:ea typeface="+mn-ea"/>
                <a:cs typeface="+mn-cs"/>
              </a:rPr>
              <a:t>highly resilient</a:t>
            </a:r>
            <a:r>
              <a:rPr kumimoji="0" lang="en-GB" sz="1100" b="0" i="0" u="none" strike="noStrike" kern="1200" cap="none" spc="0" normalizeH="0" baseline="0" noProof="0">
                <a:ln>
                  <a:noFill/>
                </a:ln>
                <a:solidFill>
                  <a:srgbClr val="141C24"/>
                </a:solidFill>
                <a:effectLst/>
                <a:uLnTx/>
                <a:uFillTx/>
                <a:latin typeface="Proximus Bold"/>
                <a:ea typeface="+mn-ea"/>
                <a:cs typeface="+mn-cs"/>
              </a:rPr>
              <a:t>, and designed for </a:t>
            </a:r>
            <a:r>
              <a:rPr kumimoji="0" lang="en-GB" sz="1100" b="1" i="0" u="none" strike="noStrike" kern="1200" cap="none" spc="0" normalizeH="0" baseline="0" noProof="0">
                <a:ln>
                  <a:noFill/>
                </a:ln>
                <a:solidFill>
                  <a:srgbClr val="141C24"/>
                </a:solidFill>
                <a:effectLst/>
                <a:uLnTx/>
                <a:uFillTx/>
                <a:latin typeface="Proximus Bold"/>
                <a:ea typeface="+mn-ea"/>
                <a:cs typeface="+mn-cs"/>
              </a:rPr>
              <a:t>zero-saturation.</a:t>
            </a:r>
            <a:endParaRPr kumimoji="0" lang="en-US" sz="1100" b="1" i="0" u="none" strike="noStrike" kern="1200" cap="none" spc="0" normalizeH="0" baseline="0" noProof="0">
              <a:ln>
                <a:noFill/>
              </a:ln>
              <a:solidFill>
                <a:prstClr val="black"/>
              </a:solidFill>
              <a:effectLst/>
              <a:uLnTx/>
              <a:uFillTx/>
              <a:latin typeface="Proximus Bold"/>
              <a:ea typeface="+mn-ea"/>
              <a:cs typeface="+mn-cs"/>
            </a:endParaRP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Over the years to comes, </a:t>
            </a:r>
            <a:r>
              <a:rPr kumimoji="0" lang="en-GB" sz="1100" b="1" i="0" u="none" strike="noStrike" kern="1200" cap="none" spc="0" normalizeH="0" baseline="0" noProof="0">
                <a:ln>
                  <a:noFill/>
                </a:ln>
                <a:solidFill>
                  <a:srgbClr val="141C24"/>
                </a:solidFill>
                <a:effectLst/>
                <a:uLnTx/>
                <a:uFillTx/>
                <a:latin typeface="Proximus Bold"/>
                <a:ea typeface="+mn-ea"/>
                <a:cs typeface="+mn-cs"/>
              </a:rPr>
              <a:t>all those layers will evolve</a:t>
            </a: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Our </a:t>
            </a:r>
            <a:r>
              <a:rPr kumimoji="0" lang="en-GB" sz="1100" b="1" i="0" u="none" strike="noStrike" kern="1200" cap="none" spc="0" normalizeH="0" baseline="0" noProof="0">
                <a:ln>
                  <a:noFill/>
                </a:ln>
                <a:solidFill>
                  <a:srgbClr val="141C24"/>
                </a:solidFill>
                <a:effectLst/>
                <a:uLnTx/>
                <a:uFillTx/>
                <a:latin typeface="Proximus Bold"/>
                <a:ea typeface="+mn-ea"/>
                <a:cs typeface="+mn-cs"/>
              </a:rPr>
              <a:t>Backbone DWDM Simba Optical</a:t>
            </a:r>
            <a:r>
              <a:rPr kumimoji="0" lang="en-US" sz="1100" b="0" i="0" u="none" strike="noStrike" kern="1200" cap="none" spc="0" normalizeH="0" baseline="0" noProof="0">
                <a:ln>
                  <a:noFill/>
                </a:ln>
                <a:solidFill>
                  <a:srgbClr val="141C24"/>
                </a:solidFill>
                <a:effectLst/>
                <a:uLnTx/>
                <a:uFillTx/>
                <a:latin typeface="Proximus Bold"/>
                <a:ea typeface="+mn-ea"/>
                <a:cs typeface="+mn-cs"/>
              </a:rPr>
              <a:t> must comply to the </a:t>
            </a:r>
            <a:r>
              <a:rPr kumimoji="0" lang="en-GB" sz="1100" b="0" i="0" u="none" strike="noStrike" kern="1200" cap="none" spc="0" normalizeH="0" baseline="0" noProof="0">
                <a:ln>
                  <a:noFill/>
                </a:ln>
                <a:solidFill>
                  <a:srgbClr val="141C24"/>
                </a:solidFill>
                <a:effectLst/>
                <a:uLnTx/>
                <a:uFillTx/>
                <a:latin typeface="Proximus Bold"/>
                <a:ea typeface="+mn-ea"/>
                <a:cs typeface="+mn-cs"/>
              </a:rPr>
              <a:t>European </a:t>
            </a:r>
            <a:r>
              <a:rPr kumimoji="0" lang="en-GB" sz="1100" b="1" i="0" u="none" strike="noStrike" kern="1200" cap="none" spc="0" normalizeH="0" baseline="0" noProof="0">
                <a:ln>
                  <a:noFill/>
                </a:ln>
                <a:solidFill>
                  <a:srgbClr val="141C24"/>
                </a:solidFill>
                <a:effectLst/>
                <a:uLnTx/>
                <a:uFillTx/>
                <a:latin typeface="Proximus Bold"/>
                <a:ea typeface="+mn-ea"/>
                <a:cs typeface="+mn-cs"/>
              </a:rPr>
              <a:t>regulations</a:t>
            </a:r>
            <a:r>
              <a:rPr kumimoji="0" lang="en-GB" sz="1100" b="0" i="0" u="none" strike="noStrike" kern="1200" cap="none" spc="0" normalizeH="0" baseline="0" noProof="0">
                <a:ln>
                  <a:noFill/>
                </a:ln>
                <a:solidFill>
                  <a:srgbClr val="141C24"/>
                </a:solidFill>
                <a:effectLst/>
                <a:uLnTx/>
                <a:uFillTx/>
                <a:latin typeface="Proximus Bold"/>
                <a:ea typeface="+mn-ea"/>
                <a:cs typeface="+mn-cs"/>
              </a:rPr>
              <a:t> that </a:t>
            </a:r>
            <a:r>
              <a:rPr kumimoji="0" lang="en-GB" sz="1100" b="1" i="0" u="none" strike="noStrike" kern="1200" cap="none" spc="0" normalizeH="0" baseline="0" noProof="0">
                <a:ln>
                  <a:noFill/>
                </a:ln>
                <a:solidFill>
                  <a:srgbClr val="141C24"/>
                </a:solidFill>
                <a:effectLst/>
                <a:uLnTx/>
                <a:uFillTx/>
                <a:latin typeface="Proximus Bold"/>
                <a:ea typeface="+mn-ea"/>
                <a:cs typeface="+mn-cs"/>
              </a:rPr>
              <a:t>prohibit</a:t>
            </a:r>
            <a:r>
              <a:rPr kumimoji="0" lang="en-GB" sz="1100" b="0" i="0" u="none" strike="noStrike" kern="1200" cap="none" spc="0" normalizeH="0" baseline="0" noProof="0">
                <a:ln>
                  <a:noFill/>
                </a:ln>
                <a:solidFill>
                  <a:srgbClr val="141C24"/>
                </a:solidFill>
                <a:effectLst/>
                <a:uLnTx/>
                <a:uFillTx/>
                <a:latin typeface="Proximus Bold"/>
                <a:ea typeface="+mn-ea"/>
                <a:cs typeface="+mn-cs"/>
              </a:rPr>
              <a:t> High-Risk Vendors (</a:t>
            </a:r>
            <a:r>
              <a:rPr kumimoji="0" lang="en-GB" sz="1100" b="1" i="0" u="none" strike="noStrike" kern="1200" cap="none" spc="0" normalizeH="0" baseline="0" noProof="0">
                <a:ln>
                  <a:noFill/>
                </a:ln>
                <a:solidFill>
                  <a:srgbClr val="141C24"/>
                </a:solidFill>
                <a:effectLst/>
                <a:uLnTx/>
                <a:uFillTx/>
                <a:latin typeface="Proximus Bold"/>
                <a:ea typeface="+mn-ea"/>
                <a:cs typeface="+mn-cs"/>
              </a:rPr>
              <a:t>HRV</a:t>
            </a:r>
            <a:r>
              <a:rPr kumimoji="0" lang="en-GB" sz="1100" b="0" i="0" u="none" strike="noStrike" kern="1200" cap="none" spc="0" normalizeH="0" baseline="0" noProof="0">
                <a:ln>
                  <a:noFill/>
                </a:ln>
                <a:solidFill>
                  <a:srgbClr val="141C24"/>
                </a:solidFill>
                <a:effectLst/>
                <a:uLnTx/>
                <a:uFillTx/>
                <a:latin typeface="Proximus Bold"/>
                <a:ea typeface="+mn-ea"/>
                <a:cs typeface="+mn-cs"/>
              </a:rPr>
              <a:t>) .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is forces a full replacement in </a:t>
            </a:r>
            <a:r>
              <a:rPr kumimoji="0" lang="en-GB" sz="1100" b="1" i="0" u="none" strike="noStrike" kern="1200" cap="none" spc="0" normalizeH="0" baseline="0" noProof="0">
                <a:ln>
                  <a:noFill/>
                </a:ln>
                <a:solidFill>
                  <a:srgbClr val="141C24"/>
                </a:solidFill>
                <a:effectLst/>
                <a:uLnTx/>
                <a:uFillTx/>
                <a:latin typeface="Proximus Bold"/>
                <a:ea typeface="+mn-ea"/>
                <a:cs typeface="+mn-cs"/>
              </a:rPr>
              <a:t>several hundreds of buildings </a:t>
            </a:r>
            <a:r>
              <a:rPr kumimoji="0" lang="en-GB" sz="1100" b="0" i="0" u="none" strike="noStrike" kern="1200" cap="none" spc="0" normalizeH="0" baseline="0" noProof="0">
                <a:ln>
                  <a:noFill/>
                </a:ln>
                <a:solidFill>
                  <a:srgbClr val="141C24"/>
                </a:solidFill>
                <a:effectLst/>
                <a:uLnTx/>
                <a:uFillTx/>
                <a:latin typeface="Proximus Bold"/>
                <a:ea typeface="+mn-ea"/>
                <a:cs typeface="+mn-cs"/>
              </a:rPr>
              <a:t>of by the end of 2030. A </a:t>
            </a:r>
            <a:r>
              <a:rPr kumimoji="0" lang="en-GB" sz="1100" b="1" i="0" u="none" strike="noStrike" kern="1200" cap="none" spc="0" normalizeH="0" baseline="0" noProof="0">
                <a:ln>
                  <a:noFill/>
                </a:ln>
                <a:solidFill>
                  <a:srgbClr val="141C24"/>
                </a:solidFill>
                <a:effectLst/>
                <a:uLnTx/>
                <a:uFillTx/>
                <a:latin typeface="Proximus Bold"/>
                <a:ea typeface="+mn-ea"/>
                <a:cs typeface="+mn-cs"/>
              </a:rPr>
              <a:t>4-year </a:t>
            </a:r>
            <a:r>
              <a:rPr kumimoji="0" lang="en-GB" sz="1100" b="0" i="0" u="none" strike="noStrike" kern="1200" cap="none" spc="0" normalizeH="0" baseline="0" noProof="0">
                <a:ln>
                  <a:noFill/>
                </a:ln>
                <a:solidFill>
                  <a:srgbClr val="141C24"/>
                </a:solidFill>
                <a:effectLst/>
                <a:uLnTx/>
                <a:uFillTx/>
                <a:latin typeface="Proximus Bold"/>
                <a:ea typeface="+mn-ea"/>
                <a:cs typeface="+mn-cs"/>
              </a:rPr>
              <a:t>operational program to start end 2026</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We have initiated an </a:t>
            </a:r>
            <a:r>
              <a:rPr kumimoji="0" lang="en-GB" sz="1100" b="1" i="0" u="none" strike="noStrike" kern="1200" cap="none" spc="0" normalizeH="0" baseline="0" noProof="0">
                <a:ln>
                  <a:noFill/>
                </a:ln>
                <a:solidFill>
                  <a:srgbClr val="141C24"/>
                </a:solidFill>
                <a:effectLst/>
                <a:uLnTx/>
                <a:uFillTx/>
                <a:latin typeface="Proximus Bold"/>
                <a:ea typeface="+mn-ea"/>
                <a:cs typeface="+mn-cs"/>
              </a:rPr>
              <a:t>architecture redesign </a:t>
            </a:r>
            <a:r>
              <a:rPr kumimoji="0" lang="en-GB" sz="1100" b="0" i="0" u="none" strike="noStrike" kern="1200" cap="none" spc="0" normalizeH="0" baseline="0" noProof="0">
                <a:ln>
                  <a:noFill/>
                </a:ln>
                <a:solidFill>
                  <a:srgbClr val="141C24"/>
                </a:solidFill>
                <a:effectLst/>
                <a:uLnTx/>
                <a:uFillTx/>
                <a:latin typeface="Proximus Bold"/>
                <a:ea typeface="+mn-ea"/>
                <a:cs typeface="+mn-cs"/>
              </a:rPr>
              <a:t>study, considering also </a:t>
            </a:r>
            <a:r>
              <a:rPr kumimoji="0" lang="en-GB" sz="1100" b="1" i="0" u="none" strike="noStrike" kern="1200" cap="none" spc="0" normalizeH="0" baseline="0" noProof="0">
                <a:ln>
                  <a:noFill/>
                </a:ln>
                <a:solidFill>
                  <a:srgbClr val="141C24"/>
                </a:solidFill>
                <a:effectLst/>
                <a:uLnTx/>
                <a:uFillTx/>
                <a:latin typeface="Proximus Bold"/>
                <a:ea typeface="+mn-ea"/>
                <a:cs typeface="+mn-cs"/>
              </a:rPr>
              <a:t>Picasso</a:t>
            </a:r>
            <a:r>
              <a:rPr kumimoji="0" lang="en-GB" sz="1100" b="0" i="0" u="none" strike="noStrike" kern="1200" cap="none" spc="0" normalizeH="0" baseline="0" noProof="0">
                <a:ln>
                  <a:noFill/>
                </a:ln>
                <a:solidFill>
                  <a:srgbClr val="141C24"/>
                </a:solidFill>
                <a:effectLst/>
                <a:uLnTx/>
                <a:uFillTx/>
                <a:latin typeface="Proximus Bold"/>
                <a:ea typeface="+mn-ea"/>
                <a:cs typeface="+mn-cs"/>
              </a:rPr>
              <a:t>, and a market scan for Simba Optical renewal (new </a:t>
            </a:r>
            <a:r>
              <a:rPr kumimoji="0" lang="en-GB" sz="1100" b="1" i="0" u="none" strike="noStrike" kern="1200" cap="none" spc="0" normalizeH="0" baseline="0" noProof="0">
                <a:ln>
                  <a:noFill/>
                </a:ln>
                <a:solidFill>
                  <a:srgbClr val="141C24"/>
                </a:solidFill>
                <a:effectLst/>
                <a:uLnTx/>
                <a:uFillTx/>
                <a:latin typeface="Proximus Bold"/>
                <a:ea typeface="+mn-ea"/>
                <a:cs typeface="+mn-cs"/>
              </a:rPr>
              <a:t>NEURONE </a:t>
            </a:r>
            <a:r>
              <a:rPr kumimoji="0" lang="en-GB" sz="1100" b="0" i="0" u="none" strike="noStrike" kern="1200" cap="none" spc="0" normalizeH="0" baseline="0" noProof="0">
                <a:ln>
                  <a:noFill/>
                </a:ln>
                <a:solidFill>
                  <a:srgbClr val="141C24"/>
                </a:solidFill>
                <a:effectLst/>
                <a:uLnTx/>
                <a:uFillTx/>
                <a:latin typeface="Proximus Bold"/>
                <a:ea typeface="+mn-ea"/>
                <a:cs typeface="+mn-cs"/>
              </a:rPr>
              <a:t>Program).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is offers options to further simplify our backbone. We will also need to consider the </a:t>
            </a:r>
            <a:r>
              <a:rPr kumimoji="0" lang="en-GB" sz="1100" b="1" i="0" u="none" strike="noStrike" kern="1200" cap="none" spc="0" normalizeH="0" baseline="0" noProof="0">
                <a:ln>
                  <a:noFill/>
                </a:ln>
                <a:solidFill>
                  <a:srgbClr val="141C24"/>
                </a:solidFill>
                <a:effectLst/>
                <a:uLnTx/>
                <a:uFillTx/>
                <a:latin typeface="Proximus Bold"/>
                <a:ea typeface="+mn-ea"/>
                <a:cs typeface="+mn-cs"/>
              </a:rPr>
              <a:t>Fiber Joint Venture </a:t>
            </a:r>
            <a:r>
              <a:rPr kumimoji="0" lang="en-GB" sz="1100" b="0" i="0" u="none" strike="noStrike" kern="1200" cap="none" spc="0" normalizeH="0" baseline="0" noProof="0">
                <a:ln>
                  <a:noFill/>
                </a:ln>
                <a:solidFill>
                  <a:srgbClr val="141C24"/>
                </a:solidFill>
                <a:effectLst/>
                <a:uLnTx/>
                <a:uFillTx/>
                <a:latin typeface="Proximus Bold"/>
                <a:ea typeface="+mn-ea"/>
                <a:cs typeface="+mn-cs"/>
              </a:rPr>
              <a:t>effect on those architectures.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Our backbones must remain </a:t>
            </a:r>
            <a:r>
              <a:rPr kumimoji="0" lang="en-GB" sz="1100" b="1" i="0" u="none" strike="noStrike" kern="1200" cap="none" spc="0" normalizeH="0" baseline="0" noProof="0">
                <a:ln>
                  <a:noFill/>
                </a:ln>
                <a:solidFill>
                  <a:srgbClr val="141C24"/>
                </a:solidFill>
                <a:effectLst/>
                <a:uLnTx/>
                <a:uFillTx/>
                <a:latin typeface="Proximus Bold"/>
                <a:ea typeface="+mn-ea"/>
                <a:cs typeface="+mn-cs"/>
              </a:rPr>
              <a:t>resilient</a:t>
            </a:r>
            <a:r>
              <a:rPr kumimoji="0" lang="en-GB" sz="1100" b="0" i="0" u="none" strike="noStrike" kern="1200" cap="none" spc="0" normalizeH="0" baseline="0" noProof="0">
                <a:ln>
                  <a:noFill/>
                </a:ln>
                <a:solidFill>
                  <a:srgbClr val="141C24"/>
                </a:solidFill>
                <a:effectLst/>
                <a:uLnTx/>
                <a:uFillTx/>
                <a:latin typeface="Proximus Bold"/>
                <a:ea typeface="+mn-ea"/>
                <a:cs typeface="+mn-cs"/>
              </a:rPr>
              <a:t>, </a:t>
            </a:r>
            <a:r>
              <a:rPr kumimoji="0" lang="en-GB" sz="1100" b="1" i="0" u="none" strike="noStrike" kern="1200" cap="none" spc="0" normalizeH="0" baseline="0" noProof="0">
                <a:ln>
                  <a:noFill/>
                </a:ln>
                <a:solidFill>
                  <a:srgbClr val="141C24"/>
                </a:solidFill>
                <a:effectLst/>
                <a:uLnTx/>
                <a:uFillTx/>
                <a:latin typeface="Proximus Bold"/>
                <a:ea typeface="+mn-ea"/>
                <a:cs typeface="+mn-cs"/>
              </a:rPr>
              <a:t>cybersecure</a:t>
            </a:r>
            <a:r>
              <a:rPr kumimoji="0" lang="en-GB" sz="1100" b="0" i="0" u="none" strike="noStrike" kern="1200" cap="none" spc="0" normalizeH="0" baseline="0" noProof="0">
                <a:ln>
                  <a:noFill/>
                </a:ln>
                <a:solidFill>
                  <a:srgbClr val="141C24"/>
                </a:solidFill>
                <a:effectLst/>
                <a:uLnTx/>
                <a:uFillTx/>
                <a:latin typeface="Proximus Bold"/>
                <a:ea typeface="+mn-ea"/>
                <a:cs typeface="+mn-cs"/>
              </a:rPr>
              <a:t>, and evolve to a </a:t>
            </a:r>
            <a:r>
              <a:rPr kumimoji="0" lang="en-GB" sz="1100" b="1" i="0" u="none" strike="noStrike" kern="1200" cap="none" spc="0" normalizeH="0" baseline="0" noProof="0">
                <a:ln>
                  <a:noFill/>
                </a:ln>
                <a:solidFill>
                  <a:srgbClr val="141C24"/>
                </a:solidFill>
                <a:effectLst/>
                <a:uLnTx/>
                <a:uFillTx/>
                <a:latin typeface="Proximus Bold"/>
                <a:ea typeface="+mn-ea"/>
                <a:cs typeface="+mn-cs"/>
              </a:rPr>
              <a:t>quantum-safe</a:t>
            </a:r>
            <a:r>
              <a:rPr kumimoji="0" lang="en-GB" sz="1100" b="0" i="0" u="none" strike="noStrike" kern="1200" cap="none" spc="0" normalizeH="0" baseline="0" noProof="0">
                <a:ln>
                  <a:noFill/>
                </a:ln>
                <a:solidFill>
                  <a:srgbClr val="141C24"/>
                </a:solidFill>
                <a:effectLst/>
                <a:uLnTx/>
                <a:uFillTx/>
                <a:latin typeface="Proximus Bold"/>
                <a:ea typeface="+mn-ea"/>
                <a:cs typeface="+mn-cs"/>
              </a:rPr>
              <a:t> modus.</a:t>
            </a:r>
            <a:endParaRPr kumimoji="0" lang="en-GB" sz="1100" b="0" i="0" u="none" strike="noStrike" kern="1200" cap="none" spc="0" normalizeH="0" baseline="0" noProof="0">
              <a:ln>
                <a:noFill/>
              </a:ln>
              <a:solidFill>
                <a:prstClr val="black"/>
              </a:solidFill>
              <a:effectLst/>
              <a:uLnTx/>
              <a:uFillTx/>
              <a:latin typeface="Proximus Bold"/>
              <a:ea typeface="+mn-ea"/>
              <a:cs typeface="+mn-cs"/>
            </a:endParaRP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startAt="4"/>
              <a:tabLst/>
              <a:defRPr/>
            </a:pPr>
            <a:r>
              <a:rPr kumimoji="0" lang="en-GB" sz="1100" b="0" i="0" u="none" strike="noStrike" kern="1200" cap="none" spc="0" normalizeH="0" baseline="0" noProof="0">
                <a:ln>
                  <a:noFill/>
                </a:ln>
                <a:solidFill>
                  <a:prstClr val="black"/>
                </a:solidFill>
                <a:effectLst/>
                <a:uLnTx/>
                <a:uFillTx/>
                <a:latin typeface="Proximus Bold"/>
                <a:ea typeface="+mn-ea"/>
                <a:cs typeface="+mn-cs"/>
              </a:rPr>
              <a:t>Our </a:t>
            </a:r>
            <a:r>
              <a:rPr kumimoji="0" lang="en-GB" sz="1100" b="1" i="0" u="none" strike="noStrike" kern="1200" cap="none" spc="0" normalizeH="0" baseline="0" noProof="0">
                <a:ln>
                  <a:noFill/>
                </a:ln>
                <a:solidFill>
                  <a:prstClr val="black"/>
                </a:solidFill>
                <a:effectLst/>
                <a:uLnTx/>
                <a:uFillTx/>
                <a:latin typeface="Proximus Bold"/>
                <a:ea typeface="+mn-ea"/>
                <a:cs typeface="+mn-cs"/>
              </a:rPr>
              <a:t>IP Backbone Titan is </a:t>
            </a:r>
            <a:r>
              <a:rPr kumimoji="0" lang="en-GB" sz="1100" b="0" i="0" u="none" strike="noStrike" kern="1200" cap="none" spc="0" normalizeH="0" baseline="0" noProof="0">
                <a:ln>
                  <a:noFill/>
                </a:ln>
                <a:solidFill>
                  <a:prstClr val="black"/>
                </a:solidFill>
                <a:effectLst/>
                <a:uLnTx/>
                <a:uFillTx/>
                <a:latin typeface="Proximus Bold"/>
                <a:ea typeface="+mn-ea"/>
                <a:cs typeface="+mn-cs"/>
              </a:rPr>
              <a:t>today </a:t>
            </a:r>
            <a:r>
              <a:rPr kumimoji="0" lang="en-GB" sz="1100" b="0" i="0" u="none" strike="noStrike" kern="1200" cap="none" spc="0" normalizeH="0" baseline="0" noProof="0">
                <a:ln>
                  <a:noFill/>
                </a:ln>
                <a:solidFill>
                  <a:srgbClr val="141C24"/>
                </a:solidFill>
                <a:effectLst/>
                <a:uLnTx/>
                <a:uFillTx/>
                <a:latin typeface="Proximus Bold"/>
                <a:ea typeface="+mn-ea"/>
                <a:cs typeface="+mn-cs"/>
              </a:rPr>
              <a:t>supporting 7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Tbps</a:t>
            </a:r>
            <a:r>
              <a:rPr kumimoji="0" lang="en-GB" sz="1100" b="0" i="0" u="none" strike="noStrike" kern="1200" cap="none" spc="0" normalizeH="0" baseline="0" noProof="0">
                <a:ln>
                  <a:noFill/>
                </a:ln>
                <a:solidFill>
                  <a:srgbClr val="141C24"/>
                </a:solidFill>
                <a:effectLst/>
                <a:uLnTx/>
                <a:uFillTx/>
                <a:latin typeface="Proximus Bold"/>
                <a:ea typeface="+mn-ea"/>
                <a:cs typeface="+mn-cs"/>
              </a:rPr>
              <a:t> and is scalable to 40 </a:t>
            </a:r>
            <a:r>
              <a:rPr kumimoji="0" lang="en-GB" sz="1100" b="0" i="0" u="none" strike="noStrike" kern="1200" cap="none" spc="0" normalizeH="0" baseline="0" noProof="0" err="1">
                <a:ln>
                  <a:noFill/>
                </a:ln>
                <a:solidFill>
                  <a:srgbClr val="141C24"/>
                </a:solidFill>
                <a:effectLst/>
                <a:uLnTx/>
                <a:uFillTx/>
                <a:latin typeface="Proximus Bold"/>
                <a:ea typeface="+mn-ea"/>
                <a:cs typeface="+mn-cs"/>
              </a:rPr>
              <a:t>Tbps</a:t>
            </a:r>
            <a:r>
              <a:rPr kumimoji="0" lang="en-GB" sz="1100" b="0" i="0" u="none" strike="noStrike" kern="1200" cap="none" spc="0" normalizeH="0" baseline="0" noProof="0">
                <a:ln>
                  <a:noFill/>
                </a:ln>
                <a:solidFill>
                  <a:srgbClr val="141C24"/>
                </a:solidFill>
                <a:effectLst/>
                <a:uLnTx/>
                <a:uFillTx/>
                <a:latin typeface="Proximus Bold"/>
                <a:ea typeface="+mn-ea"/>
                <a:cs typeface="+mn-cs"/>
              </a:rPr>
              <a:t> (x6), sufficient until 2030 </a:t>
            </a:r>
            <a:br>
              <a:rPr kumimoji="0" lang="en-GB" sz="1100" b="0"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But, depending on the demand for high-</a:t>
            </a:r>
            <a:r>
              <a:rPr kumimoji="0" lang="en-GB" sz="1100" b="0" i="0" u="none" strike="noStrike" kern="1200" cap="none" spc="0" normalizeH="0" baseline="0" noProof="0" err="1">
                <a:ln>
                  <a:noFill/>
                </a:ln>
                <a:solidFill>
                  <a:srgbClr val="141C24"/>
                </a:solidFill>
                <a:effectLst/>
                <a:uLnTx/>
                <a:uFillTx/>
                <a:latin typeface="Proximus Bold"/>
                <a:ea typeface="+mn-ea"/>
                <a:cs typeface="+mn-cs"/>
              </a:rPr>
              <a:t>fiber</a:t>
            </a:r>
            <a:r>
              <a:rPr kumimoji="0" lang="en-GB" sz="1100" b="0" i="0" u="none" strike="noStrike" kern="1200" cap="none" spc="0" normalizeH="0" baseline="0" noProof="0">
                <a:ln>
                  <a:noFill/>
                </a:ln>
                <a:solidFill>
                  <a:srgbClr val="141C24"/>
                </a:solidFill>
                <a:effectLst/>
                <a:uLnTx/>
                <a:uFillTx/>
                <a:latin typeface="Proximus Bold"/>
                <a:ea typeface="+mn-ea"/>
                <a:cs typeface="+mn-cs"/>
              </a:rPr>
              <a:t> services (10G/10G, 20G/20G, 50G/50G), this would require a Titan scale up with </a:t>
            </a:r>
            <a:r>
              <a:rPr kumimoji="0" lang="en-GB" sz="1100" b="1" i="0" u="none" strike="noStrike" kern="1200" cap="none" spc="0" normalizeH="0" baseline="0" noProof="0">
                <a:ln>
                  <a:noFill/>
                </a:ln>
                <a:solidFill>
                  <a:srgbClr val="141C24"/>
                </a:solidFill>
                <a:effectLst/>
                <a:uLnTx/>
                <a:uFillTx/>
                <a:latin typeface="Proximus Bold"/>
                <a:ea typeface="+mn-ea"/>
                <a:cs typeface="+mn-cs"/>
              </a:rPr>
              <a:t>100G interfaces</a:t>
            </a:r>
          </a:p>
          <a:p>
            <a:pPr marL="434340" marR="0" lvl="1" indent="-228600" algn="l" defTabSz="411480" rtl="0" eaLnBrk="1" fontAlgn="auto" latinLnBrk="0" hangingPunct="1">
              <a:lnSpc>
                <a:spcPct val="100000"/>
              </a:lnSpc>
              <a:spcBef>
                <a:spcPts val="0"/>
              </a:spcBef>
              <a:spcAft>
                <a:spcPts val="0"/>
              </a:spcAft>
              <a:buClrTx/>
              <a:buSzTx/>
              <a:buFont typeface="Arial" panose="020B0604020202020204" pitchFamily="34" charset="0"/>
              <a:buAutoNum type="arabicPeriod" startAt="4"/>
              <a:tabLst/>
              <a:defRPr/>
            </a:pPr>
            <a:r>
              <a:rPr kumimoji="0" lang="en-GB" sz="1100" b="0" i="0" u="none" strike="noStrike" kern="1200" cap="none" spc="0" normalizeH="0" baseline="0" noProof="0">
                <a:ln>
                  <a:noFill/>
                </a:ln>
                <a:solidFill>
                  <a:srgbClr val="141C24"/>
                </a:solidFill>
                <a:effectLst/>
                <a:uLnTx/>
                <a:uFillTx/>
                <a:latin typeface="Proximus Bold"/>
                <a:ea typeface="+mn-ea"/>
                <a:cs typeface="+mn-cs"/>
              </a:rPr>
              <a:t>For the </a:t>
            </a:r>
            <a:r>
              <a:rPr kumimoji="0" lang="en-GB" sz="1100" b="1" i="0" u="none" strike="noStrike" kern="1200" cap="none" spc="0" normalizeH="0" baseline="0" noProof="0">
                <a:ln>
                  <a:noFill/>
                </a:ln>
                <a:solidFill>
                  <a:srgbClr val="141C24"/>
                </a:solidFill>
                <a:effectLst/>
                <a:uLnTx/>
                <a:uFillTx/>
                <a:latin typeface="Proximus Bold"/>
                <a:ea typeface="+mn-ea"/>
                <a:cs typeface="+mn-cs"/>
              </a:rPr>
              <a:t>Access Fiber OLT - </a:t>
            </a:r>
            <a:r>
              <a:rPr kumimoji="0" lang="en-GB" sz="1100" b="0" i="0" u="none" strike="noStrike" kern="1200" cap="none" spc="0" normalizeH="0" baseline="0" noProof="0">
                <a:ln>
                  <a:noFill/>
                </a:ln>
                <a:solidFill>
                  <a:srgbClr val="141C24"/>
                </a:solidFill>
                <a:effectLst/>
                <a:uLnTx/>
                <a:uFillTx/>
                <a:latin typeface="Proximus Bold"/>
                <a:ea typeface="+mn-ea"/>
                <a:cs typeface="+mn-cs"/>
              </a:rPr>
              <a:t>The current generation delivers </a:t>
            </a:r>
            <a:r>
              <a:rPr kumimoji="0" lang="en-GB" sz="1100" b="1" i="0" u="none" strike="noStrike" kern="1200" cap="none" spc="0" normalizeH="0" baseline="0" noProof="0">
                <a:ln>
                  <a:noFill/>
                </a:ln>
                <a:solidFill>
                  <a:srgbClr val="141C24"/>
                </a:solidFill>
                <a:effectLst/>
                <a:uLnTx/>
                <a:uFillTx/>
                <a:latin typeface="Proximus Bold"/>
                <a:ea typeface="+mn-ea"/>
                <a:cs typeface="+mn-cs"/>
              </a:rPr>
              <a:t>10G/10G </a:t>
            </a:r>
            <a:r>
              <a:rPr kumimoji="0" lang="en-GB" sz="1100" b="0" i="0" u="none" strike="noStrike" kern="1200" cap="none" spc="0" normalizeH="0" baseline="0" noProof="0">
                <a:ln>
                  <a:noFill/>
                </a:ln>
                <a:solidFill>
                  <a:srgbClr val="141C24"/>
                </a:solidFill>
                <a:effectLst/>
                <a:uLnTx/>
                <a:uFillTx/>
                <a:latin typeface="Proximus Bold"/>
                <a:ea typeface="+mn-ea"/>
                <a:cs typeface="+mn-cs"/>
              </a:rPr>
              <a:t>and can support </a:t>
            </a:r>
            <a:r>
              <a:rPr kumimoji="0" lang="en-GB" sz="1100" b="1" i="0" u="none" strike="noStrike" kern="1200" cap="none" spc="0" normalizeH="0" baseline="0" noProof="0">
                <a:ln>
                  <a:noFill/>
                </a:ln>
                <a:solidFill>
                  <a:srgbClr val="141C24"/>
                </a:solidFill>
                <a:effectLst/>
                <a:uLnTx/>
                <a:uFillTx/>
                <a:latin typeface="Proximus Bold"/>
                <a:ea typeface="+mn-ea"/>
                <a:cs typeface="+mn-cs"/>
              </a:rPr>
              <a:t>25 GPON </a:t>
            </a:r>
            <a:r>
              <a:rPr kumimoji="0" lang="en-GB" sz="1100" b="0" i="0" u="none" strike="noStrike" kern="1200" cap="none" spc="0" normalizeH="0" baseline="0" noProof="0">
                <a:ln>
                  <a:noFill/>
                </a:ln>
                <a:solidFill>
                  <a:srgbClr val="141C24"/>
                </a:solidFill>
                <a:effectLst/>
                <a:uLnTx/>
                <a:uFillTx/>
                <a:latin typeface="Proximus Bold"/>
                <a:ea typeface="+mn-ea"/>
                <a:cs typeface="+mn-cs"/>
              </a:rPr>
              <a:t>(for </a:t>
            </a:r>
            <a:r>
              <a:rPr kumimoji="0" lang="en-GB" sz="1100" b="1" i="0" u="none" strike="noStrike" kern="1200" cap="none" spc="0" normalizeH="0" baseline="0" noProof="0">
                <a:ln>
                  <a:noFill/>
                </a:ln>
                <a:solidFill>
                  <a:srgbClr val="141C24"/>
                </a:solidFill>
                <a:effectLst/>
                <a:uLnTx/>
                <a:uFillTx/>
                <a:latin typeface="Proximus Bold"/>
                <a:ea typeface="+mn-ea"/>
                <a:cs typeface="+mn-cs"/>
              </a:rPr>
              <a:t>20G/20G </a:t>
            </a:r>
            <a:r>
              <a:rPr kumimoji="0" lang="en-GB" sz="1100" b="0" i="0" u="none" strike="noStrike" kern="1200" cap="none" spc="0" normalizeH="0" baseline="0" noProof="0">
                <a:ln>
                  <a:noFill/>
                </a:ln>
                <a:solidFill>
                  <a:srgbClr val="141C24"/>
                </a:solidFill>
                <a:effectLst/>
                <a:uLnTx/>
                <a:uFillTx/>
                <a:latin typeface="Proximus Bold"/>
                <a:ea typeface="+mn-ea"/>
                <a:cs typeface="+mn-cs"/>
              </a:rPr>
              <a:t>services</a:t>
            </a:r>
            <a:r>
              <a:rPr kumimoji="0" lang="en-GB" sz="1100" b="1" i="0" u="none" strike="noStrike" kern="1200" cap="none" spc="0" normalizeH="0" baseline="0" noProof="0">
                <a:ln>
                  <a:noFill/>
                </a:ln>
                <a:solidFill>
                  <a:srgbClr val="141C24"/>
                </a:solidFill>
                <a:effectLst/>
                <a:uLnTx/>
                <a:uFillTx/>
                <a:latin typeface="Proximus Bold"/>
                <a:ea typeface="+mn-ea"/>
                <a:cs typeface="+mn-cs"/>
              </a:rPr>
              <a:t>) </a:t>
            </a:r>
            <a:r>
              <a:rPr kumimoji="0" lang="en-GB" sz="1100" b="0" i="0" u="none" strike="noStrike" kern="1200" cap="none" spc="0" normalizeH="0" baseline="0" noProof="0">
                <a:ln>
                  <a:noFill/>
                </a:ln>
                <a:solidFill>
                  <a:srgbClr val="141C24"/>
                </a:solidFill>
                <a:effectLst/>
                <a:uLnTx/>
                <a:uFillTx/>
                <a:latin typeface="Proximus Bold"/>
                <a:ea typeface="+mn-ea"/>
                <a:cs typeface="+mn-cs"/>
              </a:rPr>
              <a:t>with a scale up of the </a:t>
            </a:r>
            <a:r>
              <a:rPr kumimoji="0" lang="en-GB" sz="1100" b="1" i="0" u="none" strike="noStrike" kern="1200" cap="none" spc="0" normalizeH="0" baseline="0" noProof="0">
                <a:ln>
                  <a:noFill/>
                </a:ln>
                <a:solidFill>
                  <a:srgbClr val="141C24"/>
                </a:solidFill>
                <a:effectLst/>
                <a:uLnTx/>
                <a:uFillTx/>
                <a:latin typeface="Proximus Bold"/>
                <a:ea typeface="+mn-ea"/>
                <a:cs typeface="+mn-cs"/>
              </a:rPr>
              <a:t>interfaces to 100G.</a:t>
            </a:r>
            <a:br>
              <a:rPr kumimoji="0" lang="en-GB" sz="1100" b="1"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next generation </a:t>
            </a:r>
            <a:r>
              <a:rPr kumimoji="0" lang="en-GB" sz="1100" b="0" i="0" u="none" strike="noStrike" kern="1200" cap="none" spc="0" normalizeH="0" baseline="0" noProof="0">
                <a:ln>
                  <a:noFill/>
                </a:ln>
                <a:solidFill>
                  <a:srgbClr val="141C24"/>
                </a:solidFill>
                <a:effectLst/>
                <a:uLnTx/>
                <a:uFillTx/>
                <a:latin typeface="Proximus Bold"/>
                <a:ea typeface="+mn-ea"/>
                <a:cs typeface="+mn-cs"/>
              </a:rPr>
              <a:t>supporting </a:t>
            </a:r>
            <a:r>
              <a:rPr kumimoji="0" lang="en-GB" sz="1100" b="1" i="0" u="none" strike="noStrike" kern="1200" cap="none" spc="0" normalizeH="0" baseline="0" noProof="0">
                <a:ln>
                  <a:noFill/>
                </a:ln>
                <a:solidFill>
                  <a:srgbClr val="141C24"/>
                </a:solidFill>
                <a:effectLst/>
                <a:uLnTx/>
                <a:uFillTx/>
                <a:latin typeface="Proximus Bold"/>
                <a:ea typeface="+mn-ea"/>
                <a:cs typeface="+mn-cs"/>
              </a:rPr>
              <a:t>50G/50G </a:t>
            </a:r>
            <a:r>
              <a:rPr kumimoji="0" lang="en-GB" sz="1100" b="0" i="0" u="none" strike="noStrike" kern="1200" cap="none" spc="0" normalizeH="0" baseline="0" noProof="0">
                <a:ln>
                  <a:noFill/>
                </a:ln>
                <a:solidFill>
                  <a:srgbClr val="141C24"/>
                </a:solidFill>
                <a:effectLst/>
                <a:uLnTx/>
                <a:uFillTx/>
                <a:latin typeface="Proximus Bold"/>
                <a:ea typeface="+mn-ea"/>
                <a:cs typeface="+mn-cs"/>
              </a:rPr>
              <a:t>is expected to be needed </a:t>
            </a:r>
            <a:r>
              <a:rPr kumimoji="0" lang="en-GB" sz="1100" b="1" i="0" u="none" strike="noStrike" kern="1200" cap="none" spc="0" normalizeH="0" baseline="0" noProof="0">
                <a:ln>
                  <a:noFill/>
                </a:ln>
                <a:solidFill>
                  <a:srgbClr val="141C24"/>
                </a:solidFill>
                <a:effectLst/>
                <a:uLnTx/>
                <a:uFillTx/>
                <a:latin typeface="Proximus Bold"/>
                <a:ea typeface="+mn-ea"/>
                <a:cs typeface="+mn-cs"/>
              </a:rPr>
              <a:t>by 2033. </a:t>
            </a:r>
            <a:br>
              <a:rPr kumimoji="0" lang="en-GB" sz="1100" b="1" i="0" u="none" strike="noStrike" kern="1200" cap="none" spc="0" normalizeH="0" baseline="0" noProof="0">
                <a:ln>
                  <a:noFill/>
                </a:ln>
                <a:solidFill>
                  <a:srgbClr val="141C24"/>
                </a:solidFill>
                <a:effectLst/>
                <a:uLnTx/>
                <a:uFillTx/>
                <a:latin typeface="Proximus Bold"/>
                <a:ea typeface="+mn-ea"/>
                <a:cs typeface="+mn-cs"/>
              </a:rPr>
            </a:br>
            <a:r>
              <a:rPr kumimoji="0" lang="en-GB" sz="1100" b="0" i="0" u="none" strike="noStrike" kern="1200" cap="none" spc="0" normalizeH="0" baseline="0" noProof="0">
                <a:ln>
                  <a:noFill/>
                </a:ln>
                <a:solidFill>
                  <a:srgbClr val="141C24"/>
                </a:solidFill>
                <a:effectLst/>
                <a:uLnTx/>
                <a:uFillTx/>
                <a:latin typeface="Proximus Bold"/>
                <a:ea typeface="+mn-ea"/>
                <a:cs typeface="+mn-cs"/>
              </a:rPr>
              <a:t>To pave the way, we need to </a:t>
            </a:r>
            <a:r>
              <a:rPr kumimoji="0" lang="en-GB" sz="1100" b="1" i="0" u="none" strike="noStrike" kern="1200" cap="none" spc="0" normalizeH="0" baseline="0" noProof="0">
                <a:ln>
                  <a:noFill/>
                </a:ln>
                <a:solidFill>
                  <a:srgbClr val="141C24"/>
                </a:solidFill>
                <a:effectLst/>
                <a:uLnTx/>
                <a:uFillTx/>
                <a:latin typeface="Proximus Bold"/>
                <a:ea typeface="+mn-ea"/>
                <a:cs typeface="+mn-cs"/>
              </a:rPr>
              <a:t>completely review </a:t>
            </a:r>
            <a:r>
              <a:rPr kumimoji="0" lang="en-GB" sz="1100" b="0" i="0" u="none" strike="noStrike" kern="1200" cap="none" spc="0" normalizeH="0" baseline="0" noProof="0">
                <a:ln>
                  <a:noFill/>
                </a:ln>
                <a:solidFill>
                  <a:srgbClr val="141C24"/>
                </a:solidFill>
                <a:effectLst/>
                <a:uLnTx/>
                <a:uFillTx/>
                <a:latin typeface="Proximus Bold"/>
                <a:ea typeface="+mn-ea"/>
                <a:cs typeface="+mn-cs"/>
              </a:rPr>
              <a:t>the </a:t>
            </a:r>
            <a:r>
              <a:rPr kumimoji="0" lang="en-GB" sz="1100" b="1" i="0" u="none" strike="noStrike" kern="1200" cap="none" spc="0" normalizeH="0" baseline="0" noProof="0">
                <a:ln>
                  <a:noFill/>
                </a:ln>
                <a:solidFill>
                  <a:srgbClr val="141C24"/>
                </a:solidFill>
                <a:effectLst/>
                <a:uLnTx/>
                <a:uFillTx/>
                <a:latin typeface="Proximus Bold"/>
                <a:ea typeface="+mn-ea"/>
                <a:cs typeface="+mn-cs"/>
              </a:rPr>
              <a:t>IT stack </a:t>
            </a:r>
            <a:r>
              <a:rPr kumimoji="0" lang="en-GB" sz="1100" b="0" i="0" u="none" strike="noStrike" kern="1200" cap="none" spc="0" normalizeH="0" baseline="0" noProof="0">
                <a:ln>
                  <a:noFill/>
                </a:ln>
                <a:solidFill>
                  <a:srgbClr val="141C24"/>
                </a:solidFill>
                <a:effectLst/>
                <a:uLnTx/>
                <a:uFillTx/>
                <a:latin typeface="Proximus Bold"/>
                <a:ea typeface="+mn-ea"/>
                <a:cs typeface="+mn-cs"/>
              </a:rPr>
              <a:t>to support the </a:t>
            </a:r>
            <a:r>
              <a:rPr kumimoji="0" lang="en-GB" sz="1100" b="1" i="0" u="none" strike="noStrike" kern="1200" cap="none" spc="0" normalizeH="0" baseline="0" noProof="0">
                <a:ln>
                  <a:noFill/>
                </a:ln>
                <a:solidFill>
                  <a:srgbClr val="141C24"/>
                </a:solidFill>
                <a:effectLst/>
                <a:uLnTx/>
                <a:uFillTx/>
                <a:latin typeface="Proximus Bold"/>
                <a:ea typeface="+mn-ea"/>
                <a:cs typeface="+mn-cs"/>
              </a:rPr>
              <a:t>next OSS generation , </a:t>
            </a:r>
            <a:r>
              <a:rPr kumimoji="0" lang="en-GB" sz="1100" b="0" i="0" u="none" strike="noStrike" kern="1200" cap="none" spc="0" normalizeH="0" baseline="0" noProof="0">
                <a:ln>
                  <a:noFill/>
                </a:ln>
                <a:solidFill>
                  <a:srgbClr val="141C24"/>
                </a:solidFill>
                <a:effectLst/>
                <a:uLnTx/>
                <a:uFillTx/>
                <a:latin typeface="Proximus Bold"/>
                <a:ea typeface="+mn-ea"/>
                <a:cs typeface="+mn-cs"/>
              </a:rPr>
              <a:t>being </a:t>
            </a:r>
            <a:r>
              <a:rPr kumimoji="0" lang="en-GB" sz="1100" b="1" i="0" u="none" strike="noStrike" kern="1200" cap="none" spc="0" normalizeH="0" baseline="0" noProof="0" err="1">
                <a:ln>
                  <a:noFill/>
                </a:ln>
                <a:solidFill>
                  <a:srgbClr val="141C24"/>
                </a:solidFill>
                <a:effectLst/>
                <a:uLnTx/>
                <a:uFillTx/>
                <a:latin typeface="Proximus Bold"/>
                <a:ea typeface="+mn-ea"/>
                <a:cs typeface="+mn-cs"/>
              </a:rPr>
              <a:t>NetCONfYang</a:t>
            </a:r>
            <a:r>
              <a:rPr kumimoji="0" lang="en-GB" sz="1100" b="1" i="0" u="none" strike="noStrike" kern="1200" cap="none" spc="0" normalizeH="0" baseline="0" noProof="0">
                <a:ln>
                  <a:noFill/>
                </a:ln>
                <a:solidFill>
                  <a:srgbClr val="141C24"/>
                </a:solidFill>
                <a:effectLst/>
                <a:uLnTx/>
                <a:uFillTx/>
                <a:latin typeface="Proximus Bold"/>
                <a:ea typeface="+mn-ea"/>
                <a:cs typeface="+mn-cs"/>
              </a:rPr>
              <a:t> as Altiplano.</a:t>
            </a:r>
            <a:endParaRPr kumimoji="0" lang="en-GB" sz="1100" b="1" i="0" u="none" strike="noStrike" kern="1200" cap="none" spc="0" normalizeH="0" baseline="0" noProof="0">
              <a:ln>
                <a:noFill/>
              </a:ln>
              <a:solidFill>
                <a:prstClr val="black"/>
              </a:solidFill>
              <a:effectLst/>
              <a:uLnTx/>
              <a:uFillTx/>
              <a:latin typeface="Proximus Bold"/>
              <a:ea typeface="+mn-ea"/>
              <a:cs typeface="+mn-cs"/>
            </a:endParaRPr>
          </a:p>
          <a:p>
            <a:pPr>
              <a:lnSpc>
                <a:spcPct val="107000"/>
              </a:lnSpc>
              <a:spcAft>
                <a:spcPts val="800"/>
              </a:spcAft>
            </a:pPr>
            <a:endParaRPr lang="en-BE">
              <a:solidFill>
                <a:srgbClr val="000000"/>
              </a:solidFill>
            </a:endParaRPr>
          </a:p>
        </p:txBody>
      </p:sp>
      <p:sp>
        <p:nvSpPr>
          <p:cNvPr id="4" name="Slide Number Placeholder 3">
            <a:extLst>
              <a:ext uri="{FF2B5EF4-FFF2-40B4-BE49-F238E27FC236}">
                <a16:creationId xmlns:a16="http://schemas.microsoft.com/office/drawing/2014/main" id="{BFEA84C6-6407-BD72-733F-DAB5004FEDBB}"/>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7192551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PATRICK</a:t>
            </a:r>
          </a:p>
          <a:p>
            <a:pPr marL="0" marR="0" lvl="0" indent="0" algn="l" defTabSz="411480" rtl="0" eaLnBrk="1" fontAlgn="auto" latinLnBrk="0" hangingPunct="1">
              <a:lnSpc>
                <a:spcPct val="100000"/>
              </a:lnSpc>
              <a:spcBef>
                <a:spcPts val="0"/>
              </a:spcBef>
              <a:spcAft>
                <a:spcPts val="0"/>
              </a:spcAft>
              <a:buClrTx/>
              <a:buSzTx/>
              <a:buFontTx/>
              <a:buNone/>
              <a:tabLst/>
              <a:defRPr/>
            </a:pPr>
            <a:r>
              <a:rPr lang="en-US" sz="700" b="0" u="none" dirty="0">
                <a:solidFill>
                  <a:schemeClr val="accent6"/>
                </a:solidFill>
              </a:rPr>
              <a:t>(on </a:t>
            </a:r>
            <a:r>
              <a:rPr lang="en-US" sz="700" b="0" u="none" dirty="0" err="1">
                <a:solidFill>
                  <a:schemeClr val="accent6"/>
                </a:solidFill>
              </a:rPr>
              <a:t>regardera</a:t>
            </a:r>
            <a:r>
              <a:rPr lang="en-US" sz="700" b="0" u="none" dirty="0">
                <a:solidFill>
                  <a:schemeClr val="accent6"/>
                </a:solidFill>
              </a:rPr>
              <a:t> </a:t>
            </a:r>
            <a:r>
              <a:rPr lang="en-US" sz="700" b="0" u="none" dirty="0" err="1">
                <a:solidFill>
                  <a:schemeClr val="accent6"/>
                </a:solidFill>
              </a:rPr>
              <a:t>vos</a:t>
            </a:r>
            <a:r>
              <a:rPr lang="en-US" sz="700" b="0" u="none" dirty="0">
                <a:solidFill>
                  <a:schemeClr val="accent6"/>
                </a:solidFill>
              </a:rPr>
              <a:t> </a:t>
            </a:r>
            <a:r>
              <a:rPr lang="en-US" sz="700" b="0" u="none" dirty="0" err="1">
                <a:solidFill>
                  <a:schemeClr val="accent6"/>
                </a:solidFill>
              </a:rPr>
              <a:t>réponses</a:t>
            </a:r>
            <a:r>
              <a:rPr lang="en-US" sz="700" b="0" u="none" dirty="0">
                <a:solidFill>
                  <a:schemeClr val="accent6"/>
                </a:solidFill>
              </a:rPr>
              <a:t> à la fin du slide </a:t>
            </a:r>
            <a:r>
              <a:rPr lang="en-US" sz="700" b="0" u="none" dirty="0" err="1">
                <a:solidFill>
                  <a:schemeClr val="accent6"/>
                </a:solidFill>
              </a:rPr>
              <a:t>suivant</a:t>
            </a:r>
            <a:r>
              <a:rPr lang="en-US" sz="700" b="0" u="none" dirty="0">
                <a:solidFill>
                  <a:schemeClr val="accent6"/>
                </a:solidFill>
              </a:rPr>
              <a:t> (Patrick </a:t>
            </a:r>
            <a:r>
              <a:rPr lang="en-US" sz="700" b="0" u="none" dirty="0" err="1">
                <a:solidFill>
                  <a:schemeClr val="accent6"/>
                </a:solidFill>
              </a:rPr>
              <a:t>regarde</a:t>
            </a:r>
            <a:r>
              <a:rPr lang="en-US" sz="700" b="0" u="none" dirty="0">
                <a:solidFill>
                  <a:schemeClr val="accent6"/>
                </a:solidFill>
              </a:rPr>
              <a:t> sur </a:t>
            </a:r>
            <a:r>
              <a:rPr lang="en-US" sz="700" b="0" u="none" dirty="0" err="1">
                <a:solidFill>
                  <a:schemeClr val="accent6"/>
                </a:solidFill>
              </a:rPr>
              <a:t>écran</a:t>
            </a:r>
            <a:r>
              <a:rPr lang="en-US" sz="700" b="0" u="none" dirty="0">
                <a:solidFill>
                  <a:schemeClr val="accent6"/>
                </a:solidFill>
              </a:rPr>
              <a:t> de </a:t>
            </a:r>
            <a:r>
              <a:rPr lang="en-US" sz="700" b="0" u="none" dirty="0" err="1">
                <a:solidFill>
                  <a:schemeClr val="accent6"/>
                </a:solidFill>
              </a:rPr>
              <a:t>contrôle</a:t>
            </a:r>
            <a:r>
              <a:rPr lang="en-US" sz="700" b="0" u="none" dirty="0">
                <a:solidFill>
                  <a:schemeClr val="accent6"/>
                </a:solidFill>
              </a:rPr>
              <a:t>)</a:t>
            </a:r>
            <a:endParaRPr lang="en-BE" sz="700" b="0" u="none" dirty="0">
              <a:solidFill>
                <a:schemeClr val="accent6"/>
              </a:solidFill>
            </a:endParaRPr>
          </a:p>
          <a:p>
            <a:endParaRPr lang="fr-BE" b="1" u="sng"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45</a:t>
            </a:fld>
            <a:endParaRPr lang="en-US"/>
          </a:p>
        </p:txBody>
      </p:sp>
    </p:spTree>
    <p:extLst>
      <p:ext uri="{BB962C8B-B14F-4D97-AF65-F5344CB8AC3E}">
        <p14:creationId xmlns:p14="http://schemas.microsoft.com/office/powerpoint/2010/main" val="1299844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EE06B-B827-CDA3-8313-83B959A574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DEAD19-5C46-98C4-F1DC-68CF565CB6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25BB1B-84A9-5ABD-62DC-D37DF1DF22E0}"/>
              </a:ext>
            </a:extLst>
          </p:cNvPr>
          <p:cNvSpPr>
            <a:spLocks noGrp="1"/>
          </p:cNvSpPr>
          <p:nvPr>
            <p:ph type="body" idx="1"/>
          </p:nvPr>
        </p:nvSpPr>
        <p:spPr/>
        <p:txBody>
          <a:bodyPr/>
          <a:lstStyle/>
          <a:p>
            <a:pPr>
              <a:lnSpc>
                <a:spcPct val="107000"/>
              </a:lnSpc>
              <a:spcAft>
                <a:spcPts val="800"/>
              </a:spcAft>
            </a:pPr>
            <a:r>
              <a:rPr lang="en-BE" sz="1100" b="1" u="sng" dirty="0">
                <a:latin typeface="Proximus Bold"/>
              </a:rPr>
              <a:t>PATRICK</a:t>
            </a:r>
            <a:r>
              <a:rPr lang="en-US" sz="1100" b="1" u="sng" dirty="0">
                <a:latin typeface="Proximus Bold"/>
              </a:rPr>
              <a:t> ( + à la fin du slide </a:t>
            </a:r>
            <a:r>
              <a:rPr lang="en-US" sz="1100" b="1" u="sng" dirty="0" err="1">
                <a:latin typeface="Proximus Bold"/>
              </a:rPr>
              <a:t>regarder</a:t>
            </a:r>
            <a:r>
              <a:rPr lang="en-US" sz="1100" b="1" u="sng" dirty="0">
                <a:latin typeface="Proximus Bold"/>
              </a:rPr>
              <a:t> </a:t>
            </a:r>
            <a:r>
              <a:rPr lang="en-US" sz="1100" b="1" u="sng" dirty="0" err="1">
                <a:latin typeface="Proximus Bold"/>
              </a:rPr>
              <a:t>en</a:t>
            </a:r>
            <a:r>
              <a:rPr lang="en-US" sz="1100" b="1" u="sng" dirty="0">
                <a:latin typeface="Proximus Bold"/>
              </a:rPr>
              <a:t> </a:t>
            </a:r>
            <a:r>
              <a:rPr lang="en-US" sz="1100" b="1" u="sng" dirty="0" err="1">
                <a:latin typeface="Proximus Bold"/>
              </a:rPr>
              <a:t>Slido</a:t>
            </a:r>
            <a:r>
              <a:rPr lang="en-US" sz="1100" b="1" u="sng" dirty="0">
                <a:latin typeface="Proximus Bold"/>
              </a:rPr>
              <a:t> les </a:t>
            </a:r>
            <a:r>
              <a:rPr lang="en-US" sz="1100" b="1" u="sng" dirty="0" err="1">
                <a:latin typeface="Proximus Bold"/>
              </a:rPr>
              <a:t>réponses</a:t>
            </a:r>
            <a:r>
              <a:rPr lang="en-US" sz="1100" b="1" u="sng" dirty="0">
                <a:latin typeface="Proximus Bold"/>
              </a:rPr>
              <a:t> des gens)</a:t>
            </a:r>
            <a:endParaRPr lang="en-US" sz="1100" u="sng" dirty="0">
              <a:solidFill>
                <a:srgbClr val="000000"/>
              </a:solidFill>
            </a:endParaRPr>
          </a:p>
          <a:p>
            <a:pPr marL="434340" lvl="1" indent="-228600">
              <a:buFont typeface="Arial" panose="020B0604020202020204" pitchFamily="34" charset="0"/>
              <a:buAutoNum type="arabicPeriod"/>
            </a:pPr>
            <a:r>
              <a:rPr lang="en-GB" sz="1100" b="0" dirty="0">
                <a:solidFill>
                  <a:srgbClr val="141C24"/>
                </a:solidFill>
                <a:latin typeface="Proximus Bold"/>
              </a:rPr>
              <a:t>With NBU architects and DTI, we are </a:t>
            </a:r>
            <a:r>
              <a:rPr lang="en-GB" sz="1100" b="1" dirty="0">
                <a:solidFill>
                  <a:srgbClr val="141C24"/>
                </a:solidFill>
                <a:latin typeface="Proximus Bold"/>
              </a:rPr>
              <a:t>finalizing the target architecture.</a:t>
            </a:r>
            <a:br>
              <a:rPr lang="en-GB" sz="1100" b="1" dirty="0">
                <a:solidFill>
                  <a:srgbClr val="141C24"/>
                </a:solidFill>
                <a:latin typeface="Proximus Bold"/>
              </a:rPr>
            </a:br>
            <a:r>
              <a:rPr lang="en-GB" sz="1100" b="0" dirty="0">
                <a:solidFill>
                  <a:srgbClr val="141C24"/>
                </a:solidFill>
                <a:latin typeface="Proximus Bold"/>
              </a:rPr>
              <a:t>We launch an RFQ in May 2025 for the new DWDM backbone. </a:t>
            </a:r>
            <a:r>
              <a:rPr lang="en-GB" sz="1100" b="1" dirty="0">
                <a:solidFill>
                  <a:srgbClr val="141C24"/>
                </a:solidFill>
                <a:latin typeface="Proximus Bold"/>
              </a:rPr>
              <a:t>NEURON </a:t>
            </a:r>
            <a:r>
              <a:rPr lang="en-US" sz="1100" b="0" dirty="0">
                <a:solidFill>
                  <a:srgbClr val="141C24"/>
                </a:solidFill>
                <a:latin typeface="Proximus Bold"/>
              </a:rPr>
              <a:t>Next Enhanced, Universal &amp; Reliable Optical Network​.</a:t>
            </a:r>
            <a:br>
              <a:rPr lang="en-US" sz="1100" b="0" dirty="0">
                <a:solidFill>
                  <a:srgbClr val="141C24"/>
                </a:solidFill>
                <a:latin typeface="Proximus Bold"/>
              </a:rPr>
            </a:br>
            <a:r>
              <a:rPr lang="en-US" sz="1100" b="0" dirty="0">
                <a:solidFill>
                  <a:srgbClr val="141C24"/>
                </a:solidFill>
                <a:latin typeface="Proximus Bold"/>
              </a:rPr>
              <a:t>We select the supplier by End 2025 and start a Field Trial in 1Q2026.</a:t>
            </a:r>
            <a:br>
              <a:rPr lang="en-US" sz="1100" b="0" dirty="0">
                <a:solidFill>
                  <a:srgbClr val="141C24"/>
                </a:solidFill>
                <a:latin typeface="Proximus Bold"/>
              </a:rPr>
            </a:br>
            <a:r>
              <a:rPr lang="en-US" sz="1100" b="0" dirty="0">
                <a:solidFill>
                  <a:srgbClr val="141C24"/>
                </a:solidFill>
                <a:latin typeface="Proximus Bold"/>
              </a:rPr>
              <a:t>Then it starts the 4Y-operational roll-out in hundreds of nodes.</a:t>
            </a:r>
          </a:p>
          <a:p>
            <a:pPr marL="434340" lvl="1" indent="-228600">
              <a:buFont typeface="Arial" panose="020B0604020202020204" pitchFamily="34" charset="0"/>
              <a:buAutoNum type="arabicPeriod"/>
            </a:pPr>
            <a:r>
              <a:rPr lang="en-US" sz="1100" b="0" dirty="0">
                <a:solidFill>
                  <a:srgbClr val="141C24"/>
                </a:solidFill>
                <a:latin typeface="Proximus Bold"/>
              </a:rPr>
              <a:t>​We keep focusing on </a:t>
            </a:r>
            <a:r>
              <a:rPr lang="en-US" sz="1100" b="1" dirty="0">
                <a:solidFill>
                  <a:srgbClr val="141C24"/>
                </a:solidFill>
                <a:latin typeface="Proximus Bold"/>
              </a:rPr>
              <a:t>Zero Saturation</a:t>
            </a:r>
            <a:r>
              <a:rPr lang="en-US" sz="1100" b="0" dirty="0">
                <a:solidFill>
                  <a:srgbClr val="141C24"/>
                </a:solidFill>
                <a:latin typeface="Proximus Bold"/>
              </a:rPr>
              <a:t>, on </a:t>
            </a:r>
            <a:r>
              <a:rPr lang="en-US" sz="1100" b="1" dirty="0">
                <a:solidFill>
                  <a:srgbClr val="141C24"/>
                </a:solidFill>
                <a:latin typeface="Proximus Bold"/>
              </a:rPr>
              <a:t>High Resilience </a:t>
            </a:r>
            <a:r>
              <a:rPr lang="en-US" sz="1100" b="0" dirty="0">
                <a:solidFill>
                  <a:srgbClr val="141C24"/>
                </a:solidFill>
                <a:latin typeface="Proximus Bold"/>
              </a:rPr>
              <a:t>and to perform the </a:t>
            </a:r>
            <a:r>
              <a:rPr lang="en-US" sz="1100" b="1" dirty="0">
                <a:solidFill>
                  <a:srgbClr val="141C24"/>
                </a:solidFill>
                <a:latin typeface="Proximus Bold"/>
              </a:rPr>
              <a:t>DRS plans </a:t>
            </a:r>
            <a:r>
              <a:rPr lang="en-US" sz="1100" b="0" dirty="0">
                <a:solidFill>
                  <a:srgbClr val="141C24"/>
                </a:solidFill>
                <a:latin typeface="Proximus Bold"/>
              </a:rPr>
              <a:t>on all the layers </a:t>
            </a:r>
          </a:p>
          <a:p>
            <a:pPr marL="434340" lvl="1" indent="-228600">
              <a:buFont typeface="Arial" panose="020B0604020202020204" pitchFamily="34" charset="0"/>
              <a:buAutoNum type="arabicPeriod"/>
            </a:pPr>
            <a:r>
              <a:rPr lang="en-US" sz="1100" b="0" dirty="0">
                <a:solidFill>
                  <a:srgbClr val="141C24"/>
                </a:solidFill>
                <a:latin typeface="Proximus Bold"/>
              </a:rPr>
              <a:t>To </a:t>
            </a:r>
            <a:r>
              <a:rPr lang="en-US" sz="1100" b="1" dirty="0">
                <a:solidFill>
                  <a:srgbClr val="141C24"/>
                </a:solidFill>
                <a:latin typeface="Proximus Bold"/>
              </a:rPr>
              <a:t>pave to way </a:t>
            </a:r>
            <a:r>
              <a:rPr lang="en-US" sz="1100" b="0" dirty="0">
                <a:solidFill>
                  <a:srgbClr val="141C24"/>
                </a:solidFill>
                <a:latin typeface="Proximus Bold"/>
              </a:rPr>
              <a:t>to the future,, we will </a:t>
            </a:r>
            <a:r>
              <a:rPr lang="en-US" sz="1100" b="1" dirty="0">
                <a:solidFill>
                  <a:srgbClr val="141C24"/>
                </a:solidFill>
                <a:latin typeface="Proximus Bold"/>
              </a:rPr>
              <a:t>implement in 2025 </a:t>
            </a:r>
            <a:r>
              <a:rPr lang="en-US" sz="1100" b="0" dirty="0">
                <a:solidFill>
                  <a:srgbClr val="141C24"/>
                </a:solidFill>
                <a:latin typeface="Proximus Bold"/>
              </a:rPr>
              <a:t>the first </a:t>
            </a:r>
            <a:r>
              <a:rPr lang="en-US" sz="1100" b="1" dirty="0">
                <a:solidFill>
                  <a:srgbClr val="141C24"/>
                </a:solidFill>
                <a:latin typeface="Proximus Bold"/>
              </a:rPr>
              <a:t>ultra speed fiber services </a:t>
            </a:r>
            <a:r>
              <a:rPr lang="en-US" sz="1100" b="0" dirty="0">
                <a:solidFill>
                  <a:srgbClr val="141C24"/>
                </a:solidFill>
                <a:latin typeface="Proximus Bold"/>
              </a:rPr>
              <a:t>on our OLT,  </a:t>
            </a:r>
            <a:br>
              <a:rPr lang="en-US" sz="1100" b="0" dirty="0">
                <a:solidFill>
                  <a:srgbClr val="141C24"/>
                </a:solidFill>
                <a:latin typeface="Proximus Bold"/>
              </a:rPr>
            </a:br>
            <a:r>
              <a:rPr lang="en-US" sz="1100" b="0" dirty="0">
                <a:solidFill>
                  <a:srgbClr val="141C24"/>
                </a:solidFill>
                <a:latin typeface="Proximus Bold"/>
              </a:rPr>
              <a:t>by using the next OSS generation in live (Altiplano). This is instrumental to start development the </a:t>
            </a:r>
            <a:r>
              <a:rPr lang="en-US" sz="1100" b="1" dirty="0">
                <a:solidFill>
                  <a:srgbClr val="141C24"/>
                </a:solidFill>
                <a:latin typeface="Proximus Bold"/>
              </a:rPr>
              <a:t>brand new IT Stack </a:t>
            </a:r>
            <a:r>
              <a:rPr lang="en-US" sz="1100" b="0" dirty="0">
                <a:solidFill>
                  <a:srgbClr val="141C24"/>
                </a:solidFill>
                <a:latin typeface="Proximus Bold"/>
              </a:rPr>
              <a:t>in 2026.</a:t>
            </a:r>
          </a:p>
          <a:p>
            <a:pPr marL="205740" lvl="1" indent="0">
              <a:buFont typeface="Arial" panose="020B0604020202020204" pitchFamily="34" charset="0"/>
              <a:buNone/>
            </a:pPr>
            <a:r>
              <a:rPr lang="en-US" sz="1100" b="1" dirty="0">
                <a:solidFill>
                  <a:srgbClr val="141C24"/>
                </a:solidFill>
                <a:latin typeface="Proximus Bold"/>
              </a:rPr>
              <a:t>N</a:t>
            </a:r>
            <a:r>
              <a:rPr lang="en-US" sz="1100" b="0" dirty="0">
                <a:solidFill>
                  <a:srgbClr val="141C24"/>
                </a:solidFill>
                <a:latin typeface="Proximus Bold"/>
              </a:rPr>
              <a:t>ext generation optical networks​</a:t>
            </a:r>
            <a:br>
              <a:rPr lang="en-US" sz="1100" b="0" dirty="0">
                <a:solidFill>
                  <a:srgbClr val="141C24"/>
                </a:solidFill>
                <a:latin typeface="Proximus Bold"/>
              </a:rPr>
            </a:br>
            <a:r>
              <a:rPr lang="en-US" sz="1100" b="1" dirty="0">
                <a:solidFill>
                  <a:srgbClr val="141C24"/>
                </a:solidFill>
                <a:latin typeface="Proximus Bold"/>
              </a:rPr>
              <a:t>E</a:t>
            </a:r>
            <a:r>
              <a:rPr lang="en-US" sz="1100" b="0" dirty="0">
                <a:solidFill>
                  <a:srgbClr val="141C24"/>
                </a:solidFill>
                <a:latin typeface="Proximus Bold"/>
              </a:rPr>
              <a:t>nhanced  (better topology, flexibility and ready for new DWDM Bands)​</a:t>
            </a:r>
            <a:br>
              <a:rPr lang="en-US" sz="1100" b="0" dirty="0">
                <a:solidFill>
                  <a:srgbClr val="141C24"/>
                </a:solidFill>
                <a:latin typeface="Proximus Bold"/>
              </a:rPr>
            </a:br>
            <a:r>
              <a:rPr lang="en-US" sz="1100" b="1" dirty="0">
                <a:solidFill>
                  <a:srgbClr val="141C24"/>
                </a:solidFill>
                <a:latin typeface="Proximus Bold"/>
              </a:rPr>
              <a:t>U</a:t>
            </a:r>
            <a:r>
              <a:rPr lang="en-US" sz="1100" b="0" dirty="0">
                <a:solidFill>
                  <a:srgbClr val="141C24"/>
                </a:solidFill>
                <a:latin typeface="Proximus Bold"/>
              </a:rPr>
              <a:t>niversal  (all type and speed of traffic can be carried. Simplification of the layers)​</a:t>
            </a:r>
            <a:br>
              <a:rPr lang="en-US" sz="1100" b="0" dirty="0">
                <a:solidFill>
                  <a:srgbClr val="141C24"/>
                </a:solidFill>
                <a:latin typeface="Proximus Bold"/>
              </a:rPr>
            </a:br>
            <a:r>
              <a:rPr lang="en-US" sz="1100" b="1" dirty="0">
                <a:solidFill>
                  <a:srgbClr val="141C24"/>
                </a:solidFill>
                <a:latin typeface="Proximus Bold"/>
              </a:rPr>
              <a:t>R</a:t>
            </a:r>
            <a:r>
              <a:rPr lang="en-US" sz="1100" b="0" dirty="0">
                <a:solidFill>
                  <a:srgbClr val="141C24"/>
                </a:solidFill>
                <a:latin typeface="Proximus Bold"/>
              </a:rPr>
              <a:t>eliable  (topology improvement, removal of SPOF, increase of traffic protection and restoration)​</a:t>
            </a:r>
            <a:br>
              <a:rPr lang="en-US" sz="1100" b="0" dirty="0">
                <a:solidFill>
                  <a:srgbClr val="141C24"/>
                </a:solidFill>
                <a:latin typeface="Proximus Bold"/>
              </a:rPr>
            </a:br>
            <a:r>
              <a:rPr lang="en-US" sz="1100" b="1" dirty="0">
                <a:solidFill>
                  <a:srgbClr val="141C24"/>
                </a:solidFill>
                <a:latin typeface="Proximus Bold"/>
              </a:rPr>
              <a:t>O</a:t>
            </a:r>
            <a:r>
              <a:rPr lang="en-US" sz="1100" b="0" dirty="0">
                <a:solidFill>
                  <a:srgbClr val="141C24"/>
                </a:solidFill>
                <a:latin typeface="Proximus Bold"/>
              </a:rPr>
              <a:t>ptical transport </a:t>
            </a:r>
            <a:br>
              <a:rPr lang="en-US" sz="1100" b="0" dirty="0">
                <a:solidFill>
                  <a:srgbClr val="141C24"/>
                </a:solidFill>
                <a:latin typeface="Proximus Bold"/>
              </a:rPr>
            </a:br>
            <a:r>
              <a:rPr lang="en-US" sz="1100" b="1" dirty="0">
                <a:solidFill>
                  <a:srgbClr val="141C24"/>
                </a:solidFill>
                <a:latin typeface="Proximus Bold"/>
              </a:rPr>
              <a:t>N</a:t>
            </a:r>
            <a:r>
              <a:rPr lang="en-US" sz="1100" b="0" dirty="0">
                <a:solidFill>
                  <a:srgbClr val="141C24"/>
                </a:solidFill>
                <a:latin typeface="Proximus Bold"/>
              </a:rPr>
              <a:t>etwork​</a:t>
            </a:r>
          </a:p>
          <a:p>
            <a:pPr marL="434340" lvl="1" indent="-228600">
              <a:buFont typeface="Arial" panose="020B0604020202020204" pitchFamily="34" charset="0"/>
              <a:buAutoNum type="arabicPeriod"/>
            </a:pPr>
            <a:endParaRPr lang="en-US" sz="1200" b="0" dirty="0">
              <a:solidFill>
                <a:srgbClr val="141C24"/>
              </a:solidFill>
              <a:latin typeface="Proximus Bold"/>
            </a:endParaRPr>
          </a:p>
          <a:p>
            <a:pPr marL="434340" lvl="1" indent="-228600">
              <a:buFont typeface="Arial" panose="020B0604020202020204" pitchFamily="34" charset="0"/>
              <a:buAutoNum type="arabicPeriod"/>
            </a:pPr>
            <a:endParaRPr lang="en-US" sz="1200" b="0" dirty="0">
              <a:solidFill>
                <a:srgbClr val="141C24"/>
              </a:solidFill>
              <a:latin typeface="Proximus Bold"/>
            </a:endParaRPr>
          </a:p>
          <a:p>
            <a:pPr marL="434340" lvl="1" indent="-228600">
              <a:buFont typeface="Arial" panose="020B0604020202020204" pitchFamily="34" charset="0"/>
              <a:buAutoNum type="arabicPeriod"/>
            </a:pPr>
            <a:endParaRPr lang="en-US" sz="1200" b="0" dirty="0">
              <a:solidFill>
                <a:srgbClr val="141C24"/>
              </a:solidFill>
              <a:latin typeface="Proximus Bold"/>
            </a:endParaRPr>
          </a:p>
          <a:p>
            <a:pPr marL="205740" lvl="1" indent="0">
              <a:buFont typeface="Arial" panose="020B0604020202020204" pitchFamily="34" charset="0"/>
              <a:buNone/>
            </a:pPr>
            <a:r>
              <a:rPr lang="en-US" sz="1200" b="1" dirty="0">
                <a:solidFill>
                  <a:srgbClr val="141C24"/>
                </a:solidFill>
                <a:latin typeface="Proximus Bold"/>
              </a:rPr>
              <a:t>N</a:t>
            </a:r>
            <a:r>
              <a:rPr lang="en-US" sz="1200" b="0" dirty="0">
                <a:solidFill>
                  <a:srgbClr val="141C24"/>
                </a:solidFill>
                <a:latin typeface="Proximus Bold"/>
              </a:rPr>
              <a:t>ext generation optical networks​</a:t>
            </a:r>
            <a:br>
              <a:rPr lang="en-US" sz="1200" b="0" dirty="0">
                <a:solidFill>
                  <a:srgbClr val="141C24"/>
                </a:solidFill>
                <a:latin typeface="Proximus Bold"/>
              </a:rPr>
            </a:br>
            <a:r>
              <a:rPr lang="en-US" sz="1200" b="1" dirty="0">
                <a:solidFill>
                  <a:srgbClr val="141C24"/>
                </a:solidFill>
                <a:latin typeface="Proximus Bold"/>
              </a:rPr>
              <a:t>E</a:t>
            </a:r>
            <a:r>
              <a:rPr lang="en-US" sz="1200" b="0" dirty="0">
                <a:solidFill>
                  <a:srgbClr val="141C24"/>
                </a:solidFill>
                <a:latin typeface="Proximus Bold"/>
              </a:rPr>
              <a:t>nhanced  (better topology, flexibility and ready for new DWDM Bands)​</a:t>
            </a:r>
            <a:br>
              <a:rPr lang="en-US" sz="1200" b="0" dirty="0">
                <a:solidFill>
                  <a:srgbClr val="141C24"/>
                </a:solidFill>
                <a:latin typeface="Proximus Bold"/>
              </a:rPr>
            </a:br>
            <a:r>
              <a:rPr lang="en-US" sz="1200" b="1" dirty="0">
                <a:solidFill>
                  <a:srgbClr val="141C24"/>
                </a:solidFill>
                <a:latin typeface="Proximus Bold"/>
              </a:rPr>
              <a:t>U</a:t>
            </a:r>
            <a:r>
              <a:rPr lang="en-US" sz="1200" b="0" dirty="0">
                <a:solidFill>
                  <a:srgbClr val="141C24"/>
                </a:solidFill>
                <a:latin typeface="Proximus Bold"/>
              </a:rPr>
              <a:t>niversal  (all type and speed of traffic can be carried. Simplification of the layers)​</a:t>
            </a:r>
            <a:br>
              <a:rPr lang="en-US" sz="1200" b="0" dirty="0">
                <a:solidFill>
                  <a:srgbClr val="141C24"/>
                </a:solidFill>
                <a:latin typeface="Proximus Bold"/>
              </a:rPr>
            </a:br>
            <a:r>
              <a:rPr lang="en-US" sz="1200" b="1" dirty="0">
                <a:solidFill>
                  <a:srgbClr val="141C24"/>
                </a:solidFill>
                <a:latin typeface="Proximus Bold"/>
              </a:rPr>
              <a:t>R</a:t>
            </a:r>
            <a:r>
              <a:rPr lang="en-US" sz="1200" b="0" dirty="0">
                <a:solidFill>
                  <a:srgbClr val="141C24"/>
                </a:solidFill>
                <a:latin typeface="Proximus Bold"/>
              </a:rPr>
              <a:t>eliable  (topology improvement, removal of SPOF, increase of traffic protection and restoration)​</a:t>
            </a:r>
            <a:br>
              <a:rPr lang="en-US" sz="1200" b="0" dirty="0">
                <a:solidFill>
                  <a:srgbClr val="141C24"/>
                </a:solidFill>
                <a:latin typeface="Proximus Bold"/>
              </a:rPr>
            </a:br>
            <a:r>
              <a:rPr lang="en-US" sz="1200" b="1" dirty="0">
                <a:solidFill>
                  <a:srgbClr val="141C24"/>
                </a:solidFill>
                <a:latin typeface="Proximus Bold"/>
              </a:rPr>
              <a:t>O</a:t>
            </a:r>
            <a:r>
              <a:rPr lang="en-US" sz="1200" b="0" dirty="0">
                <a:solidFill>
                  <a:srgbClr val="141C24"/>
                </a:solidFill>
                <a:latin typeface="Proximus Bold"/>
              </a:rPr>
              <a:t>ptical transport </a:t>
            </a:r>
            <a:br>
              <a:rPr lang="en-US" sz="1200" b="0" dirty="0">
                <a:solidFill>
                  <a:srgbClr val="141C24"/>
                </a:solidFill>
                <a:latin typeface="Proximus Bold"/>
              </a:rPr>
            </a:br>
            <a:r>
              <a:rPr lang="en-US" sz="1200" b="1" dirty="0">
                <a:solidFill>
                  <a:srgbClr val="141C24"/>
                </a:solidFill>
                <a:latin typeface="Proximus Bold"/>
              </a:rPr>
              <a:t>N</a:t>
            </a:r>
            <a:r>
              <a:rPr lang="en-US" sz="1200" b="0" dirty="0">
                <a:solidFill>
                  <a:srgbClr val="141C24"/>
                </a:solidFill>
                <a:latin typeface="Proximus Bold"/>
              </a:rPr>
              <a:t>etwork​</a:t>
            </a:r>
          </a:p>
        </p:txBody>
      </p:sp>
      <p:sp>
        <p:nvSpPr>
          <p:cNvPr id="4" name="Slide Number Placeholder 3">
            <a:extLst>
              <a:ext uri="{FF2B5EF4-FFF2-40B4-BE49-F238E27FC236}">
                <a16:creationId xmlns:a16="http://schemas.microsoft.com/office/drawing/2014/main" id="{7089C662-9B1D-DE89-A332-9FB3C02564FB}"/>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7141374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BB1CC-ED4A-B02B-BA7F-C8A00F26E7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0B2B3E-27E2-AD76-A03F-6016166A39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12EADD-4BFD-C96E-2E4A-5987739314F2}"/>
              </a:ext>
            </a:extLst>
          </p:cNvPr>
          <p:cNvSpPr>
            <a:spLocks noGrp="1"/>
          </p:cNvSpPr>
          <p:nvPr>
            <p:ph type="body" idx="1"/>
          </p:nvPr>
        </p:nvSpPr>
        <p:spPr/>
        <p:txBody>
          <a:bodyPr/>
          <a:lstStyle/>
          <a:p>
            <a:pPr algn="just"/>
            <a:r>
              <a:rPr lang="en-US" sz="1100" b="1" u="sng" dirty="0">
                <a:latin typeface="+mn-lt"/>
              </a:rPr>
              <a:t>LAURENT</a:t>
            </a:r>
          </a:p>
          <a:p>
            <a:pPr algn="just"/>
            <a:r>
              <a:rPr lang="en-US" sz="1100" b="0" dirty="0">
                <a:latin typeface="+mn-lt"/>
              </a:rPr>
              <a:t>We go </a:t>
            </a:r>
            <a:r>
              <a:rPr lang="en-US" sz="1100" b="0" dirty="0">
                <a:latin typeface="Proximus ExtraBold" panose="00000900000000000000" pitchFamily="2" charset="0"/>
              </a:rPr>
              <a:t>Cloud everywhere </a:t>
            </a:r>
            <a:r>
              <a:rPr lang="en-US" sz="1100" b="0" dirty="0">
                <a:latin typeface="Proximus (Body)"/>
              </a:rPr>
              <a:t>and will future proof </a:t>
            </a:r>
            <a:r>
              <a:rPr lang="en-US" sz="1100" dirty="0">
                <a:latin typeface="Proximus ExtraBold" pitchFamily="2" charset="77"/>
              </a:rPr>
              <a:t>resiliency</a:t>
            </a:r>
            <a:r>
              <a:rPr lang="en-US" sz="1100" b="0" dirty="0">
                <a:latin typeface="Proximus Light" pitchFamily="2" charset="77"/>
              </a:rPr>
              <a:t> </a:t>
            </a:r>
            <a:r>
              <a:rPr lang="en-US" sz="1100" b="0" dirty="0">
                <a:latin typeface="Proximus (Body)"/>
              </a:rPr>
              <a:t>of platforms by </a:t>
            </a:r>
            <a:r>
              <a:rPr lang="en-US" sz="1100" dirty="0">
                <a:latin typeface="Proximus ExtraBold" panose="00000900000000000000" pitchFamily="2" charset="0"/>
              </a:rPr>
              <a:t>containerizing</a:t>
            </a:r>
            <a:r>
              <a:rPr lang="en-US" sz="1100" dirty="0">
                <a:latin typeface="+mj-lt"/>
              </a:rPr>
              <a:t> </a:t>
            </a:r>
            <a:r>
              <a:rPr lang="en-US" sz="1100" b="0" dirty="0">
                <a:latin typeface="+mn-lt"/>
              </a:rPr>
              <a:t>and implementing </a:t>
            </a:r>
            <a:r>
              <a:rPr lang="en-US" sz="1100" b="0" dirty="0">
                <a:latin typeface="Proximus ExtraBold" panose="00000900000000000000" pitchFamily="2" charset="0"/>
              </a:rPr>
              <a:t>High Risk Vendor </a:t>
            </a:r>
            <a:r>
              <a:rPr lang="en-US" sz="1100" b="0" dirty="0">
                <a:latin typeface="Proximus (Body)"/>
              </a:rPr>
              <a:t>compliancy while driving </a:t>
            </a:r>
            <a:r>
              <a:rPr lang="en-US" sz="1100" b="0" dirty="0">
                <a:latin typeface="Proximus ExtraBold" panose="00000900000000000000" pitchFamily="2" charset="0"/>
              </a:rPr>
              <a:t>network exposure and</a:t>
            </a:r>
            <a:r>
              <a:rPr lang="en-US" sz="1100" dirty="0">
                <a:latin typeface="Proximus ExtraBold" panose="00000900000000000000" pitchFamily="2" charset="0"/>
              </a:rPr>
              <a:t> API’s</a:t>
            </a: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Future-proof our infrastructure by </a:t>
            </a:r>
            <a:r>
              <a:rPr lang="en-GB" sz="1100" b="1" dirty="0">
                <a:solidFill>
                  <a:srgbClr val="242424"/>
                </a:solidFill>
                <a:effectLst/>
                <a:latin typeface="Segoe UI" panose="020B0502040204020203" pitchFamily="34" charset="0"/>
                <a:ea typeface="Times New Roman" panose="02020603050405020304" pitchFamily="18" charset="0"/>
              </a:rPr>
              <a:t>containerizing platforms</a:t>
            </a:r>
            <a:r>
              <a:rPr lang="en-GB" sz="1100" dirty="0">
                <a:solidFill>
                  <a:srgbClr val="242424"/>
                </a:solidFill>
                <a:effectLst/>
                <a:latin typeface="Segoe UI" panose="020B0502040204020203" pitchFamily="34" charset="0"/>
                <a:ea typeface="Times New Roman" panose="02020603050405020304" pitchFamily="18" charset="0"/>
              </a:rPr>
              <a:t> to enhance scalability and flexibility.</a:t>
            </a:r>
            <a:endParaRPr lang="en-GB" sz="1100" dirty="0">
              <a:effectLst/>
              <a:latin typeface="Times New Roman" panose="02020603050405020304" pitchFamily="18" charset="0"/>
              <a:ea typeface="Times New Roman" panose="02020603050405020304" pitchFamily="18" charset="0"/>
            </a:endParaRP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Ensure seamless operations and </a:t>
            </a:r>
            <a:r>
              <a:rPr lang="en-GB" sz="1100" b="1" dirty="0">
                <a:solidFill>
                  <a:srgbClr val="242424"/>
                </a:solidFill>
                <a:effectLst/>
                <a:latin typeface="Segoe UI" panose="020B0502040204020203" pitchFamily="34" charset="0"/>
                <a:ea typeface="Times New Roman" panose="02020603050405020304" pitchFamily="18" charset="0"/>
              </a:rPr>
              <a:t>robust resilience</a:t>
            </a:r>
            <a:r>
              <a:rPr lang="en-GB" sz="1100" dirty="0">
                <a:solidFill>
                  <a:srgbClr val="242424"/>
                </a:solidFill>
                <a:effectLst/>
                <a:latin typeface="Segoe UI" panose="020B0502040204020203" pitchFamily="34" charset="0"/>
                <a:ea typeface="Times New Roman" panose="02020603050405020304" pitchFamily="18" charset="0"/>
              </a:rPr>
              <a:t> to maintain high service reliability.</a:t>
            </a:r>
            <a:endParaRPr lang="en-GB" sz="1100" dirty="0">
              <a:effectLst/>
              <a:latin typeface="Times New Roman" panose="02020603050405020304" pitchFamily="18" charset="0"/>
              <a:ea typeface="Times New Roman" panose="02020603050405020304" pitchFamily="18" charset="0"/>
            </a:endParaRP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Mitigate risks by strategically </a:t>
            </a:r>
            <a:r>
              <a:rPr lang="en-GB" sz="1100" b="1" dirty="0">
                <a:solidFill>
                  <a:srgbClr val="242424"/>
                </a:solidFill>
                <a:effectLst/>
                <a:latin typeface="Segoe UI" panose="020B0502040204020203" pitchFamily="34" charset="0"/>
                <a:ea typeface="Times New Roman" panose="02020603050405020304" pitchFamily="18" charset="0"/>
              </a:rPr>
              <a:t>replacing high-risk vendors</a:t>
            </a:r>
            <a:r>
              <a:rPr lang="en-GB" sz="1100" dirty="0">
                <a:solidFill>
                  <a:srgbClr val="242424"/>
                </a:solidFill>
                <a:effectLst/>
                <a:latin typeface="Segoe UI" panose="020B0502040204020203" pitchFamily="34" charset="0"/>
                <a:ea typeface="Times New Roman" panose="02020603050405020304" pitchFamily="18" charset="0"/>
              </a:rPr>
              <a:t> with reliable alternatives.</a:t>
            </a:r>
            <a:endParaRPr lang="en-GB" sz="1100" dirty="0">
              <a:effectLst/>
              <a:latin typeface="Times New Roman" panose="02020603050405020304" pitchFamily="18" charset="0"/>
              <a:ea typeface="Times New Roman" panose="02020603050405020304" pitchFamily="18" charset="0"/>
            </a:endParaRPr>
          </a:p>
          <a:p>
            <a:pPr marL="742950" marR="47625" lvl="1" indent="-285750">
              <a:spcBef>
                <a:spcPts val="375"/>
              </a:spcBef>
              <a:spcAft>
                <a:spcPts val="375"/>
              </a:spcAft>
              <a:buFont typeface="+mj-lt"/>
              <a:buAutoNum type="alphaLcPeriod"/>
            </a:pPr>
            <a:r>
              <a:rPr lang="en-GB" sz="1100" dirty="0">
                <a:solidFill>
                  <a:srgbClr val="242424"/>
                </a:solidFill>
                <a:effectLst/>
                <a:latin typeface="Segoe UI" panose="020B0502040204020203" pitchFamily="34" charset="0"/>
                <a:ea typeface="Times New Roman" panose="02020603050405020304" pitchFamily="18" charset="0"/>
              </a:rPr>
              <a:t>Drive innovation and growth by </a:t>
            </a:r>
            <a:r>
              <a:rPr lang="en-GB" sz="1100" b="1" dirty="0">
                <a:solidFill>
                  <a:srgbClr val="242424"/>
                </a:solidFill>
                <a:effectLst/>
                <a:latin typeface="Segoe UI" panose="020B0502040204020203" pitchFamily="34" charset="0"/>
                <a:ea typeface="Times New Roman" panose="02020603050405020304" pitchFamily="18" charset="0"/>
              </a:rPr>
              <a:t>launching cutting-edge products and services</a:t>
            </a:r>
            <a:r>
              <a:rPr lang="en-GB" sz="1100" dirty="0">
                <a:solidFill>
                  <a:srgbClr val="242424"/>
                </a:solidFill>
                <a:effectLst/>
                <a:latin typeface="Segoe UI" panose="020B0502040204020203" pitchFamily="34" charset="0"/>
                <a:ea typeface="Times New Roman" panose="02020603050405020304" pitchFamily="18" charset="0"/>
              </a:rPr>
              <a:t>.</a:t>
            </a:r>
            <a:endParaRPr lang="en-GB" sz="1100" dirty="0">
              <a:effectLst/>
              <a:latin typeface="Times New Roman" panose="02020603050405020304" pitchFamily="18" charset="0"/>
              <a:ea typeface="Times New Roman" panose="02020603050405020304" pitchFamily="18" charset="0"/>
            </a:endParaRPr>
          </a:p>
          <a:p>
            <a:pPr>
              <a:lnSpc>
                <a:spcPct val="107000"/>
              </a:lnSpc>
              <a:spcAft>
                <a:spcPts val="800"/>
              </a:spcAft>
            </a:pPr>
            <a:endParaRPr lang="en-GB" sz="500" dirty="0">
              <a:latin typeface="Proximus Bold"/>
            </a:endParaRPr>
          </a:p>
          <a:p>
            <a:pPr>
              <a:lnSpc>
                <a:spcPct val="107000"/>
              </a:lnSpc>
              <a:spcAft>
                <a:spcPts val="800"/>
              </a:spcAft>
            </a:pPr>
            <a:endParaRPr lang="en-BE" dirty="0"/>
          </a:p>
        </p:txBody>
      </p:sp>
      <p:sp>
        <p:nvSpPr>
          <p:cNvPr id="4" name="Slide Number Placeholder 3">
            <a:extLst>
              <a:ext uri="{FF2B5EF4-FFF2-40B4-BE49-F238E27FC236}">
                <a16:creationId xmlns:a16="http://schemas.microsoft.com/office/drawing/2014/main" id="{5BE38D75-EBD6-D000-B241-EB56182A2A1C}"/>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40737981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dirty="0"/>
              <a:t>LAURENT</a:t>
            </a: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0" u="none" dirty="0">
                <a:solidFill>
                  <a:schemeClr val="accent6"/>
                </a:solidFill>
              </a:rPr>
              <a:t>(we will look at your answers at the end of next slide)</a:t>
            </a:r>
            <a:endParaRPr lang="en-BE" sz="1100" b="0" u="none" dirty="0">
              <a:solidFill>
                <a:schemeClr val="accent6"/>
              </a:solidFill>
            </a:endParaRPr>
          </a:p>
          <a:p>
            <a:endParaRPr lang="fr-BE" sz="1100" b="1" u="sng"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48</a:t>
            </a:fld>
            <a:endParaRPr lang="en-US"/>
          </a:p>
        </p:txBody>
      </p:sp>
    </p:spTree>
    <p:extLst>
      <p:ext uri="{BB962C8B-B14F-4D97-AF65-F5344CB8AC3E}">
        <p14:creationId xmlns:p14="http://schemas.microsoft.com/office/powerpoint/2010/main" val="28248783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6341C-EC65-7C20-1790-CADE3C87D4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F16655-C05F-379D-25A9-5827C7B9DB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977C49-71E1-A213-4153-6338C784C4C4}"/>
              </a:ext>
            </a:extLst>
          </p:cNvPr>
          <p:cNvSpPr>
            <a:spLocks noGrp="1"/>
          </p:cNvSpPr>
          <p:nvPr>
            <p:ph type="body" idx="1"/>
          </p:nvPr>
        </p:nvSpPr>
        <p:spPr/>
        <p:txBody>
          <a:bodyPr/>
          <a:lstStyle/>
          <a:p>
            <a:pPr>
              <a:lnSpc>
                <a:spcPct val="107000"/>
              </a:lnSpc>
              <a:spcAft>
                <a:spcPts val="800"/>
              </a:spcAft>
            </a:pPr>
            <a:r>
              <a:rPr lang="en-GB" sz="1100" b="1" u="sng" dirty="0">
                <a:latin typeface="Proximus Bold"/>
              </a:rPr>
              <a:t>LAURENT</a:t>
            </a:r>
          </a:p>
          <a:p>
            <a:pPr>
              <a:lnSpc>
                <a:spcPct val="107000"/>
              </a:lnSpc>
              <a:spcAft>
                <a:spcPts val="800"/>
              </a:spcAft>
            </a:pPr>
            <a:r>
              <a:rPr lang="en-GB" sz="1100" dirty="0">
                <a:latin typeface="Proximus Bold"/>
              </a:rPr>
              <a:t>Mention Operational stability</a:t>
            </a:r>
          </a:p>
          <a:p>
            <a:pPr>
              <a:lnSpc>
                <a:spcPct val="107000"/>
              </a:lnSpc>
              <a:spcAft>
                <a:spcPts val="800"/>
              </a:spcAft>
            </a:pPr>
            <a:endParaRPr lang="en-GB" sz="500" dirty="0">
              <a:latin typeface="Proximus Bold"/>
            </a:endParaRPr>
          </a:p>
          <a:p>
            <a:pPr>
              <a:lnSpc>
                <a:spcPct val="107000"/>
              </a:lnSpc>
              <a:spcAft>
                <a:spcPts val="800"/>
              </a:spcAft>
            </a:pPr>
            <a:r>
              <a:rPr lang="en-GB" sz="500" dirty="0">
                <a:latin typeface="Proximus Bold"/>
              </a:rPr>
              <a:t>(+ look on </a:t>
            </a:r>
            <a:r>
              <a:rPr lang="en-GB" sz="500" dirty="0" err="1">
                <a:latin typeface="Proximus Bold"/>
              </a:rPr>
              <a:t>Slido</a:t>
            </a:r>
            <a:r>
              <a:rPr lang="en-GB" sz="500" dirty="0">
                <a:latin typeface="Proximus Bold"/>
              </a:rPr>
              <a:t> answers of people)</a:t>
            </a:r>
          </a:p>
          <a:p>
            <a:pPr>
              <a:lnSpc>
                <a:spcPct val="107000"/>
              </a:lnSpc>
              <a:spcAft>
                <a:spcPts val="800"/>
              </a:spcAft>
            </a:pPr>
            <a:endParaRPr lang="en-BE" dirty="0"/>
          </a:p>
        </p:txBody>
      </p:sp>
      <p:sp>
        <p:nvSpPr>
          <p:cNvPr id="4" name="Slide Number Placeholder 3">
            <a:extLst>
              <a:ext uri="{FF2B5EF4-FFF2-40B4-BE49-F238E27FC236}">
                <a16:creationId xmlns:a16="http://schemas.microsoft.com/office/drawing/2014/main" id="{CFC80612-92F0-2243-F43E-FB383C27F911}"/>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005298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buFont typeface="Aptos" panose="020B0004020202020204" pitchFamily="34" charset="0"/>
              <a:buNone/>
            </a:pPr>
            <a:r>
              <a:rPr lang="en-US" sz="1100" b="1" u="sng" kern="100">
                <a:solidFill>
                  <a:schemeClr val="accent6"/>
                </a:solidFill>
                <a:latin typeface="Proximus Bold" panose="00000500000000000000" pitchFamily="2" charset="0"/>
                <a:ea typeface="Aptos" panose="020B0004020202020204" pitchFamily="34" charset="0"/>
                <a:cs typeface="Arial" panose="020B0604020202020204" pitchFamily="34" charset="0"/>
              </a:rPr>
              <a:t>ROBIN</a:t>
            </a: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 </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on stage </a:t>
            </a:r>
          </a:p>
          <a:p>
            <a:pPr marL="0" lvl="0" indent="0">
              <a:lnSpc>
                <a:spcPct val="107000"/>
              </a:lnSpc>
              <a:buFont typeface="Aptos" panose="020B0004020202020204" pitchFamily="34" charset="0"/>
              <a:buNone/>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n stage (NL)</a:t>
            </a:r>
          </a:p>
          <a:p>
            <a:pPr marL="285750" indent="-285750">
              <a:lnSpc>
                <a:spcPct val="107000"/>
              </a:lnSpc>
              <a:buFontTx/>
              <a:buChar char="-"/>
            </a:pP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Welkom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eder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rs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l</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es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ens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2025!</a:t>
            </a:r>
          </a:p>
          <a:p>
            <a:pPr marL="285750" indent="-285750">
              <a:lnSpc>
                <a:spcPct val="107000"/>
              </a:lnSpc>
              <a:buFontTx/>
              <a:buChar char="-"/>
            </a:pP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en heel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lij</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i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andaa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me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geve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300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ens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i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anwezi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 Ever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onderd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collega’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p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lido</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elf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Pickx</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endParaRPr lang="fr-BE"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285750" lvl="0" indent="-285750">
              <a:lnSpc>
                <a:spcPct val="107000"/>
              </a:lnSpc>
              <a:buFontTx/>
              <a:buChar char="-"/>
            </a:pP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goed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nemen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as om minder over Fibe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prek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u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en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heel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lij</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unn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ankondig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a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andaa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ver heel w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nder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ak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o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ull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pr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endParaRPr lang="fr-BE"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285750" indent="-285750">
              <a:lnSpc>
                <a:spcPct val="107000"/>
              </a:lnSpc>
              <a:buFontTx/>
              <a:buChar char="-"/>
            </a:pP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ord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leutelmomen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a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ull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al</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oel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egrip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rm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de NBU Strategy.</a:t>
            </a:r>
          </a:p>
          <a:p>
            <a:pPr marL="285750" indent="-285750">
              <a:lnSpc>
                <a:spcPct val="107000"/>
              </a:lnSpc>
              <a:buFontTx/>
              <a:buChar char="-"/>
            </a:pP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lles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lg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ypisch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gang van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ak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add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reeds de PXS Strategy Casca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z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Q&amp;A in Decembe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ierop</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lgend</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ull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cascaderin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teg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visie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hebb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me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ee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focus op hoe exact, pe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vis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z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teg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mibitie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unn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realiser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p>
          <a:p>
            <a:pPr marL="285750" indent="-285750">
              <a:lnSpc>
                <a:spcPct val="107000"/>
              </a:lnSpc>
              <a:buChar char="-"/>
            </a:pP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wordt</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zeke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ge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one-man show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vandaag</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Ik</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ga de hele MC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uitnodig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op het podium, om hen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laten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uitlegg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welke</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zak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allemaal</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in petto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hebbe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langere</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termijn</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maar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ook</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zee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specifiek</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latin typeface="Proximus" panose="00000500000000000000" pitchFamily="2" charset="0"/>
                <a:ea typeface="Aptos" panose="020B0004020202020204" pitchFamily="34" charset="0"/>
                <a:cs typeface="Arial" panose="020B0604020202020204" pitchFamily="34" charset="0"/>
              </a:rPr>
              <a:t> 2025.</a:t>
            </a:r>
          </a:p>
          <a:p>
            <a:pPr marL="285750" indent="-285750">
              <a:lnSpc>
                <a:spcPct val="107000"/>
              </a:lnSpc>
              <a:buChar char="-"/>
            </a:pPr>
            <a:endParaRPr lang="fr-BE" sz="1100">
              <a:solidFill>
                <a:schemeClr val="accent6"/>
              </a:solidFill>
              <a:latin typeface="Proximus" panose="00000500000000000000" pitchFamily="2" charset="0"/>
              <a:cs typeface="Arial" panose="020B0604020202020204" pitchFamily="34" charset="0"/>
            </a:endParaRPr>
          </a:p>
          <a:p>
            <a:r>
              <a:rPr lang="en-US" sz="1100" b="1" u="sng">
                <a:solidFill>
                  <a:schemeClr val="accent6"/>
                </a:solidFill>
                <a:latin typeface="Proximus Bold" panose="00000500000000000000" pitchFamily="2" charset="0"/>
              </a:rPr>
              <a:t>ROBIN</a:t>
            </a:r>
            <a:r>
              <a:rPr lang="en-US" sz="1100">
                <a:solidFill>
                  <a:schemeClr val="accent6"/>
                </a:solidFill>
                <a:latin typeface="Proximus" panose="00000500000000000000" pitchFamily="2" charset="0"/>
              </a:rPr>
              <a:t> : </a:t>
            </a:r>
            <a:r>
              <a:rPr lang="nl-NL" sz="1100" b="0" i="0">
                <a:solidFill>
                  <a:schemeClr val="accent6"/>
                </a:solidFill>
                <a:effectLst/>
                <a:latin typeface="Proximus" panose="00000500000000000000" pitchFamily="2" charset="0"/>
                <a:cs typeface="Segoe UI"/>
              </a:rPr>
              <a:t>Geert, ik denk dat we net de resultaten van </a:t>
            </a:r>
            <a:r>
              <a:rPr lang="nl-NL" sz="1100" b="0" i="0" err="1">
                <a:solidFill>
                  <a:schemeClr val="accent6"/>
                </a:solidFill>
                <a:effectLst/>
                <a:latin typeface="Proximus" panose="00000500000000000000" pitchFamily="2" charset="0"/>
                <a:cs typeface="Segoe UI"/>
              </a:rPr>
              <a:t>Speak</a:t>
            </a:r>
            <a:r>
              <a:rPr lang="nl-NL" sz="1100" b="0" i="0">
                <a:solidFill>
                  <a:schemeClr val="accent6"/>
                </a:solidFill>
                <a:effectLst/>
                <a:latin typeface="Proximus" panose="00000500000000000000" pitchFamily="2" charset="0"/>
                <a:cs typeface="Segoe UI"/>
              </a:rPr>
              <a:t> Up hebben ontvangen. Kun je ze ons al meedelen en ons meenemen in hoe jij deze interpreteert en hoe we hiermee verder aan de slag zullen gaan?</a:t>
            </a:r>
            <a:endParaRPr lang="en-BE" sz="1100" b="0">
              <a:solidFill>
                <a:schemeClr val="accent6"/>
              </a:solidFill>
              <a:latin typeface="Proximus" panose="00000500000000000000" pitchFamily="2" charset="0"/>
              <a:cs typeface="Segoe UI"/>
            </a:endParaRPr>
          </a:p>
        </p:txBody>
      </p:sp>
      <p:sp>
        <p:nvSpPr>
          <p:cNvPr id="4" name="Slide Number Placeholder 3"/>
          <p:cNvSpPr>
            <a:spLocks noGrp="1"/>
          </p:cNvSpPr>
          <p:nvPr>
            <p:ph type="sldNum" sz="quarter" idx="5"/>
          </p:nvPr>
        </p:nvSpPr>
        <p:spPr/>
        <p:txBody>
          <a:bodyPr/>
          <a:lstStyle/>
          <a:p>
            <a:fld id="{FA918F22-1231-AB43-96E7-2B8B890DCD5E}" type="slidenum">
              <a:rPr lang="en-US" smtClean="0"/>
              <a:pPr/>
              <a:t>5</a:t>
            </a:fld>
            <a:endParaRPr lang="en-US"/>
          </a:p>
        </p:txBody>
      </p:sp>
    </p:spTree>
    <p:extLst>
      <p:ext uri="{BB962C8B-B14F-4D97-AF65-F5344CB8AC3E}">
        <p14:creationId xmlns:p14="http://schemas.microsoft.com/office/powerpoint/2010/main" val="1338999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E6ED5-1F67-B3C7-5AE6-0B28DC7549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8E8D88-F68A-328C-4C01-CE8CF4155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76D2F-6122-C070-6905-77FF99FA9BFB}"/>
              </a:ext>
            </a:extLst>
          </p:cNvPr>
          <p:cNvSpPr>
            <a:spLocks noGrp="1"/>
          </p:cNvSpPr>
          <p:nvPr>
            <p:ph type="body" idx="1"/>
          </p:nvPr>
        </p:nvSpPr>
        <p:spPr/>
        <p:txBody>
          <a:bodyPr/>
          <a:lstStyle/>
          <a:p>
            <a:pPr lvl="0">
              <a:lnSpc>
                <a:spcPct val="107000"/>
              </a:lnSpc>
              <a:spcAft>
                <a:spcPts val="800"/>
              </a:spcAft>
            </a:pPr>
            <a:r>
              <a:rPr lang="en-US" sz="1100" b="1" u="sng" kern="100" dirty="0">
                <a:latin typeface="Proximus Light"/>
                <a:ea typeface="Aptos" panose="020B0004020202020204" pitchFamily="34" charset="0"/>
                <a:cs typeface="Arial" panose="020B0604020202020204" pitchFamily="34" charset="0"/>
              </a:rPr>
              <a:t>ALEX</a:t>
            </a:r>
            <a:endParaRPr lang="en-US" sz="1100" b="1" u="sng" kern="100" dirty="0">
              <a:effectLst/>
              <a:latin typeface="Proximus Light" pitchFamily="2" charset="77"/>
              <a:ea typeface="Aptos" panose="020B0004020202020204" pitchFamily="34" charset="0"/>
              <a:cs typeface="Arial" panose="020B0604020202020204" pitchFamily="34" charset="0"/>
            </a:endParaRPr>
          </a:p>
          <a:p>
            <a:pPr>
              <a:lnSpc>
                <a:spcPct val="107000"/>
              </a:lnSpc>
              <a:spcAft>
                <a:spcPts val="800"/>
              </a:spcAft>
            </a:pPr>
            <a:r>
              <a:rPr lang="en-US" sz="1100" kern="100" dirty="0">
                <a:effectLst/>
                <a:latin typeface="Proximus Light" pitchFamily="2" charset="77"/>
                <a:ea typeface="Aptos" panose="020B0004020202020204" pitchFamily="34" charset="0"/>
                <a:cs typeface="Arial" panose="020B0604020202020204" pitchFamily="34" charset="0"/>
              </a:rPr>
              <a:t>NBU is transforming into the leading </a:t>
            </a:r>
            <a:r>
              <a:rPr lang="en-US" sz="1100" kern="100" dirty="0" err="1">
                <a:effectLst/>
                <a:latin typeface="Proximus Light" pitchFamily="2" charset="77"/>
                <a:ea typeface="Aptos" panose="020B0004020202020204" pitchFamily="34" charset="0"/>
                <a:cs typeface="Arial" panose="020B0604020202020204" pitchFamily="34" charset="0"/>
              </a:rPr>
              <a:t>NaaS</a:t>
            </a:r>
            <a:r>
              <a:rPr lang="en-US" sz="1100" kern="100" dirty="0">
                <a:effectLst/>
                <a:latin typeface="Proximus Light" pitchFamily="2" charset="77"/>
                <a:ea typeface="Aptos" panose="020B0004020202020204" pitchFamily="34" charset="0"/>
                <a:cs typeface="Arial" panose="020B0604020202020204" pitchFamily="34" charset="0"/>
              </a:rPr>
              <a:t> provider in Belgium. This transformation is bringing new business opportunities but also an enhanced customer experience. Here is a sneak peek into some of the major services included in the notion of </a:t>
            </a:r>
            <a:r>
              <a:rPr lang="en-US" sz="1100" kern="100" dirty="0" err="1">
                <a:effectLst/>
                <a:latin typeface="Proximus Light" pitchFamily="2" charset="77"/>
                <a:ea typeface="Aptos" panose="020B0004020202020204" pitchFamily="34" charset="0"/>
                <a:cs typeface="Arial" panose="020B0604020202020204" pitchFamily="34" charset="0"/>
              </a:rPr>
              <a:t>NaaS</a:t>
            </a:r>
            <a:r>
              <a:rPr lang="en-US" sz="1100" kern="100" dirty="0">
                <a:effectLst/>
                <a:latin typeface="Proximus Light" pitchFamily="2" charset="77"/>
                <a:ea typeface="Aptos" panose="020B0004020202020204" pitchFamily="34" charset="0"/>
                <a:cs typeface="Arial" panose="020B0604020202020204" pitchFamily="34" charset="0"/>
              </a:rPr>
              <a:t>:</a:t>
            </a:r>
            <a:endParaRPr lang="en-BE" sz="1100" kern="100" dirty="0">
              <a:effectLst/>
              <a:latin typeface="Proximus Light" pitchFamily="2" charset="77"/>
              <a:ea typeface="Aptos" panose="020B0004020202020204" pitchFamily="34" charset="0"/>
              <a:cs typeface="Arial" panose="020B0604020202020204" pitchFamily="34" charset="0"/>
            </a:endParaRPr>
          </a:p>
          <a:p>
            <a:pPr marL="742950" lvl="1" indent="-285750">
              <a:lnSpc>
                <a:spcPct val="107000"/>
              </a:lnSpc>
              <a:spcAft>
                <a:spcPts val="800"/>
              </a:spcAft>
              <a:buFont typeface="+mj-lt"/>
              <a:buAutoNum type="alphaLcPeriod"/>
            </a:pPr>
            <a:r>
              <a:rPr lang="en-US" sz="1100" u="sng" kern="100" dirty="0">
                <a:effectLst/>
                <a:latin typeface="Proximus Light" pitchFamily="2" charset="77"/>
                <a:ea typeface="Aptos" panose="020B0004020202020204" pitchFamily="34" charset="0"/>
                <a:cs typeface="Arial" panose="020B0604020202020204" pitchFamily="34" charset="0"/>
              </a:rPr>
              <a:t>Business opportunities</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Physical network device mgt as a Service</a:t>
            </a:r>
            <a:r>
              <a:rPr lang="en-US" sz="1100" kern="100" dirty="0">
                <a:effectLst/>
                <a:latin typeface="Proximus Light" pitchFamily="2" charset="77"/>
                <a:ea typeface="Aptos" panose="020B0004020202020204" pitchFamily="34" charset="0"/>
                <a:cs typeface="Arial" panose="020B0604020202020204" pitchFamily="34" charset="0"/>
              </a:rPr>
              <a:t>: Instead of buying network equipment, installing it, and operating it, a network-as-a-service provider owns, installs and operates the equipment, and organizations pay a subscription to use it.</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Network virtualization</a:t>
            </a:r>
            <a:r>
              <a:rPr lang="en-US" sz="1100" kern="100" dirty="0">
                <a:effectLst/>
                <a:latin typeface="Proximus Light" pitchFamily="2" charset="77"/>
                <a:ea typeface="Aptos" panose="020B0004020202020204" pitchFamily="34" charset="0"/>
                <a:cs typeface="Arial" panose="020B0604020202020204" pitchFamily="34" charset="0"/>
              </a:rPr>
              <a:t>: Decoupling of the network services from the underlying hardware, allowing them to be managed independently and remotely. This is also often referred to as “</a:t>
            </a:r>
            <a:r>
              <a:rPr lang="en-US" sz="1100" kern="100" dirty="0" err="1">
                <a:effectLst/>
                <a:latin typeface="Proximus Light" pitchFamily="2" charset="77"/>
                <a:ea typeface="Aptos" panose="020B0004020202020204" pitchFamily="34" charset="0"/>
                <a:cs typeface="Arial" panose="020B0604020202020204" pitchFamily="34" charset="0"/>
              </a:rPr>
              <a:t>Softwarization</a:t>
            </a:r>
            <a:r>
              <a:rPr lang="en-US" sz="1100" kern="100" dirty="0">
                <a:effectLst/>
                <a:latin typeface="Proximus Light" pitchFamily="2" charset="77"/>
                <a:ea typeface="Aptos" panose="020B0004020202020204" pitchFamily="34" charset="0"/>
                <a:cs typeface="Arial" panose="020B0604020202020204" pitchFamily="34" charset="0"/>
              </a:rPr>
              <a:t>”.</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Network on demand / network performance</a:t>
            </a:r>
            <a:r>
              <a:rPr lang="en-US" sz="1100" kern="100" dirty="0">
                <a:effectLst/>
                <a:latin typeface="Proximus Light" pitchFamily="2" charset="77"/>
                <a:ea typeface="Aptos" panose="020B0004020202020204" pitchFamily="34" charset="0"/>
                <a:cs typeface="Arial" panose="020B0604020202020204" pitchFamily="34" charset="0"/>
              </a:rPr>
              <a:t>: just like with cloud resources, organizations can dynamically adjust their network resources based on their needs in near real time, allowing them to guarantee network performance. </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Retrieve info from the network</a:t>
            </a:r>
            <a:r>
              <a:rPr lang="en-US" sz="1100" kern="100" dirty="0">
                <a:effectLst/>
                <a:latin typeface="Proximus Light" pitchFamily="2" charset="77"/>
                <a:ea typeface="Aptos" panose="020B0004020202020204" pitchFamily="34" charset="0"/>
                <a:cs typeface="Arial" panose="020B0604020202020204" pitchFamily="34" charset="0"/>
              </a:rPr>
              <a:t>: </a:t>
            </a:r>
            <a:r>
              <a:rPr lang="en-US" sz="1100" kern="100" dirty="0">
                <a:effectLst/>
                <a:latin typeface="Proximus Light" pitchFamily="2" charset="77"/>
                <a:ea typeface="Aptos" panose="020B0004020202020204" pitchFamily="34" charset="0"/>
                <a:cs typeface="Aptos" panose="020B0004020202020204" pitchFamily="34" charset="0"/>
              </a:rPr>
              <a:t>by exposing some of our network APIs, organizations can retrieve information from our network. A major use case is fraud prevention, using APIs such as:</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SIM Swap: determines if the SIM has been recently swapped</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Scam signal: determines if a phone is currently in a call</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Number verification: determines the number (MSISDN) actually attached to a SIM</a:t>
            </a:r>
            <a:endParaRPr lang="en-BE" sz="1100" kern="100" dirty="0">
              <a:effectLst/>
              <a:latin typeface="Proximus Light" pitchFamily="2" charset="77"/>
              <a:ea typeface="Aptos" panose="020B0004020202020204" pitchFamily="34" charset="0"/>
              <a:cs typeface="Arial" panose="020B0604020202020204" pitchFamily="34" charset="0"/>
            </a:endParaRPr>
          </a:p>
          <a:p>
            <a:pPr marL="2057400" lvl="4" indent="-228600">
              <a:lnSpc>
                <a:spcPct val="107000"/>
              </a:lnSpc>
              <a:spcAft>
                <a:spcPts val="800"/>
              </a:spcAft>
              <a:buFont typeface="+mj-lt"/>
              <a:buAutoNum type="alphaLcPeriod"/>
            </a:pPr>
            <a:r>
              <a:rPr lang="en-US" sz="1100" kern="100" dirty="0">
                <a:effectLst/>
                <a:latin typeface="Proximus Light" pitchFamily="2" charset="77"/>
                <a:ea typeface="Aptos" panose="020B0004020202020204" pitchFamily="34" charset="0"/>
                <a:cs typeface="Aptos" panose="020B0004020202020204" pitchFamily="34" charset="0"/>
              </a:rPr>
              <a:t>Device location: determines the location of a phone (or region, or geo-fence)</a:t>
            </a:r>
          </a:p>
          <a:p>
            <a:pPr marL="742950" lvl="1" indent="-285750">
              <a:lnSpc>
                <a:spcPct val="107000"/>
              </a:lnSpc>
              <a:spcAft>
                <a:spcPts val="800"/>
              </a:spcAft>
              <a:buFont typeface="+mj-lt"/>
              <a:buAutoNum type="alphaLcPeriod"/>
            </a:pPr>
            <a:r>
              <a:rPr lang="en-US" sz="1100" u="sng" kern="100" dirty="0">
                <a:effectLst/>
                <a:latin typeface="Proximus Light" pitchFamily="2" charset="77"/>
                <a:ea typeface="Aptos" panose="020B0004020202020204" pitchFamily="34" charset="0"/>
                <a:cs typeface="Arial" panose="020B0604020202020204" pitchFamily="34" charset="0"/>
              </a:rPr>
              <a:t>Enhanced customer experience</a:t>
            </a:r>
            <a:endParaRPr lang="en-BE" sz="1100" kern="100" dirty="0">
              <a:effectLst/>
              <a:latin typeface="Proximus Light" pitchFamily="2" charset="77"/>
              <a:ea typeface="Aptos" panose="020B0004020202020204" pitchFamily="34" charset="0"/>
              <a:cs typeface="Arial" panose="020B0604020202020204" pitchFamily="34" charset="0"/>
            </a:endParaRPr>
          </a:p>
          <a:p>
            <a:pPr marL="1143000" lvl="2" indent="-228600">
              <a:lnSpc>
                <a:spcPct val="107000"/>
              </a:lnSpc>
              <a:spcAft>
                <a:spcPts val="800"/>
              </a:spcAft>
              <a:buFont typeface="+mj-lt"/>
              <a:buAutoNum type="romanLcPeriod"/>
            </a:pPr>
            <a:r>
              <a:rPr lang="en-US" sz="1100" u="sng" kern="100" dirty="0">
                <a:effectLst/>
                <a:latin typeface="Proximus Light" pitchFamily="2" charset="77"/>
                <a:ea typeface="Aptos" panose="020B0004020202020204" pitchFamily="34" charset="0"/>
                <a:cs typeface="Arial" panose="020B0604020202020204" pitchFamily="34" charset="0"/>
              </a:rPr>
              <a:t>Digital self-servicing via APIs</a:t>
            </a:r>
            <a:r>
              <a:rPr lang="en-US" sz="1100" kern="100" dirty="0">
                <a:effectLst/>
                <a:latin typeface="Proximus Light" pitchFamily="2" charset="77"/>
                <a:ea typeface="Aptos" panose="020B0004020202020204" pitchFamily="34" charset="0"/>
                <a:cs typeface="Arial" panose="020B0604020202020204" pitchFamily="34" charset="0"/>
              </a:rPr>
              <a:t>: self-service capabilities like real-time quoting, ordering, and where possible provisioning, of the network. As organizations advance in their digital-transformation journey, they are increasingly looking for API support to ensure they can consume network services in a programmatic manner through their own internal applications.</a:t>
            </a:r>
            <a:endParaRPr lang="en-BE" sz="1100" kern="100" dirty="0">
              <a:effectLst/>
              <a:latin typeface="Proximus Light" pitchFamily="2" charset="77"/>
              <a:ea typeface="Aptos" panose="020B0004020202020204" pitchFamily="34" charset="0"/>
              <a:cs typeface="Arial" panose="020B0604020202020204" pitchFamily="34" charset="0"/>
            </a:endParaRPr>
          </a:p>
          <a:p>
            <a:pPr marL="1234440" lvl="0" indent="-228600">
              <a:lnSpc>
                <a:spcPct val="107000"/>
              </a:lnSpc>
              <a:spcAft>
                <a:spcPts val="800"/>
              </a:spcAft>
              <a:buFont typeface="+mj-lt"/>
              <a:buAutoNum type="alphaLcPeriod"/>
            </a:pPr>
            <a:endParaRPr lang="en-BE" sz="1100" kern="100" dirty="0">
              <a:effectLst/>
              <a:latin typeface="Proximus Light" pitchFamily="2" charset="77"/>
              <a:ea typeface="Aptos" panose="020B0004020202020204" pitchFamily="34" charset="0"/>
              <a:cs typeface="Arial" panose="020B0604020202020204" pitchFamily="34" charset="0"/>
            </a:endParaRPr>
          </a:p>
          <a:p>
            <a:pPr>
              <a:lnSpc>
                <a:spcPct val="107000"/>
              </a:lnSpc>
              <a:spcAft>
                <a:spcPts val="800"/>
              </a:spcAft>
            </a:pPr>
            <a:endParaRPr lang="en-BE" dirty="0"/>
          </a:p>
        </p:txBody>
      </p:sp>
      <p:sp>
        <p:nvSpPr>
          <p:cNvPr id="4" name="Slide Number Placeholder 3">
            <a:extLst>
              <a:ext uri="{FF2B5EF4-FFF2-40B4-BE49-F238E27FC236}">
                <a16:creationId xmlns:a16="http://schemas.microsoft.com/office/drawing/2014/main" id="{E7072366-79BB-0330-89E1-4ADEFE96B8F0}"/>
              </a:ext>
            </a:extLst>
          </p:cNvPr>
          <p:cNvSpPr>
            <a:spLocks noGrp="1"/>
          </p:cNvSpPr>
          <p:nvPr>
            <p:ph type="sldNum" sz="quarter" idx="5"/>
          </p:nvPr>
        </p:nvSpPr>
        <p:spPr/>
        <p:txBody>
          <a:bodyPr/>
          <a:lstStyle/>
          <a:p>
            <a:fld id="{FA918F22-1231-AB43-96E7-2B8B890DCD5E}" type="slidenum">
              <a:rPr lang="en-US" smtClean="0"/>
              <a:pPr/>
              <a:t>50</a:t>
            </a:fld>
            <a:endParaRPr lang="en-US"/>
          </a:p>
        </p:txBody>
      </p:sp>
    </p:spTree>
    <p:extLst>
      <p:ext uri="{BB962C8B-B14F-4D97-AF65-F5344CB8AC3E}">
        <p14:creationId xmlns:p14="http://schemas.microsoft.com/office/powerpoint/2010/main" val="35772413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D790BC-140F-E597-FD59-3566A7291C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A6F845-FDBF-DF13-0FFA-EBBE886A14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456F5C-F5F7-93B6-9DE9-9D06EC5941B6}"/>
              </a:ext>
            </a:extLst>
          </p:cNvPr>
          <p:cNvSpPr>
            <a:spLocks noGrp="1"/>
          </p:cNvSpPr>
          <p:nvPr>
            <p:ph type="body" idx="1"/>
          </p:nvPr>
        </p:nvSpPr>
        <p:spPr/>
        <p:txBody>
          <a:bodyPr/>
          <a:lstStyle/>
          <a:p>
            <a:pPr algn="l" rtl="0" fontAlgn="base">
              <a:lnSpc>
                <a:spcPts val="1376"/>
              </a:lnSpc>
              <a:buFont typeface="+mj-lt"/>
              <a:buNone/>
            </a:pPr>
            <a:r>
              <a:rPr lang="en-US" sz="1100" b="1" i="0" u="sng">
                <a:solidFill>
                  <a:srgbClr val="000000"/>
                </a:solidFill>
                <a:effectLst/>
                <a:latin typeface="Aptos" panose="020B0004020202020204" pitchFamily="34" charset="0"/>
              </a:rPr>
              <a:t>ALEX</a:t>
            </a:r>
          </a:p>
          <a:p>
            <a:pPr algn="l" rtl="0" fontAlgn="base">
              <a:lnSpc>
                <a:spcPts val="1376"/>
              </a:lnSpc>
              <a:buFont typeface="+mj-lt"/>
              <a:buNone/>
            </a:pPr>
            <a:r>
              <a:rPr lang="en-US" sz="1100" b="0" i="0">
                <a:solidFill>
                  <a:srgbClr val="000000"/>
                </a:solidFill>
                <a:effectLst/>
                <a:latin typeface="Aptos" panose="020B0004020202020204" pitchFamily="34" charset="0"/>
              </a:rPr>
              <a:t>1. Launch of a new Carrier Ethernet connectivity (</a:t>
            </a:r>
            <a:r>
              <a:rPr lang="en-US" sz="1100" b="0" i="0" err="1">
                <a:solidFill>
                  <a:srgbClr val="000000"/>
                </a:solidFill>
                <a:effectLst/>
                <a:latin typeface="Aptos" panose="020B0004020202020204" pitchFamily="34" charset="0"/>
              </a:rPr>
              <a:t>eAccess</a:t>
            </a:r>
            <a:r>
              <a:rPr lang="en-US" sz="1100" b="0" i="0">
                <a:solidFill>
                  <a:srgbClr val="000000"/>
                </a:solidFill>
                <a:effectLst/>
                <a:latin typeface="Aptos" panose="020B0004020202020204" pitchFamily="34" charset="0"/>
              </a:rPr>
              <a:t>) quoted and ordered using industry-standard APIs (MEF LSO APIs). </a:t>
            </a:r>
          </a:p>
          <a:p>
            <a:pPr algn="l" rtl="0" fontAlgn="base">
              <a:lnSpc>
                <a:spcPts val="1376"/>
              </a:lnSpc>
              <a:buFont typeface="+mj-lt"/>
              <a:buNone/>
            </a:pPr>
            <a:r>
              <a:rPr lang="en-US" sz="1100" b="0" i="0">
                <a:solidFill>
                  <a:srgbClr val="000000"/>
                </a:solidFill>
                <a:effectLst/>
                <a:latin typeface="Aptos" panose="020B0004020202020204" pitchFamily="34" charset="0"/>
              </a:rPr>
              <a:t>2- Launch of our universal CPE, a </a:t>
            </a:r>
            <a:r>
              <a:rPr lang="en-US" sz="1100" b="0" i="0" err="1">
                <a:solidFill>
                  <a:srgbClr val="000000"/>
                </a:solidFill>
                <a:effectLst/>
                <a:latin typeface="Aptos" panose="020B0004020202020204" pitchFamily="34" charset="0"/>
              </a:rPr>
              <a:t>whitebox</a:t>
            </a:r>
            <a:r>
              <a:rPr lang="en-US" sz="1100" b="0" i="0">
                <a:solidFill>
                  <a:srgbClr val="000000"/>
                </a:solidFill>
                <a:effectLst/>
                <a:latin typeface="Aptos" panose="020B0004020202020204" pitchFamily="34" charset="0"/>
              </a:rPr>
              <a:t> installed by Proximus, replacing other physical network devices wholesale customers currently must install at customer premises</a:t>
            </a:r>
          </a:p>
          <a:p>
            <a:pPr algn="l" rtl="0" fontAlgn="base">
              <a:lnSpc>
                <a:spcPts val="1376"/>
              </a:lnSpc>
              <a:buFont typeface="+mj-lt"/>
              <a:buNone/>
            </a:pPr>
            <a:r>
              <a:rPr lang="en-US" sz="1100" b="0" i="0">
                <a:solidFill>
                  <a:srgbClr val="000000"/>
                </a:solidFill>
                <a:effectLst/>
                <a:latin typeface="Aptos" panose="020B0004020202020204" pitchFamily="34" charset="0"/>
              </a:rPr>
              <a:t>   - Launch of a Marketplace where wholesale customers can purchase licenses for Virtual Network Functions (</a:t>
            </a:r>
            <a:r>
              <a:rPr lang="en-US" sz="1100" b="0" i="0" err="1">
                <a:solidFill>
                  <a:srgbClr val="000000"/>
                </a:solidFill>
                <a:effectLst/>
                <a:latin typeface="Aptos" panose="020B0004020202020204" pitchFamily="34" charset="0"/>
              </a:rPr>
              <a:t>eg.</a:t>
            </a:r>
            <a:r>
              <a:rPr lang="en-US" sz="1100" b="0" i="0">
                <a:solidFill>
                  <a:srgbClr val="000000"/>
                </a:solidFill>
                <a:effectLst/>
                <a:latin typeface="Aptos" panose="020B0004020202020204" pitchFamily="34" charset="0"/>
              </a:rPr>
              <a:t> Virtual Router, Firewall, SDWAN, SBC…) from major worldwide providers and deploy them remotely on our universal CPE. </a:t>
            </a:r>
          </a:p>
          <a:p>
            <a:pPr algn="l" rtl="0" fontAlgn="base">
              <a:lnSpc>
                <a:spcPts val="1376"/>
              </a:lnSpc>
              <a:buFont typeface="+mj-lt"/>
              <a:buAutoNum type="arabicPeriod" startAt="3"/>
            </a:pPr>
            <a:r>
              <a:rPr lang="en-US" sz="1100" b="0" i="0" u="sng">
                <a:solidFill>
                  <a:srgbClr val="000000"/>
                </a:solidFill>
                <a:effectLst/>
                <a:latin typeface="Aptos" panose="020B0004020202020204" pitchFamily="34" charset="0"/>
              </a:rPr>
              <a:t>Network on demand</a:t>
            </a:r>
            <a:r>
              <a:rPr lang="en-US" sz="1100" b="0" i="0">
                <a:solidFill>
                  <a:srgbClr val="000000"/>
                </a:solidFill>
                <a:effectLst/>
                <a:latin typeface="Aptos" panose="020B0004020202020204" pitchFamily="34" charset="0"/>
              </a:rPr>
              <a:t>: POC of 2 use cases for EBU: </a:t>
            </a:r>
          </a:p>
          <a:p>
            <a:pPr lvl="1" algn="l" rtl="0" fontAlgn="base">
              <a:lnSpc>
                <a:spcPts val="1376"/>
              </a:lnSpc>
              <a:buFont typeface="+mj-lt"/>
              <a:buAutoNum type="arabicPeriod"/>
            </a:pPr>
            <a:r>
              <a:rPr lang="en-US" sz="1100" b="0" i="0">
                <a:solidFill>
                  <a:srgbClr val="000000"/>
                </a:solidFill>
                <a:effectLst/>
                <a:latin typeface="Aptos" panose="020B0004020202020204" pitchFamily="34" charset="0"/>
              </a:rPr>
              <a:t>Purchase and activate Quality on Demand: by provisioning </a:t>
            </a:r>
            <a:r>
              <a:rPr lang="en-US" sz="1100" b="0" i="0" err="1">
                <a:solidFill>
                  <a:srgbClr val="000000"/>
                </a:solidFill>
                <a:effectLst/>
                <a:latin typeface="Aptos" panose="020B0004020202020204" pitchFamily="34" charset="0"/>
              </a:rPr>
              <a:t>QoD</a:t>
            </a:r>
            <a:r>
              <a:rPr lang="en-US" sz="1100" b="0" i="0">
                <a:solidFill>
                  <a:srgbClr val="000000"/>
                </a:solidFill>
                <a:effectLst/>
                <a:latin typeface="Aptos" panose="020B0004020202020204" pitchFamily="34" charset="0"/>
              </a:rPr>
              <a:t>, the user gets more throughput than his peers who aren't provisioned. </a:t>
            </a:r>
          </a:p>
          <a:p>
            <a:pPr lvl="1" algn="l" rtl="0" fontAlgn="base">
              <a:lnSpc>
                <a:spcPts val="1376"/>
              </a:lnSpc>
              <a:buFont typeface="+mj-lt"/>
              <a:buAutoNum type="arabicPeriod" startAt="2"/>
            </a:pPr>
            <a:r>
              <a:rPr lang="en-US" sz="1100" b="0" i="0">
                <a:solidFill>
                  <a:srgbClr val="000000"/>
                </a:solidFill>
                <a:effectLst/>
                <a:latin typeface="Aptos" panose="020B0004020202020204" pitchFamily="34" charset="0"/>
              </a:rPr>
              <a:t>Requesting allocation to an existing Service Slice: by being allocated to a specific slice, the user's usage is transmitted on a separate "highway" which ensures connectivity even in a congested network. </a:t>
            </a:r>
          </a:p>
          <a:p>
            <a:pPr algn="l" rtl="0" fontAlgn="base">
              <a:lnSpc>
                <a:spcPts val="1376"/>
              </a:lnSpc>
              <a:buFont typeface="+mj-lt"/>
              <a:buAutoNum type="arabicPeriod" startAt="4"/>
            </a:pPr>
            <a:r>
              <a:rPr lang="en-US" sz="1100" b="0" i="0" u="sng">
                <a:solidFill>
                  <a:srgbClr val="000000"/>
                </a:solidFill>
                <a:effectLst/>
                <a:latin typeface="Aptos" panose="020B0004020202020204" pitchFamily="34" charset="0"/>
              </a:rPr>
              <a:t>Retrieve info from the network:</a:t>
            </a:r>
            <a:r>
              <a:rPr lang="en-US" sz="1100" b="0" i="0">
                <a:solidFill>
                  <a:srgbClr val="000000"/>
                </a:solidFill>
                <a:effectLst/>
                <a:latin typeface="Aptos" panose="020B0004020202020204" pitchFamily="34" charset="0"/>
              </a:rPr>
              <a:t> </a:t>
            </a:r>
          </a:p>
          <a:p>
            <a:pPr lvl="1" algn="l" rtl="0" fontAlgn="base">
              <a:lnSpc>
                <a:spcPts val="1376"/>
              </a:lnSpc>
              <a:buFont typeface="+mj-lt"/>
              <a:buAutoNum type="arabicPeriod"/>
            </a:pPr>
            <a:r>
              <a:rPr lang="en-US" sz="1100" b="0" i="0">
                <a:solidFill>
                  <a:srgbClr val="000000"/>
                </a:solidFill>
                <a:effectLst/>
                <a:latin typeface="Aptos" panose="020B0004020202020204" pitchFamily="34" charset="0"/>
              </a:rPr>
              <a:t>Transform some of our existing APIs already used by </a:t>
            </a:r>
            <a:r>
              <a:rPr lang="en-US" sz="1100" b="0" i="0" err="1">
                <a:solidFill>
                  <a:srgbClr val="000000"/>
                </a:solidFill>
                <a:effectLst/>
                <a:latin typeface="Aptos" panose="020B0004020202020204" pitchFamily="34" charset="0"/>
              </a:rPr>
              <a:t>Telesign</a:t>
            </a:r>
            <a:r>
              <a:rPr lang="en-US" sz="1100" b="0" i="0">
                <a:solidFill>
                  <a:srgbClr val="000000"/>
                </a:solidFill>
                <a:effectLst/>
                <a:latin typeface="Aptos" panose="020B0004020202020204" pitchFamily="34" charset="0"/>
              </a:rPr>
              <a:t> (</a:t>
            </a:r>
            <a:r>
              <a:rPr lang="en-US" sz="1100" b="0" i="0" err="1">
                <a:solidFill>
                  <a:srgbClr val="000000"/>
                </a:solidFill>
                <a:effectLst/>
                <a:latin typeface="Aptos" panose="020B0004020202020204" pitchFamily="34" charset="0"/>
              </a:rPr>
              <a:t>eg.</a:t>
            </a:r>
            <a:r>
              <a:rPr lang="en-US" sz="1100" b="0" i="0">
                <a:solidFill>
                  <a:srgbClr val="000000"/>
                </a:solidFill>
                <a:effectLst/>
                <a:latin typeface="Aptos" panose="020B0004020202020204" pitchFamily="34" charset="0"/>
              </a:rPr>
              <a:t> Airbnb) or create new APIs in industry standards (Camara APIs) </a:t>
            </a:r>
          </a:p>
          <a:p>
            <a:pPr lvl="1" algn="l" rtl="0" fontAlgn="base">
              <a:lnSpc>
                <a:spcPts val="1376"/>
              </a:lnSpc>
              <a:buFont typeface="+mj-lt"/>
              <a:buAutoNum type="arabicPeriod" startAt="2"/>
            </a:pPr>
            <a:r>
              <a:rPr lang="en-US" sz="1100" b="0" i="0">
                <a:solidFill>
                  <a:srgbClr val="000000"/>
                </a:solidFill>
                <a:effectLst/>
                <a:latin typeface="Aptos" panose="020B0004020202020204" pitchFamily="34" charset="0"/>
              </a:rPr>
              <a:t>Build the ecosystem and business models for fraud prevention APIs which fulfil bank sector needs </a:t>
            </a:r>
          </a:p>
          <a:p>
            <a:pPr lvl="1" algn="l" rtl="0" fontAlgn="base">
              <a:lnSpc>
                <a:spcPts val="1376"/>
              </a:lnSpc>
              <a:buFont typeface="+mj-lt"/>
              <a:buAutoNum type="arabicPeriod" startAt="3"/>
            </a:pPr>
            <a:r>
              <a:rPr lang="en-US" sz="1100" b="0" i="0">
                <a:solidFill>
                  <a:srgbClr val="000000"/>
                </a:solidFill>
                <a:effectLst/>
                <a:latin typeface="Aptos" panose="020B0004020202020204" pitchFamily="34" charset="0"/>
              </a:rPr>
              <a:t>Expose the CAMARA Number Verification API to BICS, enabling their POC with Meta  </a:t>
            </a:r>
          </a:p>
          <a:p>
            <a:pPr>
              <a:lnSpc>
                <a:spcPct val="107000"/>
              </a:lnSpc>
              <a:spcAft>
                <a:spcPts val="800"/>
              </a:spcAft>
            </a:pPr>
            <a:endParaRPr lang="en-BE"/>
          </a:p>
        </p:txBody>
      </p:sp>
      <p:sp>
        <p:nvSpPr>
          <p:cNvPr id="4" name="Slide Number Placeholder 3">
            <a:extLst>
              <a:ext uri="{FF2B5EF4-FFF2-40B4-BE49-F238E27FC236}">
                <a16:creationId xmlns:a16="http://schemas.microsoft.com/office/drawing/2014/main" id="{DDB13950-1624-CD97-B3A2-C4D4EB6D0FD4}"/>
              </a:ext>
            </a:extLst>
          </p:cNvPr>
          <p:cNvSpPr>
            <a:spLocks noGrp="1"/>
          </p:cNvSpPr>
          <p:nvPr>
            <p:ph type="sldNum" sz="quarter" idx="5"/>
          </p:nvPr>
        </p:nvSpPr>
        <p:spPr/>
        <p:txBody>
          <a:bodyPr/>
          <a:lstStyle/>
          <a:p>
            <a:fld id="{FA918F22-1231-AB43-96E7-2B8B890DCD5E}" type="slidenum">
              <a:rPr lang="en-US" smtClean="0"/>
              <a:pPr/>
              <a:t>51</a:t>
            </a:fld>
            <a:endParaRPr lang="en-US"/>
          </a:p>
        </p:txBody>
      </p:sp>
    </p:spTree>
    <p:extLst>
      <p:ext uri="{BB962C8B-B14F-4D97-AF65-F5344CB8AC3E}">
        <p14:creationId xmlns:p14="http://schemas.microsoft.com/office/powerpoint/2010/main" val="17352244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4474E-4B52-CB71-C27B-2192658BAB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147981-CAB6-40F6-5EC1-7599927CE3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B45B41-8C3A-1C44-E3A5-59764198FAAE}"/>
              </a:ext>
            </a:extLst>
          </p:cNvPr>
          <p:cNvSpPr>
            <a:spLocks noGrp="1"/>
          </p:cNvSpPr>
          <p:nvPr>
            <p:ph type="body" idx="1"/>
          </p:nvPr>
        </p:nvSpPr>
        <p:spPr/>
        <p:txBody>
          <a:bodyPr/>
          <a:lstStyle/>
          <a:p>
            <a:r>
              <a:rPr lang="en-US" sz="1200" dirty="0"/>
              <a:t>Video one minute &gt; Magali</a:t>
            </a:r>
          </a:p>
          <a:p>
            <a:endParaRPr lang="fr-BE" dirty="0"/>
          </a:p>
          <a:p>
            <a:endParaRPr lang="en-BE" dirty="0"/>
          </a:p>
        </p:txBody>
      </p:sp>
      <p:sp>
        <p:nvSpPr>
          <p:cNvPr id="4" name="Slide Number Placeholder 3">
            <a:extLst>
              <a:ext uri="{FF2B5EF4-FFF2-40B4-BE49-F238E27FC236}">
                <a16:creationId xmlns:a16="http://schemas.microsoft.com/office/drawing/2014/main" id="{C3B372E2-309F-7712-0C97-70EBA8219397}"/>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27486852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ED80D-9BE9-740F-C1F6-B246933D2E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4558EC-92C5-B9BB-5A56-759B1ACED9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F71BF5-6241-7B04-C444-7F4C9C51694A}"/>
              </a:ext>
            </a:extLst>
          </p:cNvPr>
          <p:cNvSpPr>
            <a:spLocks noGrp="1"/>
          </p:cNvSpPr>
          <p:nvPr>
            <p:ph type="body" idx="1"/>
          </p:nvPr>
        </p:nvSpPr>
        <p:spPr/>
        <p:txBody>
          <a:bodyPr/>
          <a:lstStyle/>
          <a:p>
            <a:pPr marL="205740" marR="0" lvl="1" indent="0" algn="l" defTabSz="41148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Proximus Bold"/>
                <a:ea typeface="+mn-ea"/>
                <a:cs typeface="+mn-cs"/>
              </a:rPr>
              <a:t>GAEL</a:t>
            </a:r>
          </a:p>
          <a:p>
            <a:pPr marL="205740" marR="0" lvl="1" indent="0" algn="l" defTabSz="41148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Proximus energy strategy is a key element of its Climate Transition Plan and NBU as well as the Energy Tribe have a key role to play.</a:t>
            </a:r>
          </a:p>
          <a:p>
            <a:pPr marL="205740" marR="0" lvl="1" indent="0" algn="l" defTabSz="41148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205740" marR="0" lvl="1" indent="0" algn="l" defTabSz="41148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A couple of number to set the scene:</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Over 90% of our energy consumption at Proximus SA comes from electricity. We are committed to achieving net zero greenhouse gas emissions across our entire value chain by 2040, using 2020 as baseline—ten years ahead of Belgium’s 2050 target. Energy usage is a cornerstone of the transition to net zero. That’s quite a challenge!</a:t>
            </a: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Only in Belgium, we spend 80 </a:t>
            </a:r>
            <a:r>
              <a:rPr kumimoji="0" lang="en-US" sz="1100" b="0" i="0" u="none" strike="noStrike" kern="1200" cap="none" spc="0" normalizeH="0" baseline="0" noProof="0" err="1">
                <a:ln>
                  <a:noFill/>
                </a:ln>
                <a:solidFill>
                  <a:prstClr val="black"/>
                </a:solidFill>
                <a:effectLst/>
                <a:uLnTx/>
                <a:uFillTx/>
                <a:latin typeface="Proximus Bold"/>
                <a:ea typeface="+mn-ea"/>
                <a:cs typeface="+mn-cs"/>
              </a:rPr>
              <a:t>mio</a:t>
            </a:r>
            <a:r>
              <a:rPr kumimoji="0" lang="en-US" sz="1100" b="0" i="0" u="none" strike="noStrike" kern="1200" cap="none" spc="0" normalizeH="0" baseline="0" noProof="0">
                <a:ln>
                  <a:noFill/>
                </a:ln>
                <a:solidFill>
                  <a:prstClr val="black"/>
                </a:solidFill>
                <a:effectLst/>
                <a:uLnTx/>
                <a:uFillTx/>
                <a:latin typeface="Proximus Bold"/>
                <a:ea typeface="+mn-ea"/>
                <a:cs typeface="+mn-cs"/>
              </a:rPr>
              <a:t> euro per year on electricity – the lion share within NBU due to the fixed and mobile networks, the data centers and the technical buildings we manage.</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Since 2019 we source 100% of our electricity in a sustainable way.</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marL="377190" marR="0" lvl="1" indent="-171450" algn="l" defTabSz="411480" rtl="0" eaLnBrk="1" fontAlgn="auto" latinLnBrk="0" hangingPunct="1">
              <a:lnSpc>
                <a:spcPct val="100000"/>
              </a:lnSpc>
              <a:spcBef>
                <a:spcPts val="0"/>
              </a:spcBef>
              <a:spcAft>
                <a:spcPts val="0"/>
              </a:spcAft>
              <a:buClrTx/>
              <a:buSzTx/>
              <a:buFont typeface="Arial"/>
              <a:buChar char="•"/>
              <a:tabLst/>
              <a:defRPr/>
            </a:pPr>
            <a:r>
              <a:rPr kumimoji="0" lang="en-US" sz="1100" b="0" i="0" u="none" strike="noStrike" kern="1200" cap="none" spc="0" normalizeH="0" baseline="0" noProof="0">
                <a:ln>
                  <a:noFill/>
                </a:ln>
                <a:solidFill>
                  <a:prstClr val="black"/>
                </a:solidFill>
                <a:effectLst/>
                <a:uLnTx/>
                <a:uFillTx/>
                <a:latin typeface="Proximus Bold"/>
                <a:ea typeface="+mn-ea"/>
                <a:cs typeface="+mn-cs"/>
              </a:rPr>
              <a:t>And we even produce – although for a limited part – our own electricity. In the meantime we have </a:t>
            </a:r>
            <a:r>
              <a:rPr kumimoji="0" lang="en-US" sz="1100" b="0" i="0" u="none" strike="noStrike" kern="1200" cap="none" spc="0" normalizeH="0" baseline="0" noProof="0" err="1">
                <a:ln>
                  <a:noFill/>
                </a:ln>
                <a:solidFill>
                  <a:prstClr val="black"/>
                </a:solidFill>
                <a:effectLst/>
                <a:uLnTx/>
                <a:uFillTx/>
                <a:latin typeface="Proximus Bold"/>
                <a:ea typeface="+mn-ea"/>
                <a:cs typeface="+mn-cs"/>
              </a:rPr>
              <a:t>equiped</a:t>
            </a:r>
            <a:r>
              <a:rPr kumimoji="0" lang="en-US" sz="1100" b="0" i="0" u="none" strike="noStrike" kern="1200" cap="none" spc="0" normalizeH="0" baseline="0" noProof="0">
                <a:ln>
                  <a:noFill/>
                </a:ln>
                <a:solidFill>
                  <a:prstClr val="black"/>
                </a:solidFill>
                <a:effectLst/>
                <a:uLnTx/>
                <a:uFillTx/>
                <a:latin typeface="Proximus Bold"/>
                <a:ea typeface="+mn-ea"/>
                <a:cs typeface="+mn-cs"/>
              </a:rPr>
              <a:t> 64 of our buildings with solar panels</a:t>
            </a:r>
            <a:endParaRPr kumimoji="0" lang="en-US" sz="11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a:p>
            <a:pPr lvl="1"/>
            <a:endParaRPr lang="en-US" sz="500"/>
          </a:p>
        </p:txBody>
      </p:sp>
      <p:sp>
        <p:nvSpPr>
          <p:cNvPr id="4" name="Slide Number Placeholder 3">
            <a:extLst>
              <a:ext uri="{FF2B5EF4-FFF2-40B4-BE49-F238E27FC236}">
                <a16:creationId xmlns:a16="http://schemas.microsoft.com/office/drawing/2014/main" id="{07160A34-90B1-9F6B-FAEC-E3DF0F6739A0}"/>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12469404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9A49D-D9ED-1E71-1617-8AE5C5D3B5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A377D9-2546-5493-B086-200906DE9C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849309-049B-D5B4-8531-2E886124BB71}"/>
              </a:ext>
            </a:extLst>
          </p:cNvPr>
          <p:cNvSpPr>
            <a:spLocks noGrp="1"/>
          </p:cNvSpPr>
          <p:nvPr>
            <p:ph type="body" idx="1"/>
          </p:nvPr>
        </p:nvSpPr>
        <p:spPr/>
        <p:txBody>
          <a:bodyPr/>
          <a:lstStyle/>
          <a:p>
            <a:r>
              <a:rPr lang="en-US" sz="800" b="1" u="sng" dirty="0">
                <a:latin typeface="Proximus Bold"/>
              </a:rPr>
              <a:t>GAEL</a:t>
            </a:r>
          </a:p>
          <a:p>
            <a:r>
              <a:rPr lang="en-US" sz="800" dirty="0">
                <a:latin typeface="Proximus Bold"/>
              </a:rPr>
              <a:t>This year, we will focus our implementation plan within NBU around 4 axes focused on both energy cost reduction</a:t>
            </a:r>
          </a:p>
          <a:p>
            <a:endParaRPr lang="en-US" sz="800" dirty="0"/>
          </a:p>
          <a:p>
            <a:pPr marL="228600" indent="-228600">
              <a:buAutoNum type="arabicParenR"/>
            </a:pPr>
            <a:r>
              <a:rPr lang="en-US" sz="800" dirty="0">
                <a:latin typeface="Proximus Bold"/>
              </a:rPr>
              <a:t>Our number one priority is getting the consumption down. It is a no-regret move that will help NBU in making its numbers. We have set up a program called "Watt's Up" where we share the efficiency targets together with the team leads and are setting up a list of concrete actions to be implemented within the areas of networks, data centers and buildings. </a:t>
            </a:r>
          </a:p>
          <a:p>
            <a:pPr marL="228600" indent="-228600">
              <a:buAutoNum type="arabicParenR"/>
            </a:pPr>
            <a:endParaRPr lang="en-US" sz="800" dirty="0"/>
          </a:p>
          <a:p>
            <a:pPr marL="228600" indent="-228600">
              <a:buAutoNum type="arabicParenR"/>
            </a:pPr>
            <a:r>
              <a:rPr lang="en-US" sz="800" dirty="0">
                <a:latin typeface="Proximus Bold"/>
              </a:rPr>
              <a:t>Key to limit the amount spent on energy, is the limitation in number of technologies we keep alive. An indirect effect of copper switch-off and network sharing agreements, is an important reduction of energy consumed.</a:t>
            </a:r>
          </a:p>
          <a:p>
            <a:pPr marL="228600" indent="-228600">
              <a:buAutoNum type="arabicParenR"/>
            </a:pPr>
            <a:endParaRPr lang="en-US" sz="800" dirty="0"/>
          </a:p>
          <a:p>
            <a:pPr marL="228600" indent="-228600">
              <a:buAutoNum type="arabicParenR"/>
            </a:pPr>
            <a:r>
              <a:rPr lang="en-US" sz="800" dirty="0">
                <a:latin typeface="Proximus Bold"/>
              </a:rPr>
              <a:t>The energy market is in full transformation. The increase of renewables like solar and wind energy are putting pressure on the grid and require for flexibility both at the side of the grid provider as at the side of customers like Proximus. Flexibility will change the dynamics of the energy market and there might even be some revenue opportunities into it for Proximus. In 2025 we will do a live proof-of-concept to check how we can decrease our cost by embracing flexibility and we might even find a way to develop extra income for Proximus.</a:t>
            </a:r>
            <a:endParaRPr lang="en-US" sz="800" dirty="0"/>
          </a:p>
          <a:p>
            <a:pPr marL="228600" indent="-228600">
              <a:buAutoNum type="arabicParenR"/>
            </a:pPr>
            <a:endParaRPr lang="en-US" sz="800" dirty="0">
              <a:latin typeface="Proximus Bold"/>
            </a:endParaRPr>
          </a:p>
          <a:p>
            <a:pPr marL="228600" indent="-228600">
              <a:buAutoNum type="arabicParenR"/>
            </a:pPr>
            <a:r>
              <a:rPr lang="en-US" sz="800" dirty="0">
                <a:latin typeface="Proximus Bold"/>
              </a:rPr>
              <a:t>And we will continue to source 100% renewable energy and extend the amount of solar panels on our roofs in 2025. </a:t>
            </a:r>
            <a:endParaRPr lang="en-US" sz="800" dirty="0"/>
          </a:p>
        </p:txBody>
      </p:sp>
      <p:sp>
        <p:nvSpPr>
          <p:cNvPr id="4" name="Slide Number Placeholder 3">
            <a:extLst>
              <a:ext uri="{FF2B5EF4-FFF2-40B4-BE49-F238E27FC236}">
                <a16:creationId xmlns:a16="http://schemas.microsoft.com/office/drawing/2014/main" id="{D84C9BF4-5EF8-2436-631B-A259F8E841CB}"/>
              </a:ext>
            </a:extLst>
          </p:cNvPr>
          <p:cNvSpPr>
            <a:spLocks noGrp="1"/>
          </p:cNvSpPr>
          <p:nvPr>
            <p:ph type="sldNum" sz="quarter" idx="5"/>
          </p:nvPr>
        </p:nvSpPr>
        <p:spPr/>
        <p:txBody>
          <a:bodyPr/>
          <a:lstStyle/>
          <a:p>
            <a:fld id="{FA918F22-1231-AB43-96E7-2B8B890DCD5E}" type="slidenum">
              <a:rPr lang="en-US" smtClean="0"/>
              <a:pPr/>
              <a:t>54</a:t>
            </a:fld>
            <a:endParaRPr lang="en-US"/>
          </a:p>
        </p:txBody>
      </p:sp>
    </p:spTree>
    <p:extLst>
      <p:ext uri="{BB962C8B-B14F-4D97-AF65-F5344CB8AC3E}">
        <p14:creationId xmlns:p14="http://schemas.microsoft.com/office/powerpoint/2010/main" val="3048698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pitchFamily="2" charset="77"/>
                <a:ea typeface="Aptos" panose="020B0004020202020204" pitchFamily="34" charset="0"/>
                <a:cs typeface="Arial" panose="020B0604020202020204" pitchFamily="34" charset="0"/>
              </a:rPr>
              <a:t>ROBIN </a:t>
            </a:r>
            <a:r>
              <a:rPr lang="en-US" sz="1100" u="sng" kern="100" dirty="0">
                <a:solidFill>
                  <a:srgbClr val="C04F15"/>
                </a:solidFill>
                <a:effectLst/>
                <a:latin typeface="Proximus Light" pitchFamily="2" charset="77"/>
                <a:ea typeface="Aptos" panose="020B0004020202020204" pitchFamily="34" charset="0"/>
                <a:cs typeface="Arial" panose="020B0604020202020204" pitchFamily="34" charset="0"/>
              </a:rPr>
              <a:t>on stage </a:t>
            </a:r>
          </a:p>
          <a:p>
            <a:endParaRPr lang="en-US" sz="1100" b="0" dirty="0">
              <a:latin typeface="Proximus Bold"/>
            </a:endParaRPr>
          </a:p>
          <a:p>
            <a:r>
              <a:rPr lang="en-US" sz="1100" b="1" u="sng" dirty="0">
                <a:latin typeface="Proximus Bold"/>
              </a:rPr>
              <a:t>ROBIN </a:t>
            </a:r>
            <a:r>
              <a:rPr lang="en-US" sz="1100" b="0" dirty="0">
                <a:latin typeface="Proximus Bold"/>
              </a:rPr>
              <a:t>: </a:t>
            </a:r>
            <a:r>
              <a:rPr lang="nl-NL" sz="1100" b="0" i="0" dirty="0">
                <a:solidFill>
                  <a:srgbClr val="242424"/>
                </a:solidFill>
                <a:effectLst/>
                <a:latin typeface="Segoe UI" panose="020B0502040204020203" pitchFamily="34" charset="0"/>
              </a:rPr>
              <a:t>Hartelijk dank Patrick, Laurent, Alex en </a:t>
            </a:r>
            <a:r>
              <a:rPr lang="nl-NL" sz="1100" b="0" i="0" dirty="0" err="1">
                <a:solidFill>
                  <a:srgbClr val="242424"/>
                </a:solidFill>
                <a:effectLst/>
                <a:latin typeface="Segoe UI" panose="020B0502040204020203" pitchFamily="34" charset="0"/>
              </a:rPr>
              <a:t>Gael</a:t>
            </a:r>
            <a:r>
              <a:rPr lang="nl-NL" sz="1100" b="0" i="0" dirty="0">
                <a:solidFill>
                  <a:srgbClr val="242424"/>
                </a:solidFill>
                <a:effectLst/>
                <a:latin typeface="Segoe UI" panose="020B0502040204020203" pitchFamily="34" charset="0"/>
              </a:rPr>
              <a:t>. Ik ben blij dat termen als OSS en CNF toch al iets meer steek houden nu. Ik vermoed dat onze kersverse voogdijminister, minister Vanessa </a:t>
            </a:r>
            <a:r>
              <a:rPr lang="nl-NL" sz="1100" b="0" i="0" dirty="0" err="1">
                <a:solidFill>
                  <a:srgbClr val="242424"/>
                </a:solidFill>
                <a:effectLst/>
                <a:latin typeface="Segoe UI" panose="020B0502040204020203" pitchFamily="34" charset="0"/>
              </a:rPr>
              <a:t>Matz</a:t>
            </a:r>
            <a:r>
              <a:rPr lang="nl-NL" sz="1100" b="0" i="0" dirty="0">
                <a:solidFill>
                  <a:srgbClr val="242424"/>
                </a:solidFill>
                <a:effectLst/>
                <a:latin typeface="Segoe UI" panose="020B0502040204020203" pitchFamily="34" charset="0"/>
              </a:rPr>
              <a:t> verheugd zal zijn over onze plannen om </a:t>
            </a:r>
            <a:r>
              <a:rPr lang="nl-NL" sz="1100" b="0" i="0" dirty="0" err="1">
                <a:solidFill>
                  <a:srgbClr val="242424"/>
                </a:solidFill>
                <a:effectLst/>
                <a:latin typeface="Segoe UI" panose="020B0502040204020203" pitchFamily="34" charset="0"/>
              </a:rPr>
              <a:t>bold</a:t>
            </a:r>
            <a:r>
              <a:rPr lang="nl-NL" sz="1100" b="0" i="0" dirty="0">
                <a:solidFill>
                  <a:srgbClr val="242424"/>
                </a:solidFill>
                <a:effectLst/>
                <a:latin typeface="Segoe UI" panose="020B0502040204020203" pitchFamily="34" charset="0"/>
              </a:rPr>
              <a:t> de toekomst tegemoet te gaan en steeds mee te blijven met de laatste evoluties. We hebben het beste wel voor het laatste gehouden, want de laatste pijler betreft de “</a:t>
            </a:r>
            <a:r>
              <a:rPr lang="nl-NL" sz="1100" b="0" i="0" dirty="0" err="1">
                <a:solidFill>
                  <a:srgbClr val="242424"/>
                </a:solidFill>
                <a:effectLst/>
                <a:latin typeface="Segoe UI" panose="020B0502040204020203" pitchFamily="34" charset="0"/>
              </a:rPr>
              <a:t>Bold</a:t>
            </a:r>
            <a:r>
              <a:rPr lang="nl-NL" sz="1100" b="0" i="0" dirty="0">
                <a:solidFill>
                  <a:srgbClr val="242424"/>
                </a:solidFill>
                <a:effectLst/>
                <a:latin typeface="Segoe UI" panose="020B0502040204020203" pitchFamily="34" charset="0"/>
              </a:rPr>
              <a:t> </a:t>
            </a:r>
            <a:r>
              <a:rPr lang="nl-NL" sz="1100" b="0" i="0" dirty="0" err="1">
                <a:solidFill>
                  <a:srgbClr val="242424"/>
                </a:solidFill>
                <a:effectLst/>
                <a:latin typeface="Segoe UI" panose="020B0502040204020203" pitchFamily="34" charset="0"/>
              </a:rPr>
              <a:t>people</a:t>
            </a:r>
            <a:r>
              <a:rPr lang="nl-NL" sz="1100" b="0" i="0" dirty="0">
                <a:solidFill>
                  <a:srgbClr val="242424"/>
                </a:solidFill>
                <a:effectLst/>
                <a:latin typeface="Segoe UI" panose="020B0502040204020203" pitchFamily="34" charset="0"/>
              </a:rPr>
              <a:t>”. Dat zijn wij allen samen, die dag in dag uit het verschil maken. Ik nodig dan ook graag Merel (HR Manager) uit om deze pijler verder toe te lichten.. </a:t>
            </a:r>
          </a:p>
          <a:p>
            <a:endParaRPr lang="en-US" sz="1100" b="0" dirty="0">
              <a:latin typeface="Proximus Bold"/>
            </a:endParaRPr>
          </a:p>
          <a:p>
            <a:r>
              <a:rPr lang="en-US" sz="1100" b="1" dirty="0">
                <a:latin typeface="Proximus Bold"/>
              </a:rPr>
              <a:t>SWITCH </a:t>
            </a:r>
            <a:r>
              <a:rPr lang="en-US" sz="1100" b="0" dirty="0">
                <a:latin typeface="Proximus Bold"/>
              </a:rPr>
              <a:t>: Patrick Laurent, Alex, Gael &amp; Robin out. Merel in</a:t>
            </a:r>
          </a:p>
        </p:txBody>
      </p:sp>
      <p:sp>
        <p:nvSpPr>
          <p:cNvPr id="4" name="Slide Number Placeholder 3"/>
          <p:cNvSpPr>
            <a:spLocks noGrp="1"/>
          </p:cNvSpPr>
          <p:nvPr>
            <p:ph type="sldNum" sz="quarter" idx="5"/>
          </p:nvPr>
        </p:nvSpPr>
        <p:spPr/>
        <p:txBody>
          <a:bodyPr/>
          <a:lstStyle/>
          <a:p>
            <a:fld id="{FA918F22-1231-AB43-96E7-2B8B890DCD5E}" type="slidenum">
              <a:rPr lang="en-US" smtClean="0"/>
              <a:pPr/>
              <a:t>55</a:t>
            </a:fld>
            <a:endParaRPr lang="en-US"/>
          </a:p>
        </p:txBody>
      </p:sp>
    </p:spTree>
    <p:extLst>
      <p:ext uri="{BB962C8B-B14F-4D97-AF65-F5344CB8AC3E}">
        <p14:creationId xmlns:p14="http://schemas.microsoft.com/office/powerpoint/2010/main" val="16220059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03FF4-6F07-5EB6-48EB-CD83A1D276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C16169-2905-13F5-5D93-4E6F477CB8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C4EA43-201B-2273-6FA1-C60E6B94A0EE}"/>
              </a:ext>
            </a:extLst>
          </p:cNvPr>
          <p:cNvSpPr>
            <a:spLocks noGrp="1"/>
          </p:cNvSpPr>
          <p:nvPr>
            <p:ph type="body" idx="1"/>
          </p:nvPr>
        </p:nvSpPr>
        <p:spPr/>
        <p:txBody>
          <a:bodyPr/>
          <a:lstStyle/>
          <a:p>
            <a:r>
              <a:rPr lang="en-BE" sz="1100" b="1" u="sng">
                <a:latin typeface="Proximus Bold"/>
              </a:rPr>
              <a:t>MEREL</a:t>
            </a:r>
            <a:endParaRPr lang="en-US" sz="1100" b="1" u="sng">
              <a:latin typeface="Proximus Bold"/>
            </a:endParaRPr>
          </a:p>
          <a:p>
            <a:r>
              <a:rPr lang="en-US" sz="1100" err="1">
                <a:latin typeface="Proximus Bold"/>
              </a:rPr>
              <a:t>Nieuwe</a:t>
            </a:r>
            <a:r>
              <a:rPr lang="en-US" sz="1100">
                <a:latin typeface="Proximus Bold"/>
              </a:rPr>
              <a:t> </a:t>
            </a:r>
            <a:r>
              <a:rPr lang="en-US" sz="1100" err="1">
                <a:latin typeface="Proximus Bold"/>
              </a:rPr>
              <a:t>projecten</a:t>
            </a:r>
            <a:r>
              <a:rPr lang="en-US" sz="1100">
                <a:latin typeface="Proximus Bold"/>
              </a:rPr>
              <a:t>, </a:t>
            </a:r>
            <a:r>
              <a:rPr lang="en-US" sz="1100" err="1">
                <a:latin typeface="Proximus Bold"/>
              </a:rPr>
              <a:t>snel</a:t>
            </a:r>
            <a:r>
              <a:rPr lang="en-US" sz="1100">
                <a:latin typeface="Proximus Bold"/>
              </a:rPr>
              <a:t> </a:t>
            </a:r>
            <a:r>
              <a:rPr lang="en-US" sz="1100" err="1">
                <a:latin typeface="Proximus Bold"/>
              </a:rPr>
              <a:t>veranderende</a:t>
            </a:r>
            <a:r>
              <a:rPr lang="en-US" sz="1100">
                <a:latin typeface="Proximus Bold"/>
              </a:rPr>
              <a:t> </a:t>
            </a:r>
            <a:r>
              <a:rPr lang="en-US" sz="1100" err="1">
                <a:latin typeface="Proximus Bold"/>
              </a:rPr>
              <a:t>omgeving</a:t>
            </a:r>
            <a:r>
              <a:rPr lang="en-US" sz="1100">
                <a:latin typeface="Proximus Bold"/>
              </a:rPr>
              <a:t>. </a:t>
            </a:r>
            <a:r>
              <a:rPr lang="en-US" sz="1100" err="1">
                <a:latin typeface="Proximus Bold"/>
              </a:rPr>
              <a:t>Horen</a:t>
            </a:r>
            <a:r>
              <a:rPr lang="en-US" sz="1100">
                <a:latin typeface="Proximus Bold"/>
              </a:rPr>
              <a:t> over </a:t>
            </a:r>
            <a:r>
              <a:rPr lang="en-US" sz="1100" err="1">
                <a:latin typeface="Proximus Bold"/>
              </a:rPr>
              <a:t>spannende</a:t>
            </a:r>
            <a:r>
              <a:rPr lang="en-US" sz="1100">
                <a:latin typeface="Proximus Bold"/>
              </a:rPr>
              <a:t> </a:t>
            </a:r>
            <a:r>
              <a:rPr lang="en-US" sz="1100" err="1">
                <a:latin typeface="Proximus Bold"/>
              </a:rPr>
              <a:t>evoluties</a:t>
            </a:r>
            <a:r>
              <a:rPr lang="en-US" sz="1100">
                <a:latin typeface="Proximus Bold"/>
              </a:rPr>
              <a:t> in NBU.</a:t>
            </a:r>
            <a:br>
              <a:rPr lang="en-US" sz="1100">
                <a:latin typeface="Proximus Bold"/>
              </a:rPr>
            </a:br>
            <a:r>
              <a:rPr lang="en-US" sz="1100">
                <a:latin typeface="Proximus Bold"/>
              </a:rPr>
              <a:t>Impact op workforce =&gt; </a:t>
            </a:r>
            <a:r>
              <a:rPr lang="en-US" sz="1100" err="1">
                <a:latin typeface="Proximus Bold"/>
              </a:rPr>
              <a:t>medewerkers</a:t>
            </a:r>
            <a:r>
              <a:rPr lang="en-US" sz="1100">
                <a:latin typeface="Proximus Bold"/>
              </a:rPr>
              <a:t> </a:t>
            </a:r>
            <a:r>
              <a:rPr lang="en-US" sz="1100" err="1">
                <a:latin typeface="Proximus Bold"/>
              </a:rPr>
              <a:t>grootste</a:t>
            </a:r>
            <a:r>
              <a:rPr lang="en-US" sz="1100">
                <a:latin typeface="Proximus Bold"/>
              </a:rPr>
              <a:t> asset</a:t>
            </a:r>
          </a:p>
          <a:p>
            <a:r>
              <a:rPr lang="en-US" sz="1100" err="1">
                <a:latin typeface="Proximus Bold"/>
              </a:rPr>
              <a:t>Anticiperen</a:t>
            </a:r>
            <a:r>
              <a:rPr lang="en-US" sz="1100">
                <a:latin typeface="Proximus Bold"/>
              </a:rPr>
              <a:t> op </a:t>
            </a:r>
            <a:r>
              <a:rPr lang="en-US" sz="1100" err="1">
                <a:latin typeface="Proximus Bold"/>
              </a:rPr>
              <a:t>verandering</a:t>
            </a:r>
            <a:r>
              <a:rPr lang="en-US" sz="1100">
                <a:latin typeface="Proximus Bold"/>
              </a:rPr>
              <a:t> =&gt; SWP &amp; pension wall</a:t>
            </a:r>
          </a:p>
          <a:p>
            <a:r>
              <a:rPr lang="en-US" sz="1100">
                <a:latin typeface="Proximus Bold"/>
              </a:rPr>
              <a:t>SWP: talent &amp; </a:t>
            </a:r>
            <a:r>
              <a:rPr lang="en-US" sz="1100" err="1">
                <a:latin typeface="Proximus Bold"/>
              </a:rPr>
              <a:t>plaats</a:t>
            </a:r>
            <a:r>
              <a:rPr lang="en-US" sz="1100">
                <a:latin typeface="Proximus Bold"/>
              </a:rPr>
              <a:t> - check </a:t>
            </a:r>
            <a:r>
              <a:rPr lang="en-US" sz="1100" err="1">
                <a:latin typeface="Proximus Bold"/>
              </a:rPr>
              <a:t>balans</a:t>
            </a:r>
            <a:r>
              <a:rPr lang="en-US" sz="1100">
                <a:latin typeface="Proximus Bold"/>
              </a:rPr>
              <a:t> =&gt; Hoe? Workload vs workforce (</a:t>
            </a:r>
            <a:r>
              <a:rPr lang="en-US" sz="1100" err="1">
                <a:latin typeface="Proximus Bold"/>
              </a:rPr>
              <a:t>pensioen</a:t>
            </a:r>
            <a:r>
              <a:rPr lang="en-US" sz="1100">
                <a:latin typeface="Proximus Bold"/>
              </a:rPr>
              <a:t>) &amp; </a:t>
            </a:r>
            <a:r>
              <a:rPr lang="en-US" sz="1100" err="1">
                <a:latin typeface="Proximus Bold"/>
              </a:rPr>
              <a:t>bepaal</a:t>
            </a:r>
            <a:r>
              <a:rPr lang="en-US" sz="1100">
                <a:latin typeface="Proximus Bold"/>
              </a:rPr>
              <a:t> gaps</a:t>
            </a:r>
          </a:p>
          <a:p>
            <a:r>
              <a:rPr lang="en-US" sz="1100">
                <a:latin typeface="Proximus Bold"/>
              </a:rPr>
              <a:t>NBU: </a:t>
            </a:r>
            <a:r>
              <a:rPr lang="en-US" sz="1100" err="1">
                <a:latin typeface="Proximus Bold"/>
              </a:rPr>
              <a:t>weinig</a:t>
            </a:r>
            <a:r>
              <a:rPr lang="en-US" sz="1100">
                <a:latin typeface="Proximus Bold"/>
              </a:rPr>
              <a:t> impact </a:t>
            </a:r>
            <a:r>
              <a:rPr lang="en-US" sz="1100" err="1">
                <a:latin typeface="Proximus Bold"/>
              </a:rPr>
              <a:t>aantal</a:t>
            </a:r>
            <a:r>
              <a:rPr lang="en-US" sz="1100">
                <a:latin typeface="Proximus Bold"/>
              </a:rPr>
              <a:t> interne </a:t>
            </a:r>
            <a:r>
              <a:rPr lang="en-US" sz="1100" err="1">
                <a:latin typeface="Proximus Bold"/>
              </a:rPr>
              <a:t>medewerkers</a:t>
            </a:r>
            <a:r>
              <a:rPr lang="en-US" sz="1100">
                <a:latin typeface="Proximus Bold"/>
              </a:rPr>
              <a:t>, </a:t>
            </a:r>
            <a:r>
              <a:rPr lang="en-US" sz="1100" err="1">
                <a:latin typeface="Proximus Bold"/>
              </a:rPr>
              <a:t>uitdaging</a:t>
            </a:r>
            <a:r>
              <a:rPr lang="en-US" sz="1100">
                <a:latin typeface="Proximus Bold"/>
              </a:rPr>
              <a:t> </a:t>
            </a:r>
            <a:r>
              <a:rPr lang="en-US" sz="1100" err="1">
                <a:latin typeface="Proximus Bold"/>
              </a:rPr>
              <a:t>externen</a:t>
            </a:r>
            <a:r>
              <a:rPr lang="en-US" sz="1100">
                <a:latin typeface="Proximus Bold"/>
              </a:rPr>
              <a:t> </a:t>
            </a:r>
            <a:r>
              <a:rPr lang="en-US" sz="1100" err="1">
                <a:latin typeface="Proximus Bold"/>
              </a:rPr>
              <a:t>en</a:t>
            </a:r>
            <a:r>
              <a:rPr lang="en-US" sz="1100">
                <a:latin typeface="Proximus Bold"/>
              </a:rPr>
              <a:t> job </a:t>
            </a:r>
            <a:r>
              <a:rPr lang="en-US" sz="1100" err="1">
                <a:latin typeface="Proximus Bold"/>
              </a:rPr>
              <a:t>inhoud</a:t>
            </a:r>
            <a:r>
              <a:rPr lang="en-US" sz="1100">
                <a:latin typeface="Proximus Bold"/>
              </a:rPr>
              <a:t> (</a:t>
            </a:r>
            <a:r>
              <a:rPr lang="en-US" sz="1100" err="1">
                <a:latin typeface="Proximus Bold"/>
              </a:rPr>
              <a:t>activiteit</a:t>
            </a:r>
            <a:r>
              <a:rPr lang="en-US" sz="1100">
                <a:latin typeface="Proximus Bold"/>
              </a:rPr>
              <a:t> </a:t>
            </a:r>
            <a:r>
              <a:rPr lang="en-US" sz="1100" err="1">
                <a:latin typeface="Proximus Bold"/>
              </a:rPr>
              <a:t>en</a:t>
            </a:r>
            <a:r>
              <a:rPr lang="en-US" sz="1100">
                <a:latin typeface="Proximus Bold"/>
              </a:rPr>
              <a:t> </a:t>
            </a:r>
            <a:r>
              <a:rPr lang="en-US" sz="1100" err="1">
                <a:latin typeface="Proximus Bold"/>
              </a:rPr>
              <a:t>technologie</a:t>
            </a:r>
            <a:r>
              <a:rPr lang="en-US" sz="1100">
                <a:latin typeface="Proximus Bold"/>
              </a:rPr>
              <a:t>). 3 </a:t>
            </a:r>
            <a:r>
              <a:rPr lang="en-US" sz="1100" err="1">
                <a:latin typeface="Proximus Bold"/>
              </a:rPr>
              <a:t>jaar</a:t>
            </a:r>
            <a:r>
              <a:rPr lang="en-US" sz="1100">
                <a:latin typeface="Proximus Bold"/>
              </a:rPr>
              <a:t> 60% </a:t>
            </a:r>
            <a:r>
              <a:rPr lang="en-US" sz="1100" kern="1200" err="1">
                <a:solidFill>
                  <a:schemeClr val="tx1"/>
                </a:solidFill>
                <a:latin typeface="Proximus Bold"/>
                <a:ea typeface="+mn-ea"/>
                <a:cs typeface="+mn-cs"/>
              </a:rPr>
              <a:t>bv</a:t>
            </a:r>
            <a:r>
              <a:rPr lang="en-US" sz="1100" kern="1200">
                <a:solidFill>
                  <a:schemeClr val="tx1"/>
                </a:solidFill>
                <a:latin typeface="Proximus Bold"/>
                <a:ea typeface="+mn-ea"/>
                <a:cs typeface="+mn-cs"/>
              </a:rPr>
              <a:t> shift van Fiber build </a:t>
            </a:r>
            <a:r>
              <a:rPr lang="en-US" sz="1100" kern="1200" err="1">
                <a:solidFill>
                  <a:schemeClr val="tx1"/>
                </a:solidFill>
                <a:latin typeface="Proximus Bold"/>
                <a:ea typeface="+mn-ea"/>
                <a:cs typeface="+mn-cs"/>
              </a:rPr>
              <a:t>naar</a:t>
            </a:r>
            <a:r>
              <a:rPr lang="en-US" sz="1100" kern="1200">
                <a:solidFill>
                  <a:schemeClr val="tx1"/>
                </a:solidFill>
                <a:latin typeface="Proximus Bold"/>
                <a:ea typeface="+mn-ea"/>
                <a:cs typeface="+mn-cs"/>
              </a:rPr>
              <a:t> Fiber maintain and repair</a:t>
            </a:r>
            <a:endParaRPr lang="en-BE" sz="1100" kern="1200">
              <a:solidFill>
                <a:schemeClr val="tx1"/>
              </a:solidFill>
              <a:latin typeface="Proximus Bold"/>
              <a:ea typeface="+mn-ea"/>
              <a:cs typeface="+mn-cs"/>
            </a:endParaRPr>
          </a:p>
        </p:txBody>
      </p:sp>
      <p:sp>
        <p:nvSpPr>
          <p:cNvPr id="4" name="Slide Number Placeholder 3">
            <a:extLst>
              <a:ext uri="{FF2B5EF4-FFF2-40B4-BE49-F238E27FC236}">
                <a16:creationId xmlns:a16="http://schemas.microsoft.com/office/drawing/2014/main" id="{F0CCF1C6-09C1-E579-85F5-33487B10D4A6}"/>
              </a:ext>
            </a:extLst>
          </p:cNvPr>
          <p:cNvSpPr>
            <a:spLocks noGrp="1"/>
          </p:cNvSpPr>
          <p:nvPr>
            <p:ph type="sldNum" sz="quarter" idx="5"/>
          </p:nvPr>
        </p:nvSpPr>
        <p:spPr/>
        <p:txBody>
          <a:bodyPr/>
          <a:lstStyle/>
          <a:p>
            <a:fld id="{FA918F22-1231-AB43-96E7-2B8B890DCD5E}" type="slidenum">
              <a:rPr lang="en-US" smtClean="0"/>
              <a:pPr/>
              <a:t>56</a:t>
            </a:fld>
            <a:endParaRPr lang="en-US"/>
          </a:p>
        </p:txBody>
      </p:sp>
    </p:spTree>
    <p:extLst>
      <p:ext uri="{BB962C8B-B14F-4D97-AF65-F5344CB8AC3E}">
        <p14:creationId xmlns:p14="http://schemas.microsoft.com/office/powerpoint/2010/main" val="8285312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C33C4-D6ED-ED1A-7B08-59F3D44E7F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106713-0F60-082A-44B3-26E55F5E0D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61A20E-BDB0-9C15-A730-E86BA1053F5B}"/>
              </a:ext>
            </a:extLst>
          </p:cNvPr>
          <p:cNvSpPr>
            <a:spLocks noGrp="1"/>
          </p:cNvSpPr>
          <p:nvPr>
            <p:ph type="body" idx="1"/>
          </p:nvPr>
        </p:nvSpPr>
        <p:spPr/>
        <p:txBody>
          <a:bodyPr/>
          <a:lstStyle/>
          <a:p>
            <a:r>
              <a:rPr lang="en-BE" sz="1100" b="1" u="sng">
                <a:latin typeface="Proximus Bold"/>
              </a:rPr>
              <a:t>MEREL</a:t>
            </a:r>
          </a:p>
          <a:p>
            <a:r>
              <a:rPr lang="en-US" sz="1100"/>
              <a:t>challenges for the future, use SWP. action plan three main areas: </a:t>
            </a:r>
            <a:endParaRPr lang="en-BE" sz="1100"/>
          </a:p>
          <a:p>
            <a:r>
              <a:rPr lang="en-US" sz="1100" b="1">
                <a:latin typeface="Proximus Bold"/>
              </a:rPr>
              <a:t>Reskilling </a:t>
            </a:r>
            <a:r>
              <a:rPr lang="en-US" sz="1100">
                <a:latin typeface="Proximus Bold"/>
              </a:rPr>
              <a:t>3 major tracks. In 2025, </a:t>
            </a:r>
          </a:p>
          <a:p>
            <a:pPr marL="171450" indent="-171450">
              <a:buFontTx/>
              <a:buChar char="-"/>
            </a:pPr>
            <a:r>
              <a:rPr lang="en-US" sz="1100">
                <a:latin typeface="Proximus Bold"/>
              </a:rPr>
              <a:t>NBU will open reskilling tracks to offer new opportunities to employees. </a:t>
            </a:r>
          </a:p>
          <a:p>
            <a:pPr marL="171450" indent="-171450">
              <a:buFontTx/>
              <a:buChar char="-"/>
            </a:pPr>
            <a:r>
              <a:rPr lang="en-US" sz="1100">
                <a:latin typeface="Proximus Bold"/>
              </a:rPr>
              <a:t>manage our external population (contractor </a:t>
            </a:r>
            <a:r>
              <a:rPr lang="en-US" sz="1100" err="1">
                <a:latin typeface="Proximus Bold"/>
              </a:rPr>
              <a:t>mgmt</a:t>
            </a:r>
            <a:r>
              <a:rPr lang="en-US" sz="1100">
                <a:latin typeface="Proximus Bold"/>
              </a:rPr>
              <a:t>) and decide on the best sourcing mix with </a:t>
            </a:r>
            <a:r>
              <a:rPr lang="en-US" sz="1100" err="1">
                <a:latin typeface="Proximus Bold"/>
              </a:rPr>
              <a:t>eg</a:t>
            </a:r>
            <a:r>
              <a:rPr lang="en-US" sz="1100">
                <a:latin typeface="Proximus Bold"/>
              </a:rPr>
              <a:t> DTI. </a:t>
            </a:r>
            <a:endParaRPr lang="en-BE" sz="1100">
              <a:latin typeface="Proximus Bold"/>
            </a:endParaRPr>
          </a:p>
          <a:p>
            <a:r>
              <a:rPr lang="en-US" sz="1100">
                <a:latin typeface="Proximus Bold"/>
              </a:rPr>
              <a:t>largest block </a:t>
            </a:r>
            <a:r>
              <a:rPr lang="en-US" sz="1100" b="1">
                <a:latin typeface="Proximus Bold"/>
              </a:rPr>
              <a:t>upskilling</a:t>
            </a:r>
            <a:r>
              <a:rPr lang="en-US" sz="1100">
                <a:latin typeface="Proximus Bold"/>
              </a:rPr>
              <a:t>. new projects and topics include changes in technology or way of working +&gt; </a:t>
            </a:r>
            <a:r>
              <a:rPr lang="en-US" sz="1100" err="1">
                <a:latin typeface="Proximus Bold"/>
              </a:rPr>
              <a:t>veel</a:t>
            </a:r>
            <a:r>
              <a:rPr lang="en-US" sz="1100">
                <a:latin typeface="Proximus Bold"/>
              </a:rPr>
              <a:t> </a:t>
            </a:r>
            <a:r>
              <a:rPr lang="en-US" sz="1100" err="1">
                <a:latin typeface="Proximus Bold"/>
              </a:rPr>
              <a:t>initiatieven</a:t>
            </a:r>
            <a:endParaRPr lang="en-US" sz="1100">
              <a:latin typeface="Proximus Bold"/>
            </a:endParaRPr>
          </a:p>
          <a:p>
            <a:pPr marL="171450" indent="-171450">
              <a:buFontTx/>
              <a:buChar char="-"/>
            </a:pPr>
            <a:r>
              <a:rPr lang="en-US" sz="1100" b="1">
                <a:latin typeface="Proximus Bold"/>
              </a:rPr>
              <a:t>T-shaped or multi-skilled profiles</a:t>
            </a:r>
            <a:r>
              <a:rPr lang="en-US" sz="1100">
                <a:latin typeface="Proximus Bold"/>
              </a:rPr>
              <a:t>. </a:t>
            </a:r>
          </a:p>
          <a:p>
            <a:pPr marL="171450" indent="-171450">
              <a:buFontTx/>
              <a:buChar char="-"/>
            </a:pPr>
            <a:r>
              <a:rPr lang="en-US" sz="1100">
                <a:latin typeface="Proximus Bold"/>
              </a:rPr>
              <a:t>Leadership booster &amp; development (</a:t>
            </a:r>
            <a:r>
              <a:rPr lang="en-US" sz="1100" err="1">
                <a:latin typeface="Proximus Bold"/>
              </a:rPr>
              <a:t>cfr</a:t>
            </a:r>
            <a:r>
              <a:rPr lang="en-US" sz="1100">
                <a:latin typeface="Proximus Bold"/>
              </a:rPr>
              <a:t> </a:t>
            </a:r>
            <a:r>
              <a:rPr lang="en-US" sz="1100" err="1">
                <a:latin typeface="Proximus Bold"/>
              </a:rPr>
              <a:t>sessie</a:t>
            </a:r>
            <a:r>
              <a:rPr lang="en-US" sz="1100">
                <a:latin typeface="Proximus Bold"/>
              </a:rPr>
              <a:t> 27 </a:t>
            </a:r>
            <a:r>
              <a:rPr lang="en-US" sz="1100" err="1">
                <a:latin typeface="Proximus Bold"/>
              </a:rPr>
              <a:t>januari</a:t>
            </a:r>
            <a:r>
              <a:rPr lang="en-US" sz="1100">
                <a:latin typeface="Proximus Bold"/>
              </a:rPr>
              <a:t>)</a:t>
            </a:r>
          </a:p>
          <a:p>
            <a:pPr marL="171450" indent="-171450">
              <a:buFontTx/>
              <a:buChar char="-"/>
            </a:pPr>
            <a:r>
              <a:rPr lang="en-US" sz="1100" err="1">
                <a:latin typeface="Proximus Bold"/>
              </a:rPr>
              <a:t>Acties</a:t>
            </a:r>
            <a:r>
              <a:rPr lang="en-US" sz="1100">
                <a:latin typeface="Proximus Bold"/>
              </a:rPr>
              <a:t> </a:t>
            </a:r>
            <a:r>
              <a:rPr lang="en-US" sz="1100" err="1">
                <a:latin typeface="Proximus Bold"/>
              </a:rPr>
              <a:t>gelinkt</a:t>
            </a:r>
            <a:r>
              <a:rPr lang="en-US" sz="1100">
                <a:latin typeface="Proximus Bold"/>
              </a:rPr>
              <a:t> </a:t>
            </a:r>
            <a:r>
              <a:rPr lang="en-US" sz="1100" err="1">
                <a:latin typeface="Proximus Bold"/>
              </a:rPr>
              <a:t>aan</a:t>
            </a:r>
            <a:r>
              <a:rPr lang="en-US" sz="1100">
                <a:latin typeface="Proximus Bold"/>
              </a:rPr>
              <a:t> talent board</a:t>
            </a:r>
          </a:p>
          <a:p>
            <a:pPr marL="171450" indent="-171450">
              <a:buFontTx/>
              <a:buChar char="-"/>
            </a:pPr>
            <a:r>
              <a:rPr lang="en-US" sz="1100">
                <a:latin typeface="Proximus Bold"/>
              </a:rPr>
              <a:t>Learning plan </a:t>
            </a:r>
            <a:r>
              <a:rPr lang="en-US" sz="1100" err="1">
                <a:latin typeface="Proximus Bold"/>
              </a:rPr>
              <a:t>voor</a:t>
            </a:r>
            <a:r>
              <a:rPr lang="en-US" sz="1100">
                <a:latin typeface="Proximus Bold"/>
              </a:rPr>
              <a:t> 2025 (details </a:t>
            </a:r>
            <a:r>
              <a:rPr lang="en-US" sz="1100" err="1">
                <a:latin typeface="Proximus Bold"/>
              </a:rPr>
              <a:t>komen</a:t>
            </a:r>
            <a:r>
              <a:rPr lang="en-US" sz="1100">
                <a:latin typeface="Proximus Bold"/>
              </a:rPr>
              <a:t> </a:t>
            </a:r>
            <a:r>
              <a:rPr lang="en-US" sz="1100" err="1">
                <a:latin typeface="Proximus Bold"/>
              </a:rPr>
              <a:t>nog</a:t>
            </a:r>
            <a:r>
              <a:rPr lang="en-US" sz="1100">
                <a:latin typeface="Proximus Bold"/>
              </a:rPr>
              <a:t>) – </a:t>
            </a:r>
            <a:r>
              <a:rPr lang="en-US" sz="1100" err="1">
                <a:latin typeface="Proximus Bold"/>
              </a:rPr>
              <a:t>meer</a:t>
            </a:r>
            <a:r>
              <a:rPr lang="en-US" sz="1100">
                <a:latin typeface="Proximus Bold"/>
              </a:rPr>
              <a:t> dan 50 </a:t>
            </a:r>
            <a:r>
              <a:rPr lang="en-US" sz="1100" err="1">
                <a:latin typeface="Proximus Bold"/>
              </a:rPr>
              <a:t>initiatieven</a:t>
            </a:r>
            <a:endParaRPr lang="en-US" sz="1100">
              <a:latin typeface="Proximus Bold"/>
            </a:endParaRPr>
          </a:p>
          <a:p>
            <a:pPr marL="171450" indent="-171450">
              <a:buFontTx/>
              <a:buChar char="-"/>
            </a:pPr>
            <a:r>
              <a:rPr lang="en-US" sz="1100" err="1">
                <a:latin typeface="Proximus Bold"/>
              </a:rPr>
              <a:t>Specifiek</a:t>
            </a:r>
            <a:r>
              <a:rPr lang="en-US" sz="1100">
                <a:latin typeface="Proximus Bold"/>
              </a:rPr>
              <a:t> DIV: </a:t>
            </a:r>
            <a:r>
              <a:rPr lang="en-US" sz="1100" err="1">
                <a:latin typeface="Proximus Bold"/>
              </a:rPr>
              <a:t>eg</a:t>
            </a:r>
            <a:r>
              <a:rPr lang="en-US" sz="1100">
                <a:latin typeface="Proximus Bold"/>
              </a:rPr>
              <a:t> NEO growth missions</a:t>
            </a:r>
            <a:endParaRPr lang="en-BE" sz="1100">
              <a:latin typeface="Proximus Bold"/>
            </a:endParaRPr>
          </a:p>
          <a:p>
            <a:r>
              <a:rPr lang="en-US" sz="1100">
                <a:latin typeface="Proximus Bold"/>
              </a:rPr>
              <a:t>last but not least, </a:t>
            </a:r>
            <a:r>
              <a:rPr lang="en-US" sz="1100" b="1">
                <a:latin typeface="Proximus Bold"/>
              </a:rPr>
              <a:t>mindset shift and change</a:t>
            </a:r>
            <a:r>
              <a:rPr lang="en-US" sz="1100">
                <a:latin typeface="Proximus Bold"/>
              </a:rPr>
              <a:t>. </a:t>
            </a:r>
          </a:p>
          <a:p>
            <a:pPr marL="171450" indent="-171450">
              <a:buFont typeface="Arial" panose="020B0604020202020204" pitchFamily="34" charset="0"/>
              <a:buChar char="•"/>
            </a:pPr>
            <a:r>
              <a:rPr lang="en-US" sz="1100">
                <a:latin typeface="Proximus Bold"/>
              </a:rPr>
              <a:t>Cross dept/BU</a:t>
            </a:r>
          </a:p>
          <a:p>
            <a:pPr marL="171450" indent="-171450">
              <a:buFont typeface="Arial" panose="020B0604020202020204" pitchFamily="34" charset="0"/>
              <a:buChar char="•"/>
            </a:pPr>
            <a:r>
              <a:rPr lang="en-US" sz="1100" b="1">
                <a:latin typeface="Proximus Bold"/>
              </a:rPr>
              <a:t>lifelong learning &amp; continuous change</a:t>
            </a:r>
            <a:r>
              <a:rPr lang="en-US" sz="1100">
                <a:latin typeface="Proximus Bold"/>
              </a:rPr>
              <a:t>. </a:t>
            </a:r>
          </a:p>
          <a:p>
            <a:pPr marL="171450" indent="-171450">
              <a:buFont typeface="Arial" panose="020B0604020202020204" pitchFamily="34" charset="0"/>
              <a:buChar char="•"/>
            </a:pPr>
            <a:r>
              <a:rPr lang="en-US" sz="1100">
                <a:latin typeface="Proximus Bold"/>
              </a:rPr>
              <a:t>not learning or evolving will not be an option, and flexibility is essential. </a:t>
            </a:r>
          </a:p>
          <a:p>
            <a:pPr marL="171450" indent="-171450">
              <a:buFont typeface="Arial" panose="020B0604020202020204" pitchFamily="34" charset="0"/>
              <a:buChar char="•"/>
            </a:pPr>
            <a:r>
              <a:rPr lang="en-US" sz="1100">
                <a:latin typeface="Proximus Bold"/>
              </a:rPr>
              <a:t>In return </a:t>
            </a:r>
            <a:r>
              <a:rPr lang="en-US" sz="1100" b="1">
                <a:latin typeface="Proximus Bold"/>
              </a:rPr>
              <a:t>opportunities</a:t>
            </a:r>
            <a:r>
              <a:rPr lang="en-US" sz="1100">
                <a:latin typeface="Proximus Bold"/>
              </a:rPr>
              <a:t>. </a:t>
            </a:r>
            <a:endParaRPr lang="en-BE" sz="1100">
              <a:latin typeface="Proximus Bold"/>
            </a:endParaRPr>
          </a:p>
          <a:p>
            <a:r>
              <a:rPr lang="en-US" sz="1100">
                <a:latin typeface="Proximus Bold"/>
              </a:rPr>
              <a:t>We’ll be focusing on lifelong learning, offering new opportunities for growth, and ensuring that our employees are equipped with the skills needed</a:t>
            </a:r>
            <a:endParaRPr lang="en-BE" sz="1100">
              <a:latin typeface="Proximus Bold"/>
            </a:endParaRPr>
          </a:p>
          <a:p>
            <a:endParaRPr lang="en-BE" sz="500"/>
          </a:p>
        </p:txBody>
      </p:sp>
      <p:sp>
        <p:nvSpPr>
          <p:cNvPr id="4" name="Slide Number Placeholder 3">
            <a:extLst>
              <a:ext uri="{FF2B5EF4-FFF2-40B4-BE49-F238E27FC236}">
                <a16:creationId xmlns:a16="http://schemas.microsoft.com/office/drawing/2014/main" id="{2B795165-C593-6539-D44F-5929B833B638}"/>
              </a:ext>
            </a:extLst>
          </p:cNvPr>
          <p:cNvSpPr>
            <a:spLocks noGrp="1"/>
          </p:cNvSpPr>
          <p:nvPr>
            <p:ph type="sldNum" sz="quarter" idx="5"/>
          </p:nvPr>
        </p:nvSpPr>
        <p:spPr/>
        <p:txBody>
          <a:bodyPr/>
          <a:lstStyle/>
          <a:p>
            <a:fld id="{FA918F22-1231-AB43-96E7-2B8B890DCD5E}" type="slidenum">
              <a:rPr lang="en-US" smtClean="0"/>
              <a:pPr/>
              <a:t>57</a:t>
            </a:fld>
            <a:endParaRPr lang="en-US"/>
          </a:p>
        </p:txBody>
      </p:sp>
    </p:spTree>
    <p:extLst>
      <p:ext uri="{BB962C8B-B14F-4D97-AF65-F5344CB8AC3E}">
        <p14:creationId xmlns:p14="http://schemas.microsoft.com/office/powerpoint/2010/main" val="23286095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7291C-A425-9677-9C67-87AF4B9261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525CF6-D912-474B-C04A-E0C4267063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968FED-0C04-CB51-73E2-9020ED28CEC9}"/>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200" dirty="0"/>
              <a:t>Video one minute &gt; Geert </a:t>
            </a:r>
            <a:r>
              <a:rPr lang="en-US" sz="1200" dirty="0" err="1"/>
              <a:t>Robberechts</a:t>
            </a:r>
            <a:endParaRPr lang="en-US" sz="1200" dirty="0"/>
          </a:p>
          <a:p>
            <a:endParaRPr lang="en-US" sz="1200" dirty="0"/>
          </a:p>
          <a:p>
            <a:endParaRPr lang="fr-BE" dirty="0"/>
          </a:p>
          <a:p>
            <a:endParaRPr lang="en-BE" dirty="0"/>
          </a:p>
        </p:txBody>
      </p:sp>
      <p:sp>
        <p:nvSpPr>
          <p:cNvPr id="4" name="Slide Number Placeholder 3">
            <a:extLst>
              <a:ext uri="{FF2B5EF4-FFF2-40B4-BE49-F238E27FC236}">
                <a16:creationId xmlns:a16="http://schemas.microsoft.com/office/drawing/2014/main" id="{C3F595E1-E38C-514D-2F5E-1EC6CB90E18A}"/>
              </a:ext>
            </a:extLst>
          </p:cNvPr>
          <p:cNvSpPr>
            <a:spLocks noGrp="1"/>
          </p:cNvSpPr>
          <p:nvPr>
            <p:ph type="sldNum" sz="quarter" idx="5"/>
          </p:nvPr>
        </p:nvSpPr>
        <p:spPr/>
        <p:txBody>
          <a:bodyPr/>
          <a:lstStyle/>
          <a:p>
            <a:pPr marL="0" marR="0" lvl="0" indent="0" algn="r" defTabSz="408104" rtl="0" eaLnBrk="1" fontAlgn="auto" latinLnBrk="0" hangingPunct="1">
              <a:lnSpc>
                <a:spcPct val="100000"/>
              </a:lnSpc>
              <a:spcBef>
                <a:spcPts val="0"/>
              </a:spcBef>
              <a:spcAft>
                <a:spcPts val="0"/>
              </a:spcAft>
              <a:buClrTx/>
              <a:buSzTx/>
              <a:buFontTx/>
              <a:buNone/>
              <a:tabLst/>
              <a:defRPr/>
            </a:pPr>
            <a:fld id="{FA918F22-1231-AB43-96E7-2B8B890DCD5E}" type="slidenum">
              <a:rPr kumimoji="0" lang="en-US" sz="1200" b="0" i="0" u="none" strike="noStrike" kern="1200" cap="none" spc="0" normalizeH="0" baseline="0" noProof="0" smtClean="0">
                <a:ln>
                  <a:noFill/>
                </a:ln>
                <a:solidFill>
                  <a:prstClr val="black"/>
                </a:solidFill>
                <a:effectLst/>
                <a:uLnTx/>
                <a:uFillTx/>
                <a:latin typeface="Proximus Bold" panose="00000500000000000000" pitchFamily="2" charset="0"/>
                <a:ea typeface="+mn-ea"/>
                <a:cs typeface="+mn-cs"/>
              </a:rPr>
              <a:pPr marL="0" marR="0" lvl="0" indent="0" algn="r" defTabSz="40810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Proximus Bold" panose="00000500000000000000" pitchFamily="2" charset="0"/>
              <a:ea typeface="+mn-ea"/>
              <a:cs typeface="+mn-cs"/>
            </a:endParaRPr>
          </a:p>
        </p:txBody>
      </p:sp>
    </p:spTree>
    <p:extLst>
      <p:ext uri="{BB962C8B-B14F-4D97-AF65-F5344CB8AC3E}">
        <p14:creationId xmlns:p14="http://schemas.microsoft.com/office/powerpoint/2010/main" val="3249251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9C6BB-5E57-A921-F3AF-DCDFC4FFAE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5AA14D-BA75-5164-E862-44151A7AD7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D40AE9-196A-9364-8E79-F8DBCC18E6CC}"/>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rgbClr val="C04F15"/>
                </a:solidFill>
                <a:effectLst/>
                <a:latin typeface="Proximus Light"/>
                <a:ea typeface="Aptos" panose="020B0004020202020204" pitchFamily="34" charset="0"/>
                <a:cs typeface="Arial" panose="020B0604020202020204" pitchFamily="34" charset="0"/>
              </a:rPr>
              <a:t>MAGALI </a:t>
            </a:r>
            <a:r>
              <a:rPr lang="en-US" sz="1100" u="sng" kern="100">
                <a:solidFill>
                  <a:srgbClr val="C04F15"/>
                </a:solidFill>
                <a:effectLst/>
                <a:latin typeface="Proximus Light"/>
                <a:ea typeface="Aptos" panose="020B0004020202020204" pitchFamily="34" charset="0"/>
                <a:cs typeface="Arial" panose="020B0604020202020204" pitchFamily="34" charset="0"/>
              </a:rPr>
              <a:t>on stage </a:t>
            </a:r>
          </a:p>
          <a:p>
            <a:endParaRPr lang="en-US" sz="1100" b="0">
              <a:latin typeface="Proximus Bold"/>
            </a:endParaRPr>
          </a:p>
          <a:p>
            <a:r>
              <a:rPr lang="en-US" sz="1100" b="1" u="sng">
                <a:latin typeface="Proximus Bold"/>
              </a:rPr>
              <a:t>MAGALI </a:t>
            </a:r>
            <a:r>
              <a:rPr lang="en-US" sz="1100" b="0">
                <a:latin typeface="Proximus Bold"/>
              </a:rPr>
              <a:t>: </a:t>
            </a:r>
            <a:r>
              <a:rPr lang="en-US" sz="1100" err="1">
                <a:solidFill>
                  <a:srgbClr val="000000"/>
                </a:solidFill>
                <a:latin typeface="Proximus Bold"/>
              </a:rPr>
              <a:t>Féliciations</a:t>
            </a:r>
            <a:r>
              <a:rPr lang="en-US" sz="1100">
                <a:solidFill>
                  <a:srgbClr val="000000"/>
                </a:solidFill>
                <a:latin typeface="Proximus Bold"/>
              </a:rPr>
              <a:t> </a:t>
            </a:r>
            <a:r>
              <a:rPr lang="en-US" sz="1100">
                <a:solidFill>
                  <a:srgbClr val="000000"/>
                </a:solidFill>
                <a:latin typeface="Proximus Bold"/>
                <a:cs typeface="Segoe UI"/>
              </a:rPr>
              <a:t>à </a:t>
            </a:r>
            <a:r>
              <a:rPr lang="en-US" sz="1100" err="1">
                <a:solidFill>
                  <a:srgbClr val="000000"/>
                </a:solidFill>
                <a:latin typeface="Proximus Bold"/>
                <a:cs typeface="Segoe UI"/>
              </a:rPr>
              <a:t>notre</a:t>
            </a:r>
            <a:r>
              <a:rPr lang="en-US" sz="1100">
                <a:solidFill>
                  <a:srgbClr val="000000"/>
                </a:solidFill>
                <a:latin typeface="Proximus Bold"/>
                <a:cs typeface="Segoe UI"/>
              </a:rPr>
              <a:t> </a:t>
            </a:r>
            <a:r>
              <a:rPr lang="en-US" sz="1100" err="1">
                <a:solidFill>
                  <a:srgbClr val="000000"/>
                </a:solidFill>
                <a:latin typeface="Proximus Bold"/>
                <a:cs typeface="Segoe UI"/>
              </a:rPr>
              <a:t>troisième</a:t>
            </a:r>
            <a:r>
              <a:rPr lang="en-US" sz="1100">
                <a:solidFill>
                  <a:srgbClr val="000000"/>
                </a:solidFill>
                <a:latin typeface="Proximus Bold"/>
                <a:cs typeface="Segoe UI"/>
              </a:rPr>
              <a:t> Geert du jour pour ton </a:t>
            </a:r>
            <a:r>
              <a:rPr lang="en-US" sz="1100" err="1">
                <a:solidFill>
                  <a:srgbClr val="000000"/>
                </a:solidFill>
                <a:latin typeface="Proximus Bold"/>
                <a:cs typeface="Segoe UI"/>
              </a:rPr>
              <a:t>parcours</a:t>
            </a:r>
            <a:r>
              <a:rPr lang="en-US" sz="1100">
                <a:solidFill>
                  <a:srgbClr val="000000"/>
                </a:solidFill>
                <a:latin typeface="Proximus Bold"/>
                <a:cs typeface="Segoe UI"/>
              </a:rPr>
              <a:t>. Nous </a:t>
            </a:r>
            <a:r>
              <a:rPr lang="en-US" sz="1100" err="1">
                <a:solidFill>
                  <a:srgbClr val="000000"/>
                </a:solidFill>
                <a:latin typeface="Proximus Bold"/>
                <a:cs typeface="Segoe UI"/>
              </a:rPr>
              <a:t>sommes</a:t>
            </a:r>
            <a:r>
              <a:rPr lang="en-US" sz="1100">
                <a:solidFill>
                  <a:srgbClr val="000000"/>
                </a:solidFill>
                <a:latin typeface="Proximus Bold"/>
                <a:cs typeface="Segoe UI"/>
              </a:rPr>
              <a:t> très </a:t>
            </a:r>
            <a:r>
              <a:rPr lang="en-US" sz="1100" err="1">
                <a:solidFill>
                  <a:srgbClr val="000000"/>
                </a:solidFill>
                <a:latin typeface="Proximus Bold"/>
                <a:cs typeface="Segoe UI"/>
              </a:rPr>
              <a:t>fiers</a:t>
            </a:r>
            <a:r>
              <a:rPr lang="en-US" sz="1100">
                <a:solidFill>
                  <a:srgbClr val="000000"/>
                </a:solidFill>
                <a:latin typeface="Proximus Bold"/>
                <a:cs typeface="Segoe UI"/>
              </a:rPr>
              <a:t> </a:t>
            </a:r>
            <a:r>
              <a:rPr lang="en-US" sz="1100" err="1">
                <a:solidFill>
                  <a:srgbClr val="000000"/>
                </a:solidFill>
                <a:latin typeface="Proximus Bold"/>
                <a:cs typeface="Segoe UI"/>
              </a:rPr>
              <a:t>d'avoir</a:t>
            </a:r>
            <a:r>
              <a:rPr lang="en-US" sz="1100">
                <a:solidFill>
                  <a:srgbClr val="000000"/>
                </a:solidFill>
                <a:latin typeface="Proximus Bold"/>
                <a:cs typeface="Segoe UI"/>
              </a:rPr>
              <a:t> </a:t>
            </a:r>
            <a:r>
              <a:rPr lang="en-US" sz="1100" err="1">
                <a:solidFill>
                  <a:srgbClr val="000000"/>
                </a:solidFill>
                <a:latin typeface="Proximus Bold"/>
                <a:cs typeface="Segoe UI"/>
              </a:rPr>
              <a:t>notre</a:t>
            </a:r>
            <a:r>
              <a:rPr lang="en-US" sz="1100">
                <a:solidFill>
                  <a:srgbClr val="000000"/>
                </a:solidFill>
                <a:latin typeface="Proximus Bold"/>
                <a:cs typeface="Segoe UI"/>
              </a:rPr>
              <a:t> propre Steve Jobs chez NBU!</a:t>
            </a:r>
          </a:p>
          <a:p>
            <a:r>
              <a:rPr lang="en-US" sz="1100" b="0" i="0">
                <a:solidFill>
                  <a:srgbClr val="242424"/>
                </a:solidFill>
                <a:effectLst/>
                <a:latin typeface="Segoe UI"/>
                <a:cs typeface="Segoe UI"/>
              </a:rPr>
              <a:t>Merci </a:t>
            </a:r>
            <a:r>
              <a:rPr lang="en-US" sz="1100" err="1">
                <a:solidFill>
                  <a:srgbClr val="242424"/>
                </a:solidFill>
                <a:latin typeface="Segoe UI"/>
                <a:cs typeface="Segoe UI"/>
              </a:rPr>
              <a:t>aussi</a:t>
            </a:r>
            <a:r>
              <a:rPr lang="en-US" sz="1100">
                <a:solidFill>
                  <a:srgbClr val="242424"/>
                </a:solidFill>
                <a:latin typeface="Segoe UI"/>
                <a:cs typeface="Segoe UI"/>
              </a:rPr>
              <a:t> Merel</a:t>
            </a:r>
            <a:r>
              <a:rPr lang="en-US" sz="1100" b="0" i="0">
                <a:solidFill>
                  <a:srgbClr val="242424"/>
                </a:solidFill>
                <a:effectLst/>
                <a:latin typeface="Segoe UI"/>
                <a:cs typeface="Segoe UI"/>
              </a:rPr>
              <a:t> ! </a:t>
            </a:r>
            <a:r>
              <a:rPr lang="en-US" sz="1100" err="1">
                <a:solidFill>
                  <a:srgbClr val="242424"/>
                </a:solidFill>
                <a:latin typeface="Segoe UI"/>
                <a:cs typeface="Segoe UI"/>
              </a:rPr>
              <a:t>C'est</a:t>
            </a:r>
            <a:r>
              <a:rPr lang="en-US" sz="1100">
                <a:solidFill>
                  <a:srgbClr val="242424"/>
                </a:solidFill>
                <a:latin typeface="Segoe UI"/>
                <a:cs typeface="Segoe UI"/>
              </a:rPr>
              <a:t> </a:t>
            </a:r>
            <a:r>
              <a:rPr lang="en-US" sz="1100" err="1">
                <a:solidFill>
                  <a:srgbClr val="242424"/>
                </a:solidFill>
                <a:latin typeface="Segoe UI"/>
                <a:cs typeface="Segoe UI"/>
              </a:rPr>
              <a:t>motivant</a:t>
            </a:r>
            <a:r>
              <a:rPr lang="en-US" sz="1100">
                <a:solidFill>
                  <a:srgbClr val="242424"/>
                </a:solidFill>
                <a:latin typeface="Segoe UI"/>
                <a:cs typeface="Segoe UI"/>
              </a:rPr>
              <a:t> de savoir que Proximus </a:t>
            </a:r>
            <a:r>
              <a:rPr lang="en-US" sz="1100" err="1">
                <a:solidFill>
                  <a:srgbClr val="242424"/>
                </a:solidFill>
                <a:latin typeface="Segoe UI"/>
                <a:cs typeface="Segoe UI"/>
              </a:rPr>
              <a:t>investit</a:t>
            </a:r>
            <a:r>
              <a:rPr lang="en-US" sz="1100">
                <a:solidFill>
                  <a:srgbClr val="242424"/>
                </a:solidFill>
                <a:latin typeface="Segoe UI"/>
                <a:cs typeface="Segoe UI"/>
              </a:rPr>
              <a:t> pour que nous </a:t>
            </a:r>
            <a:r>
              <a:rPr lang="en-US" sz="1100" err="1">
                <a:solidFill>
                  <a:srgbClr val="242424"/>
                </a:solidFill>
                <a:latin typeface="Segoe UI"/>
                <a:cs typeface="Segoe UI"/>
              </a:rPr>
              <a:t>puissions</a:t>
            </a:r>
            <a:r>
              <a:rPr lang="en-US" sz="1100">
                <a:solidFill>
                  <a:srgbClr val="242424"/>
                </a:solidFill>
                <a:latin typeface="Segoe UI"/>
                <a:cs typeface="Segoe UI"/>
              </a:rPr>
              <a:t> continuer à nous </a:t>
            </a:r>
            <a:r>
              <a:rPr lang="en-US" sz="1100" err="1">
                <a:solidFill>
                  <a:srgbClr val="242424"/>
                </a:solidFill>
                <a:latin typeface="Segoe UI"/>
                <a:cs typeface="Segoe UI"/>
              </a:rPr>
              <a:t>développer</a:t>
            </a:r>
            <a:r>
              <a:rPr lang="en-US" sz="1100">
                <a:solidFill>
                  <a:srgbClr val="242424"/>
                </a:solidFill>
                <a:latin typeface="Segoe UI"/>
                <a:cs typeface="Segoe UI"/>
              </a:rPr>
              <a:t> et </a:t>
            </a:r>
            <a:r>
              <a:rPr lang="en-US" sz="1100" err="1">
                <a:solidFill>
                  <a:srgbClr val="242424"/>
                </a:solidFill>
                <a:latin typeface="Segoe UI"/>
                <a:cs typeface="Segoe UI"/>
              </a:rPr>
              <a:t>rester</a:t>
            </a:r>
            <a:r>
              <a:rPr lang="en-US" sz="1100">
                <a:solidFill>
                  <a:srgbClr val="242424"/>
                </a:solidFill>
                <a:latin typeface="Segoe UI"/>
                <a:cs typeface="Segoe UI"/>
              </a:rPr>
              <a:t> </a:t>
            </a:r>
            <a:r>
              <a:rPr lang="en-US" sz="1100" err="1">
                <a:solidFill>
                  <a:srgbClr val="242424"/>
                </a:solidFill>
                <a:latin typeface="Segoe UI"/>
                <a:cs typeface="Segoe UI"/>
              </a:rPr>
              <a:t>pertinents</a:t>
            </a:r>
            <a:r>
              <a:rPr lang="en-US" sz="1100">
                <a:solidFill>
                  <a:srgbClr val="242424"/>
                </a:solidFill>
                <a:latin typeface="Segoe UI"/>
                <a:cs typeface="Segoe UI"/>
              </a:rPr>
              <a:t> dans un monde qui change </a:t>
            </a:r>
            <a:r>
              <a:rPr lang="en-US" sz="1100" err="1">
                <a:solidFill>
                  <a:srgbClr val="242424"/>
                </a:solidFill>
                <a:latin typeface="Segoe UI"/>
                <a:cs typeface="Segoe UI"/>
              </a:rPr>
              <a:t>toujours</a:t>
            </a:r>
            <a:r>
              <a:rPr lang="en-US" sz="1100">
                <a:solidFill>
                  <a:srgbClr val="242424"/>
                </a:solidFill>
                <a:latin typeface="Segoe UI"/>
                <a:cs typeface="Segoe UI"/>
              </a:rPr>
              <a:t> plus </a:t>
            </a:r>
            <a:r>
              <a:rPr lang="en-US" sz="1100" err="1">
                <a:solidFill>
                  <a:srgbClr val="242424"/>
                </a:solidFill>
                <a:latin typeface="Segoe UI"/>
                <a:cs typeface="Segoe UI"/>
              </a:rPr>
              <a:t>vite</a:t>
            </a:r>
            <a:r>
              <a:rPr lang="en-US" sz="1100">
                <a:solidFill>
                  <a:srgbClr val="242424"/>
                </a:solidFill>
                <a:latin typeface="Segoe UI"/>
                <a:cs typeface="Segoe UI"/>
              </a:rPr>
              <a:t>. Il ne </a:t>
            </a:r>
            <a:r>
              <a:rPr lang="en-US" sz="1100" err="1">
                <a:solidFill>
                  <a:srgbClr val="242424"/>
                </a:solidFill>
                <a:latin typeface="Segoe UI"/>
                <a:cs typeface="Segoe UI"/>
              </a:rPr>
              <a:t>tient</a:t>
            </a:r>
            <a:r>
              <a:rPr lang="en-US" sz="1100">
                <a:solidFill>
                  <a:srgbClr val="242424"/>
                </a:solidFill>
                <a:latin typeface="Segoe UI"/>
                <a:cs typeface="Segoe UI"/>
              </a:rPr>
              <a:t> plus </a:t>
            </a:r>
            <a:r>
              <a:rPr lang="en-US" sz="1100" err="1">
                <a:solidFill>
                  <a:srgbClr val="242424"/>
                </a:solidFill>
                <a:latin typeface="Segoe UI"/>
                <a:cs typeface="Segoe UI"/>
              </a:rPr>
              <a:t>qu'à</a:t>
            </a:r>
            <a:r>
              <a:rPr lang="en-US" sz="1100">
                <a:solidFill>
                  <a:srgbClr val="242424"/>
                </a:solidFill>
                <a:latin typeface="Segoe UI"/>
                <a:cs typeface="Segoe UI"/>
              </a:rPr>
              <a:t> nous de prendre </a:t>
            </a:r>
            <a:r>
              <a:rPr lang="en-US" sz="1100" err="1">
                <a:solidFill>
                  <a:srgbClr val="242424"/>
                </a:solidFill>
                <a:latin typeface="Segoe UI"/>
                <a:cs typeface="Segoe UI"/>
              </a:rPr>
              <a:t>notre</a:t>
            </a:r>
            <a:r>
              <a:rPr lang="en-US" sz="1100">
                <a:solidFill>
                  <a:srgbClr val="242424"/>
                </a:solidFill>
                <a:latin typeface="Segoe UI"/>
                <a:cs typeface="Segoe UI"/>
              </a:rPr>
              <a:t> </a:t>
            </a:r>
            <a:r>
              <a:rPr lang="en-US" sz="1100" err="1">
                <a:solidFill>
                  <a:srgbClr val="242424"/>
                </a:solidFill>
                <a:latin typeface="Segoe UI"/>
                <a:cs typeface="Segoe UI"/>
              </a:rPr>
              <a:t>carrière</a:t>
            </a:r>
            <a:r>
              <a:rPr lang="en-US" sz="1100">
                <a:solidFill>
                  <a:srgbClr val="242424"/>
                </a:solidFill>
                <a:latin typeface="Segoe UI"/>
                <a:cs typeface="Segoe UI"/>
              </a:rPr>
              <a:t> </a:t>
            </a:r>
            <a:r>
              <a:rPr lang="en-US" sz="1100" err="1">
                <a:solidFill>
                  <a:srgbClr val="242424"/>
                </a:solidFill>
                <a:latin typeface="Segoe UI"/>
                <a:cs typeface="Segoe UI"/>
              </a:rPr>
              <a:t>en</a:t>
            </a:r>
            <a:r>
              <a:rPr lang="en-US" sz="1100">
                <a:solidFill>
                  <a:srgbClr val="242424"/>
                </a:solidFill>
                <a:latin typeface="Segoe UI"/>
                <a:cs typeface="Segoe UI"/>
              </a:rPr>
              <a:t> main. </a:t>
            </a:r>
            <a:endParaRPr lang="en-US" sz="1100">
              <a:solidFill>
                <a:srgbClr val="000000"/>
              </a:solidFill>
              <a:cs typeface="Segoe UI"/>
            </a:endParaRPr>
          </a:p>
          <a:p>
            <a:r>
              <a:rPr lang="en-US" sz="1100">
                <a:solidFill>
                  <a:srgbClr val="242424"/>
                </a:solidFill>
                <a:latin typeface="Segoe UI"/>
                <a:cs typeface="Segoe UI"/>
              </a:rPr>
              <a:t>Voilà</a:t>
            </a:r>
            <a:r>
              <a:rPr lang="en-US" sz="1100" b="0" i="0">
                <a:solidFill>
                  <a:srgbClr val="242424"/>
                </a:solidFill>
                <a:effectLst/>
                <a:latin typeface="Segoe UI"/>
                <a:cs typeface="Segoe UI"/>
              </a:rPr>
              <a:t>, nous </a:t>
            </a:r>
            <a:r>
              <a:rPr lang="en-US" sz="1100" b="0" i="0" err="1">
                <a:solidFill>
                  <a:srgbClr val="242424"/>
                </a:solidFill>
                <a:effectLst/>
                <a:latin typeface="Segoe UI"/>
                <a:cs typeface="Segoe UI"/>
              </a:rPr>
              <a:t>vous</a:t>
            </a:r>
            <a:r>
              <a:rPr lang="en-US" sz="1100" b="0" i="0">
                <a:solidFill>
                  <a:srgbClr val="242424"/>
                </a:solidFill>
                <a:effectLst/>
                <a:latin typeface="Segoe UI"/>
                <a:cs typeface="Segoe UI"/>
              </a:rPr>
              <a:t> </a:t>
            </a:r>
            <a:r>
              <a:rPr lang="en-US" sz="1100" b="0" i="0" err="1">
                <a:solidFill>
                  <a:srgbClr val="242424"/>
                </a:solidFill>
                <a:effectLst/>
                <a:latin typeface="Segoe UI"/>
                <a:cs typeface="Segoe UI"/>
              </a:rPr>
              <a:t>avons</a:t>
            </a:r>
            <a:r>
              <a:rPr lang="en-US" sz="1100" b="0" i="0">
                <a:solidFill>
                  <a:srgbClr val="242424"/>
                </a:solidFill>
                <a:effectLst/>
                <a:latin typeface="Segoe UI"/>
                <a:cs typeface="Segoe UI"/>
              </a:rPr>
              <a:t> </a:t>
            </a:r>
            <a:r>
              <a:rPr lang="en-US" sz="1100" b="0" i="0" err="1">
                <a:solidFill>
                  <a:srgbClr val="242424"/>
                </a:solidFill>
                <a:effectLst/>
                <a:latin typeface="Segoe UI"/>
                <a:cs typeface="Segoe UI"/>
              </a:rPr>
              <a:t>présenté</a:t>
            </a:r>
            <a:r>
              <a:rPr lang="en-US" sz="1100" b="0" i="0">
                <a:solidFill>
                  <a:srgbClr val="242424"/>
                </a:solidFill>
                <a:effectLst/>
                <a:latin typeface="Segoe UI"/>
                <a:cs typeface="Segoe UI"/>
              </a:rPr>
              <a:t> les </a:t>
            </a:r>
            <a:r>
              <a:rPr lang="en-US" sz="1100">
                <a:solidFill>
                  <a:srgbClr val="242424"/>
                </a:solidFill>
                <a:latin typeface="Segoe UI"/>
                <a:cs typeface="Segoe UI"/>
              </a:rPr>
              <a:t>4 </a:t>
            </a:r>
            <a:r>
              <a:rPr lang="en-US" sz="1100" err="1">
                <a:solidFill>
                  <a:srgbClr val="242424"/>
                </a:solidFill>
                <a:latin typeface="Segoe UI"/>
                <a:cs typeface="Segoe UI"/>
              </a:rPr>
              <a:t>pilliers</a:t>
            </a:r>
            <a:r>
              <a:rPr lang="en-US" sz="1100">
                <a:solidFill>
                  <a:srgbClr val="242424"/>
                </a:solidFill>
                <a:latin typeface="Segoe UI"/>
                <a:cs typeface="Segoe UI"/>
              </a:rPr>
              <a:t> de </a:t>
            </a:r>
            <a:r>
              <a:rPr lang="en-US" sz="1100" err="1">
                <a:solidFill>
                  <a:srgbClr val="242424"/>
                </a:solidFill>
                <a:latin typeface="Segoe UI"/>
                <a:cs typeface="Segoe UI"/>
              </a:rPr>
              <a:t>notre</a:t>
            </a:r>
            <a:r>
              <a:rPr lang="en-US" sz="1100">
                <a:solidFill>
                  <a:srgbClr val="242424"/>
                </a:solidFill>
                <a:latin typeface="Segoe UI"/>
                <a:cs typeface="Segoe UI"/>
              </a:rPr>
              <a:t> </a:t>
            </a:r>
            <a:r>
              <a:rPr lang="en-US" sz="1100" b="0" i="0">
                <a:solidFill>
                  <a:srgbClr val="242424"/>
                </a:solidFill>
                <a:effectLst/>
                <a:latin typeface="Segoe UI"/>
                <a:cs typeface="Segoe UI"/>
              </a:rPr>
              <a:t>stratégie NBU4.0. </a:t>
            </a:r>
            <a:endParaRPr lang="en-US" sz="1100"/>
          </a:p>
          <a:p>
            <a:r>
              <a:rPr lang="en-US" sz="1100" b="0" i="0">
                <a:solidFill>
                  <a:srgbClr val="242424"/>
                </a:solidFill>
                <a:effectLst/>
                <a:latin typeface="Segoe UI"/>
                <a:cs typeface="Segoe UI"/>
              </a:rPr>
              <a:t>Avant de passer au Q&amp;A, </a:t>
            </a:r>
            <a:r>
              <a:rPr lang="en-US" sz="1100" b="0" i="0" err="1">
                <a:solidFill>
                  <a:srgbClr val="242424"/>
                </a:solidFill>
                <a:effectLst/>
                <a:latin typeface="Segoe UI"/>
                <a:cs typeface="Segoe UI"/>
              </a:rPr>
              <a:t>j’invite</a:t>
            </a:r>
            <a:r>
              <a:rPr lang="en-US" sz="1100" b="0" i="0">
                <a:solidFill>
                  <a:srgbClr val="242424"/>
                </a:solidFill>
                <a:effectLst/>
                <a:latin typeface="Segoe UI"/>
                <a:cs typeface="Segoe UI"/>
              </a:rPr>
              <a:t> encore Geert à nous </a:t>
            </a:r>
            <a:r>
              <a:rPr lang="en-US" sz="1100" b="0" i="0" err="1">
                <a:solidFill>
                  <a:srgbClr val="242424"/>
                </a:solidFill>
                <a:effectLst/>
                <a:latin typeface="Segoe UI"/>
                <a:cs typeface="Segoe UI"/>
              </a:rPr>
              <a:t>rejoindre</a:t>
            </a:r>
            <a:r>
              <a:rPr lang="en-US" sz="1100">
                <a:solidFill>
                  <a:srgbClr val="242424"/>
                </a:solidFill>
                <a:latin typeface="Segoe UI"/>
                <a:cs typeface="Segoe UI"/>
              </a:rPr>
              <a:t> pour </a:t>
            </a:r>
            <a:r>
              <a:rPr lang="en-US" sz="1100" err="1">
                <a:solidFill>
                  <a:srgbClr val="242424"/>
                </a:solidFill>
                <a:latin typeface="Segoe UI"/>
                <a:cs typeface="Segoe UI"/>
              </a:rPr>
              <a:t>conclure</a:t>
            </a:r>
            <a:r>
              <a:rPr lang="en-US" sz="1100">
                <a:solidFill>
                  <a:srgbClr val="242424"/>
                </a:solidFill>
                <a:latin typeface="Segoe UI"/>
                <a:cs typeface="Segoe UI"/>
              </a:rPr>
              <a:t> </a:t>
            </a:r>
            <a:r>
              <a:rPr lang="en-US" sz="1100" err="1">
                <a:solidFill>
                  <a:srgbClr val="242424"/>
                </a:solidFill>
                <a:latin typeface="Segoe UI"/>
                <a:cs typeface="Segoe UI"/>
              </a:rPr>
              <a:t>notre</a:t>
            </a:r>
            <a:r>
              <a:rPr lang="en-US" sz="1100">
                <a:solidFill>
                  <a:srgbClr val="242424"/>
                </a:solidFill>
                <a:latin typeface="Segoe UI"/>
                <a:cs typeface="Segoe UI"/>
              </a:rPr>
              <a:t> cascade.</a:t>
            </a:r>
            <a:endParaRPr lang="en-US" sz="1100" b="0">
              <a:solidFill>
                <a:srgbClr val="242424"/>
              </a:solidFill>
              <a:latin typeface="Segoe UI"/>
              <a:cs typeface="Segoe UI"/>
            </a:endParaRPr>
          </a:p>
          <a:p>
            <a:endParaRPr lang="en-GB" sz="500">
              <a:latin typeface="Proximus Bold"/>
            </a:endParaRPr>
          </a:p>
          <a:p>
            <a:endParaRPr lang="en-GB" sz="500">
              <a:latin typeface="Proximus Bold"/>
            </a:endParaRPr>
          </a:p>
        </p:txBody>
      </p:sp>
      <p:sp>
        <p:nvSpPr>
          <p:cNvPr id="4" name="Slide Number Placeholder 3">
            <a:extLst>
              <a:ext uri="{FF2B5EF4-FFF2-40B4-BE49-F238E27FC236}">
                <a16:creationId xmlns:a16="http://schemas.microsoft.com/office/drawing/2014/main" id="{659A9E8A-69CC-486F-6127-AA955A18FC05}"/>
              </a:ext>
            </a:extLst>
          </p:cNvPr>
          <p:cNvSpPr>
            <a:spLocks noGrp="1"/>
          </p:cNvSpPr>
          <p:nvPr>
            <p:ph type="sldNum" sz="quarter" idx="5"/>
          </p:nvPr>
        </p:nvSpPr>
        <p:spPr/>
        <p:txBody>
          <a:bodyPr/>
          <a:lstStyle/>
          <a:p>
            <a:fld id="{FA918F22-1231-AB43-96E7-2B8B890DCD5E}" type="slidenum">
              <a:rPr lang="en-US" smtClean="0"/>
              <a:pPr/>
              <a:t>59</a:t>
            </a:fld>
            <a:endParaRPr lang="en-US"/>
          </a:p>
        </p:txBody>
      </p:sp>
    </p:spTree>
    <p:extLst>
      <p:ext uri="{BB962C8B-B14F-4D97-AF65-F5344CB8AC3E}">
        <p14:creationId xmlns:p14="http://schemas.microsoft.com/office/powerpoint/2010/main" val="737661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FF841-1CC1-7881-C7D6-8A10B200EACC}"/>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DB1E340D-786A-2C23-1CDE-E8C8A0F1A45E}"/>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latin typeface="Proximus Bold" panose="00000500000000000000" pitchFamily="2" charset="0"/>
                <a:ea typeface="Aptos" panose="020B0004020202020204" pitchFamily="34" charset="0"/>
                <a:cs typeface="Arial" panose="020B0604020202020204" pitchFamily="34" charset="0"/>
              </a:rPr>
              <a:t>ROBIN</a:t>
            </a: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 </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on stage </a:t>
            </a:r>
          </a:p>
          <a:p>
            <a:pPr marL="0" marR="0" lvl="0" indent="0" algn="l" defTabSz="411480">
              <a:lnSpc>
                <a:spcPct val="100000"/>
              </a:lnSpc>
              <a:spcBef>
                <a:spcPts val="0"/>
              </a:spcBef>
              <a:spcAft>
                <a:spcPts val="0"/>
              </a:spcAft>
              <a:buClrTx/>
              <a:buSzTx/>
              <a:buFontTx/>
              <a:buNone/>
              <a:tabLst/>
              <a:defRPr/>
            </a:pPr>
            <a:endPar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NL) : ja Robi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a:solidFill>
                  <a:schemeClr val="accent6"/>
                </a:solidFill>
                <a:latin typeface="Proximus" panose="00000500000000000000" pitchFamily="2" charset="0"/>
              </a:rPr>
              <a:t>We </a:t>
            </a:r>
            <a:r>
              <a:rPr lang="en-US" sz="1100" err="1">
                <a:solidFill>
                  <a:schemeClr val="accent6"/>
                </a:solidFill>
                <a:latin typeface="Proximus" panose="00000500000000000000" pitchFamily="2" charset="0"/>
              </a:rPr>
              <a:t>hadd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ee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oed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articipat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aar</a:t>
            </a:r>
            <a:r>
              <a:rPr lang="en-US" sz="1100">
                <a:solidFill>
                  <a:schemeClr val="accent6"/>
                </a:solidFill>
                <a:latin typeface="Proximus" panose="00000500000000000000" pitchFamily="2" charset="0"/>
              </a:rPr>
              <a:t> met 82%, wat </a:t>
            </a:r>
            <a:r>
              <a:rPr lang="en-US" sz="1100" err="1">
                <a:solidFill>
                  <a:schemeClr val="accent6"/>
                </a:solidFill>
                <a:latin typeface="Proximus" panose="00000500000000000000" pitchFamily="2" charset="0"/>
              </a:rPr>
              <a:t>hoger</a:t>
            </a:r>
            <a:r>
              <a:rPr lang="en-US" sz="1100">
                <a:solidFill>
                  <a:schemeClr val="accent6"/>
                </a:solidFill>
                <a:latin typeface="Proximus" panose="00000500000000000000" pitchFamily="2" charset="0"/>
              </a:rPr>
              <a:t> is dan </a:t>
            </a:r>
            <a:r>
              <a:rPr lang="en-US" sz="1100" err="1">
                <a:solidFill>
                  <a:schemeClr val="accent6"/>
                </a:solidFill>
                <a:latin typeface="Proximus" panose="00000500000000000000" pitchFamily="2" charset="0"/>
              </a:rPr>
              <a:t>vorig</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aa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oven</a:t>
            </a:r>
            <a:r>
              <a:rPr lang="en-US" sz="1100">
                <a:solidFill>
                  <a:schemeClr val="accent6"/>
                </a:solidFill>
                <a:latin typeface="Proximus" panose="00000500000000000000" pitchFamily="2" charset="0"/>
              </a:rPr>
              <a:t> het Proximus </a:t>
            </a:r>
            <a:r>
              <a:rPr lang="en-US" sz="1100" err="1">
                <a:solidFill>
                  <a:schemeClr val="accent6"/>
                </a:solidFill>
                <a:latin typeface="Proximus" panose="00000500000000000000" pitchFamily="2" charset="0"/>
              </a:rPr>
              <a:t>gemiddelde</a:t>
            </a:r>
            <a:r>
              <a:rPr lang="en-US" sz="1100">
                <a:solidFill>
                  <a:schemeClr val="accent6"/>
                </a:solidFill>
                <a:latin typeface="Proximus" panose="00000500000000000000" pitchFamily="2" charset="0"/>
              </a:rPr>
              <a:t>.</a:t>
            </a:r>
          </a:p>
          <a:p>
            <a:pPr algn="l" defTabSz="685800"/>
            <a:r>
              <a:rPr lang="en-US" sz="1100">
                <a:solidFill>
                  <a:schemeClr val="accent6"/>
                </a:solidFill>
                <a:latin typeface="Proximus" panose="00000500000000000000" pitchFamily="2" charset="0"/>
              </a:rPr>
              <a:t>Zeer </a:t>
            </a:r>
            <a:r>
              <a:rPr lang="en-US" sz="1100" err="1">
                <a:solidFill>
                  <a:schemeClr val="accent6"/>
                </a:solidFill>
                <a:latin typeface="Proximus" panose="00000500000000000000" pitchFamily="2" charset="0"/>
              </a:rPr>
              <a:t>goed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result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innen</a:t>
            </a:r>
            <a:r>
              <a:rPr lang="en-US" sz="1100">
                <a:solidFill>
                  <a:schemeClr val="accent6"/>
                </a:solidFill>
                <a:latin typeface="Proximus" panose="00000500000000000000" pitchFamily="2" charset="0"/>
              </a:rPr>
              <a:t> NBU. </a:t>
            </a:r>
            <a:r>
              <a:rPr lang="en-US" sz="1100" err="1">
                <a:solidFill>
                  <a:schemeClr val="accent6"/>
                </a:solidFill>
                <a:latin typeface="Proximus" panose="00000500000000000000" pitchFamily="2" charset="0"/>
              </a:rPr>
              <a:t>Bij</a:t>
            </a:r>
            <a:r>
              <a:rPr lang="en-US" sz="1100">
                <a:solidFill>
                  <a:schemeClr val="accent6"/>
                </a:solidFill>
                <a:latin typeface="Proximus" panose="00000500000000000000" pitchFamily="2" charset="0"/>
              </a:rPr>
              <a:t> de </a:t>
            </a:r>
            <a:r>
              <a:rPr lang="en-US" sz="1100" err="1">
                <a:solidFill>
                  <a:schemeClr val="accent6"/>
                </a:solidFill>
                <a:latin typeface="Proximus" panose="00000500000000000000" pitchFamily="2" charset="0"/>
              </a:rPr>
              <a:t>sterkste</a:t>
            </a:r>
            <a:r>
              <a:rPr lang="en-US" sz="1100">
                <a:solidFill>
                  <a:schemeClr val="accent6"/>
                </a:solidFill>
                <a:latin typeface="Proximus" panose="00000500000000000000" pitchFamily="2" charset="0"/>
              </a:rPr>
              <a:t> van de </a:t>
            </a:r>
            <a:r>
              <a:rPr lang="en-US" sz="1100" err="1">
                <a:solidFill>
                  <a:schemeClr val="accent6"/>
                </a:solidFill>
                <a:latin typeface="Proximus" panose="00000500000000000000" pitchFamily="2" charset="0"/>
              </a:rPr>
              <a:t>gans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roep</a:t>
            </a:r>
            <a:r>
              <a:rPr lang="en-US" sz="1100">
                <a:solidFill>
                  <a:schemeClr val="accent6"/>
                </a:solidFill>
                <a:latin typeface="Proximus" panose="00000500000000000000" pitchFamily="2" charset="0"/>
              </a:rPr>
              <a:t>.</a:t>
            </a:r>
          </a:p>
          <a:p>
            <a:pPr marL="285750" indent="-285750" algn="l" defTabSz="685800">
              <a:buFontTx/>
              <a:buChar char="-"/>
            </a:pPr>
            <a:r>
              <a:rPr lang="en-US" sz="1100">
                <a:solidFill>
                  <a:schemeClr val="accent6"/>
                </a:solidFill>
                <a:latin typeface="Proximus" panose="00000500000000000000" pitchFamily="2" charset="0"/>
              </a:rPr>
              <a:t>Na de reeds </a:t>
            </a:r>
            <a:r>
              <a:rPr lang="en-US" sz="1100" err="1">
                <a:solidFill>
                  <a:schemeClr val="accent6"/>
                </a:solidFill>
                <a:latin typeface="Proximus" panose="00000500000000000000" pitchFamily="2" charset="0"/>
              </a:rPr>
              <a:t>goe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resultaten</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vorig</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aar</a:t>
            </a:r>
            <a:r>
              <a:rPr lang="en-US" sz="1100">
                <a:solidFill>
                  <a:schemeClr val="accent6"/>
                </a:solidFill>
                <a:latin typeface="Proximus" panose="00000500000000000000" pitchFamily="2" charset="0"/>
              </a:rPr>
              <a:t> is er </a:t>
            </a:r>
            <a:r>
              <a:rPr lang="en-US" sz="1100" err="1">
                <a:solidFill>
                  <a:schemeClr val="accent6"/>
                </a:solidFill>
                <a:latin typeface="Proximus" panose="00000500000000000000" pitchFamily="2" charset="0"/>
              </a:rPr>
              <a:t>terug</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tijging</a:t>
            </a:r>
            <a:r>
              <a:rPr lang="en-US" sz="1100">
                <a:solidFill>
                  <a:schemeClr val="accent6"/>
                </a:solidFill>
                <a:latin typeface="Proximus" panose="00000500000000000000" pitchFamily="2" charset="0"/>
              </a:rPr>
              <a:t> op twee </a:t>
            </a:r>
            <a:r>
              <a:rPr lang="en-US" sz="1100" err="1">
                <a:solidFill>
                  <a:schemeClr val="accent6"/>
                </a:solidFill>
                <a:latin typeface="Proximus" panose="00000500000000000000" pitchFamily="2" charset="0"/>
              </a:rPr>
              <a:t>domeinen</a:t>
            </a:r>
            <a:r>
              <a:rPr lang="en-US" sz="1100">
                <a:solidFill>
                  <a:schemeClr val="accent6"/>
                </a:solidFill>
                <a:latin typeface="Proximus" panose="00000500000000000000" pitchFamily="2" charset="0"/>
              </a:rPr>
              <a:t>: a) Agility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b) Empowerment &amp; Accountability</a:t>
            </a:r>
          </a:p>
          <a:p>
            <a:pPr marL="285750" indent="-285750" algn="l" defTabSz="685800">
              <a:buFontTx/>
              <a:buChar char="-"/>
            </a:pP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klein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fname</a:t>
            </a:r>
            <a:r>
              <a:rPr lang="en-US" sz="1100">
                <a:solidFill>
                  <a:schemeClr val="accent6"/>
                </a:solidFill>
                <a:latin typeface="Proximus" panose="00000500000000000000" pitchFamily="2" charset="0"/>
              </a:rPr>
              <a:t> in Strategy &amp; Leadership</a:t>
            </a:r>
          </a:p>
          <a:p>
            <a:pPr algn="l" defTabSz="685800"/>
            <a:endParaRPr lang="en-US" sz="1100">
              <a:solidFill>
                <a:schemeClr val="accent6"/>
              </a:solidFill>
              <a:latin typeface="Proximus" panose="00000500000000000000" pitchFamily="2" charset="0"/>
            </a:endParaRPr>
          </a:p>
          <a:p>
            <a:pPr algn="l" defTabSz="685800"/>
            <a:r>
              <a:rPr lang="en-US" sz="1100">
                <a:solidFill>
                  <a:schemeClr val="accent6"/>
                </a:solidFill>
                <a:latin typeface="Proximus" panose="00000500000000000000" pitchFamily="2" charset="0"/>
              </a:rPr>
              <a:t>NBU </a:t>
            </a:r>
            <a:r>
              <a:rPr lang="en-US" sz="1100" err="1">
                <a:solidFill>
                  <a:schemeClr val="accent6"/>
                </a:solidFill>
                <a:latin typeface="Proximus" panose="00000500000000000000" pitchFamily="2" charset="0"/>
              </a:rPr>
              <a:t>scoort</a:t>
            </a:r>
            <a:r>
              <a:rPr lang="en-US" sz="1100">
                <a:solidFill>
                  <a:schemeClr val="accent6"/>
                </a:solidFill>
                <a:latin typeface="Proximus" panose="00000500000000000000" pitchFamily="2" charset="0"/>
              </a:rPr>
              <a:t> significant </a:t>
            </a:r>
            <a:r>
              <a:rPr lang="en-US" sz="1100" err="1">
                <a:solidFill>
                  <a:schemeClr val="accent6"/>
                </a:solidFill>
                <a:latin typeface="Proximus" panose="00000500000000000000" pitchFamily="2" charset="0"/>
              </a:rPr>
              <a:t>beter</a:t>
            </a:r>
            <a:r>
              <a:rPr lang="en-US" sz="1100">
                <a:solidFill>
                  <a:schemeClr val="accent6"/>
                </a:solidFill>
                <a:latin typeface="Proximus" panose="00000500000000000000" pitchFamily="2" charset="0"/>
              </a:rPr>
              <a:t> dan </a:t>
            </a:r>
            <a:r>
              <a:rPr lang="en-US" sz="1100" err="1">
                <a:solidFill>
                  <a:schemeClr val="accent6"/>
                </a:solidFill>
                <a:latin typeface="Proximus" panose="00000500000000000000" pitchFamily="2" charset="0"/>
              </a:rPr>
              <a:t>andere</a:t>
            </a:r>
            <a:r>
              <a:rPr lang="en-US" sz="1100">
                <a:solidFill>
                  <a:schemeClr val="accent6"/>
                </a:solidFill>
                <a:latin typeface="Proximus" panose="00000500000000000000" pitchFamily="2" charset="0"/>
              </a:rPr>
              <a:t> BUs op </a:t>
            </a:r>
            <a:r>
              <a:rPr lang="en-US" sz="1100" err="1">
                <a:solidFill>
                  <a:schemeClr val="accent6"/>
                </a:solidFill>
                <a:latin typeface="Proximus" panose="00000500000000000000" pitchFamily="2" charset="0"/>
              </a:rPr>
              <a:t>communicat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al</a:t>
            </a:r>
            <a:r>
              <a:rPr lang="en-US" sz="1100">
                <a:solidFill>
                  <a:schemeClr val="accent6"/>
                </a:solidFill>
                <a:latin typeface="Proximus" panose="00000500000000000000" pitchFamily="2" charset="0"/>
              </a:rPr>
              <a:t> op de </a:t>
            </a:r>
            <a:r>
              <a:rPr lang="en-US" sz="1100" err="1">
                <a:solidFill>
                  <a:schemeClr val="accent6"/>
                </a:solidFill>
                <a:latin typeface="Proximus" panose="00000500000000000000" pitchFamily="2" charset="0"/>
              </a:rPr>
              <a:t>effectiviteit</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communicatie</a:t>
            </a:r>
            <a:r>
              <a:rPr lang="en-US" sz="1100">
                <a:solidFill>
                  <a:schemeClr val="accent6"/>
                </a:solidFill>
                <a:latin typeface="Proximus" panose="00000500000000000000" pitchFamily="2" charset="0"/>
              </a:rPr>
              <a:t>. </a:t>
            </a:r>
          </a:p>
          <a:p>
            <a:pPr algn="l" defTabSz="685800"/>
            <a:r>
              <a:rPr lang="en-US" sz="1100">
                <a:solidFill>
                  <a:schemeClr val="accent6"/>
                </a:solidFill>
                <a:latin typeface="Proximus" panose="00000500000000000000" pitchFamily="2" charset="0"/>
              </a:rPr>
              <a:t>NBU </a:t>
            </a:r>
            <a:r>
              <a:rPr lang="en-US" sz="1100" err="1">
                <a:solidFill>
                  <a:schemeClr val="accent6"/>
                </a:solidFill>
                <a:latin typeface="Proximus" panose="00000500000000000000" pitchFamily="2" charset="0"/>
              </a:rPr>
              <a:t>medewerker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el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ich</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erg </a:t>
            </a:r>
            <a:r>
              <a:rPr lang="en-US" sz="1100" err="1">
                <a:solidFill>
                  <a:schemeClr val="accent6"/>
                </a:solidFill>
                <a:latin typeface="Proximus" panose="00000500000000000000" pitchFamily="2" charset="0"/>
              </a:rPr>
              <a:t>gestertkt</a:t>
            </a:r>
            <a:r>
              <a:rPr lang="en-US" sz="1100">
                <a:solidFill>
                  <a:schemeClr val="accent6"/>
                </a:solidFill>
                <a:latin typeface="Proximus" panose="00000500000000000000" pitchFamily="2" charset="0"/>
              </a:rPr>
              <a:t> (empowered) in </a:t>
            </a:r>
            <a:r>
              <a:rPr lang="en-US" sz="1100" err="1">
                <a:solidFill>
                  <a:schemeClr val="accent6"/>
                </a:solidFill>
                <a:latin typeface="Proximus" panose="00000500000000000000" pitchFamily="2" charset="0"/>
              </a:rPr>
              <a:t>hun</a:t>
            </a:r>
            <a:r>
              <a:rPr lang="en-US" sz="1100">
                <a:solidFill>
                  <a:schemeClr val="accent6"/>
                </a:solidFill>
                <a:latin typeface="Proximus" panose="00000500000000000000" pitchFamily="2" charset="0"/>
              </a:rPr>
              <a:t> job,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ij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ee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ositief</a:t>
            </a:r>
            <a:r>
              <a:rPr lang="en-US" sz="1100">
                <a:solidFill>
                  <a:schemeClr val="accent6"/>
                </a:solidFill>
                <a:latin typeface="Proximus" panose="00000500000000000000" pitchFamily="2" charset="0"/>
              </a:rPr>
              <a:t> over </a:t>
            </a:r>
            <a:r>
              <a:rPr lang="en-US" sz="1100" err="1">
                <a:solidFill>
                  <a:schemeClr val="accent6"/>
                </a:solidFill>
                <a:latin typeface="Proximus" panose="00000500000000000000" pitchFamily="2" charset="0"/>
              </a:rPr>
              <a:t>hu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amleider</a:t>
            </a:r>
            <a:r>
              <a:rPr lang="en-US" sz="1100">
                <a:solidFill>
                  <a:schemeClr val="accent6"/>
                </a:solidFill>
                <a:latin typeface="Proximus" panose="00000500000000000000" pitchFamily="2" charset="0"/>
              </a:rPr>
              <a:t>.</a:t>
            </a:r>
          </a:p>
          <a:p>
            <a:pPr algn="l" defTabSz="685800"/>
            <a:endParaRPr lang="en-US" sz="1100">
              <a:solidFill>
                <a:schemeClr val="accent6"/>
              </a:solidFill>
              <a:latin typeface="Proximus" panose="00000500000000000000" pitchFamily="2" charset="0"/>
            </a:endParaRPr>
          </a:p>
          <a:p>
            <a:pPr defTabSz="685800"/>
            <a:r>
              <a:rPr lang="en-US" sz="1100">
                <a:solidFill>
                  <a:schemeClr val="accent6"/>
                </a:solidFill>
                <a:latin typeface="Proximus" panose="00000500000000000000" pitchFamily="2" charset="0"/>
              </a:rPr>
              <a:t>De focus van 2025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het </a:t>
            </a:r>
            <a:r>
              <a:rPr lang="en-US" sz="1100" err="1">
                <a:solidFill>
                  <a:schemeClr val="accent6"/>
                </a:solidFill>
                <a:latin typeface="Proximus" panose="00000500000000000000" pitchFamily="2" charset="0"/>
              </a:rPr>
              <a:t>strategische</a:t>
            </a:r>
            <a:r>
              <a:rPr lang="en-US" sz="1100">
                <a:solidFill>
                  <a:schemeClr val="accent6"/>
                </a:solidFill>
                <a:latin typeface="Proximus" panose="00000500000000000000" pitchFamily="2" charset="0"/>
              </a:rPr>
              <a:t> alignment </a:t>
            </a:r>
            <a:r>
              <a:rPr lang="en-US" sz="1100" err="1">
                <a:solidFill>
                  <a:schemeClr val="accent6"/>
                </a:solidFill>
                <a:latin typeface="Proximus" panose="00000500000000000000" pitchFamily="2" charset="0"/>
              </a:rPr>
              <a:t>zij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waa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ull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paald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kommerniss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ron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ebben</a:t>
            </a:r>
            <a:r>
              <a:rPr lang="en-US" sz="1100">
                <a:solidFill>
                  <a:schemeClr val="accent6"/>
                </a:solidFill>
                <a:latin typeface="Proximus" panose="00000500000000000000" pitchFamily="2" charset="0"/>
              </a:rPr>
              <a:t>, w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de </a:t>
            </a:r>
            <a:r>
              <a:rPr lang="en-US" sz="1100" err="1">
                <a:solidFill>
                  <a:schemeClr val="accent6"/>
                </a:solidFill>
                <a:latin typeface="Proximus" panose="00000500000000000000" pitchFamily="2" charset="0"/>
              </a:rPr>
              <a:t>reden</a:t>
            </a:r>
            <a:r>
              <a:rPr lang="en-US" sz="1100">
                <a:solidFill>
                  <a:schemeClr val="accent6"/>
                </a:solidFill>
                <a:latin typeface="Proximus" panose="00000500000000000000" pitchFamily="2" charset="0"/>
              </a:rPr>
              <a:t> is </a:t>
            </a:r>
            <a:r>
              <a:rPr lang="en-US" sz="1100" err="1">
                <a:solidFill>
                  <a:schemeClr val="accent6"/>
                </a:solidFill>
                <a:latin typeface="Proximus" panose="00000500000000000000" pitchFamily="2" charset="0"/>
              </a:rPr>
              <a:t>waarom</a:t>
            </a:r>
            <a:r>
              <a:rPr lang="en-US" sz="1100">
                <a:solidFill>
                  <a:schemeClr val="accent6"/>
                </a:solidFill>
                <a:latin typeface="Proximus" panose="00000500000000000000" pitchFamily="2" charset="0"/>
              </a:rPr>
              <a:t> we </a:t>
            </a:r>
            <a:r>
              <a:rPr lang="en-US" sz="1100" err="1">
                <a:solidFill>
                  <a:schemeClr val="accent6"/>
                </a:solidFill>
                <a:latin typeface="Proximus" panose="00000500000000000000" pitchFamily="2" charset="0"/>
              </a:rPr>
              <a:t>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andaag</a:t>
            </a:r>
            <a:r>
              <a:rPr lang="en-US" sz="1100">
                <a:solidFill>
                  <a:schemeClr val="accent6"/>
                </a:solidFill>
                <a:latin typeface="Proximus" panose="00000500000000000000" pitchFamily="2" charset="0"/>
              </a:rPr>
              <a:t> zo hard </a:t>
            </a:r>
            <a:r>
              <a:rPr lang="en-US" sz="1100" err="1">
                <a:solidFill>
                  <a:schemeClr val="accent6"/>
                </a:solidFill>
                <a:latin typeface="Proximus" panose="00000500000000000000" pitchFamily="2" charset="0"/>
              </a:rPr>
              <a:t>gewerk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ebb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nz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trateg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ez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uidelij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verbren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aa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jull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ij</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wijze</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eerst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tap</a:t>
            </a:r>
            <a:r>
              <a:rPr lang="en-US" sz="1100">
                <a:solidFill>
                  <a:schemeClr val="accent6"/>
                </a:solidFill>
                <a:latin typeface="Proximus" panose="00000500000000000000" pitchFamily="2" charset="0"/>
              </a:rPr>
              <a:t>.</a:t>
            </a:r>
            <a:endParaRPr lang="en-BE" sz="1100">
              <a:solidFill>
                <a:schemeClr val="accent6"/>
              </a:solidFill>
              <a:latin typeface="Proximus" panose="00000500000000000000" pitchFamily="2" charset="0"/>
            </a:endParaRP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nl-NL" sz="1100" b="0" i="0">
                <a:solidFill>
                  <a:schemeClr val="accent6"/>
                </a:solidFill>
                <a:effectLst/>
                <a:latin typeface="Proximus" panose="00000500000000000000" pitchFamily="2" charset="0"/>
                <a:cs typeface="Segoe UI"/>
              </a:rPr>
              <a:t>Geert, ik denk dat je erg trots bent op wat we allemaal samen hebben bereikt... en om onze successen met enkele voorbeelden te illustreren, hebben bijna 40 collega’s meegeholpen om deze in een video te gieten. We bekijken hem vandaag in 2 delen, en hier is alvast deel 1… </a:t>
            </a:r>
            <a:r>
              <a:rPr lang="nl-NL" sz="1100" b="0" i="0" err="1">
                <a:solidFill>
                  <a:schemeClr val="accent6"/>
                </a:solidFill>
                <a:effectLst/>
                <a:latin typeface="Proximus" panose="00000500000000000000" pitchFamily="2" charset="0"/>
                <a:cs typeface="Segoe UI"/>
              </a:rPr>
              <a:t>let’s</a:t>
            </a:r>
            <a:r>
              <a:rPr lang="nl-NL" sz="1100" b="0" i="0">
                <a:solidFill>
                  <a:schemeClr val="accent6"/>
                </a:solidFill>
                <a:effectLst/>
                <a:latin typeface="Proximus" panose="00000500000000000000" pitchFamily="2" charset="0"/>
                <a:cs typeface="Segoe UI"/>
              </a:rPr>
              <a:t> go! (PART1  - PART 2 At </a:t>
            </a:r>
            <a:r>
              <a:rPr lang="nl-NL" sz="1100" b="0" i="0" err="1">
                <a:solidFill>
                  <a:schemeClr val="accent6"/>
                </a:solidFill>
                <a:effectLst/>
                <a:latin typeface="Proximus" panose="00000500000000000000" pitchFamily="2" charset="0"/>
                <a:cs typeface="Segoe UI"/>
              </a:rPr>
              <a:t>the</a:t>
            </a:r>
            <a:r>
              <a:rPr lang="nl-NL" sz="1100" b="0" i="0">
                <a:solidFill>
                  <a:schemeClr val="accent6"/>
                </a:solidFill>
                <a:effectLst/>
                <a:latin typeface="Proximus" panose="00000500000000000000" pitchFamily="2" charset="0"/>
                <a:cs typeface="Segoe UI"/>
              </a:rPr>
              <a:t> end of </a:t>
            </a:r>
            <a:r>
              <a:rPr lang="nl-NL" sz="1100" b="0" i="0" err="1">
                <a:solidFill>
                  <a:schemeClr val="accent6"/>
                </a:solidFill>
                <a:effectLst/>
                <a:latin typeface="Proximus" panose="00000500000000000000" pitchFamily="2" charset="0"/>
                <a:cs typeface="Segoe UI"/>
              </a:rPr>
              <a:t>the</a:t>
            </a:r>
            <a:r>
              <a:rPr lang="nl-NL" sz="1100" b="0" i="0">
                <a:solidFill>
                  <a:schemeClr val="accent6"/>
                </a:solidFill>
                <a:effectLst/>
                <a:latin typeface="Proximus" panose="00000500000000000000" pitchFamily="2" charset="0"/>
                <a:cs typeface="Segoe UI"/>
              </a:rPr>
              <a:t> event) !</a:t>
            </a:r>
            <a:r>
              <a:rPr lang="en-US" sz="1100" b="0">
                <a:solidFill>
                  <a:schemeClr val="accent6"/>
                </a:solidFill>
                <a:latin typeface="Proximus" panose="00000500000000000000" pitchFamily="2" charset="0"/>
              </a:rPr>
              <a:t> </a:t>
            </a:r>
            <a:endParaRPr lang="en-BE" sz="1100" b="0">
              <a:solidFill>
                <a:schemeClr val="accent6"/>
              </a:solidFill>
              <a:latin typeface="Proximus" panose="00000500000000000000" pitchFamily="2" charset="0"/>
            </a:endParaRPr>
          </a:p>
        </p:txBody>
      </p:sp>
    </p:spTree>
    <p:extLst>
      <p:ext uri="{BB962C8B-B14F-4D97-AF65-F5344CB8AC3E}">
        <p14:creationId xmlns:p14="http://schemas.microsoft.com/office/powerpoint/2010/main" val="7989662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AF797-C06D-2586-BEB5-D5C6E2BE19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AE5CC-8FAD-79BC-58A2-13849228DE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195B58-B5E9-32B7-5BB5-CFB7F9278A9A}"/>
              </a:ext>
            </a:extLst>
          </p:cNvPr>
          <p:cNvSpPr>
            <a:spLocks noGrp="1"/>
          </p:cNvSpPr>
          <p:nvPr>
            <p:ph type="body" idx="1"/>
          </p:nvPr>
        </p:nvSpPr>
        <p:spPr/>
        <p:txBody>
          <a:bodyPr/>
          <a:lstStyle/>
          <a:p>
            <a:pPr>
              <a:lnSpc>
                <a:spcPct val="107000"/>
              </a:lnSpc>
              <a:spcAft>
                <a:spcPts val="800"/>
              </a:spcAft>
            </a:pPr>
            <a:r>
              <a:rPr lang="fr-FR" sz="800" b="1" u="sng" kern="100">
                <a:solidFill>
                  <a:schemeClr val="accent6"/>
                </a:solidFill>
                <a:latin typeface="Proximus Light"/>
              </a:rPr>
              <a:t>GEERT [FR]</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Nous attendons de vous que vous deveniez des </a:t>
            </a:r>
            <a:r>
              <a:rPr lang="fr-BE" sz="1100" b="1" i="0">
                <a:solidFill>
                  <a:schemeClr val="accent6"/>
                </a:solidFill>
                <a:effectLst/>
                <a:latin typeface="Segoe UI" panose="020B0502040204020203" pitchFamily="34" charset="0"/>
              </a:rPr>
              <a:t>ambassadeurs</a:t>
            </a:r>
            <a:r>
              <a:rPr lang="fr-BE" sz="1100" b="0" i="0">
                <a:solidFill>
                  <a:schemeClr val="accent6"/>
                </a:solidFill>
                <a:effectLst/>
                <a:latin typeface="Segoe UI" panose="020B0502040204020203" pitchFamily="34" charset="0"/>
              </a:rPr>
              <a:t> de notre stratégie NBU 4.0. Cela ne se fait pas seulement en appliquant les bons comportements en accord avec notre culture "</a:t>
            </a:r>
            <a:r>
              <a:rPr lang="fr-BE" sz="1100" b="0" i="0" err="1">
                <a:solidFill>
                  <a:schemeClr val="accent6"/>
                </a:solidFill>
                <a:effectLst/>
                <a:latin typeface="Segoe UI" panose="020B0502040204020203" pitchFamily="34" charset="0"/>
              </a:rPr>
              <a:t>think</a:t>
            </a:r>
            <a:r>
              <a:rPr lang="fr-BE" sz="1100" b="0" i="0">
                <a:solidFill>
                  <a:schemeClr val="accent6"/>
                </a:solidFill>
                <a:effectLst/>
                <a:latin typeface="Segoe UI" panose="020B0502040204020203" pitchFamily="34" charset="0"/>
              </a:rPr>
              <a:t> possible", mais aussi en </a:t>
            </a:r>
            <a:r>
              <a:rPr lang="fr-BE" sz="1100" b="1" i="0">
                <a:solidFill>
                  <a:schemeClr val="accent6"/>
                </a:solidFill>
                <a:effectLst/>
                <a:latin typeface="Segoe UI" panose="020B0502040204020203" pitchFamily="34" charset="0"/>
              </a:rPr>
              <a:t>vivant et respirant la stratégie </a:t>
            </a:r>
            <a:r>
              <a:rPr lang="fr-BE" sz="1100" b="0" i="0">
                <a:solidFill>
                  <a:schemeClr val="accent6"/>
                </a:solidFill>
                <a:effectLst/>
                <a:latin typeface="Segoe UI" panose="020B0502040204020203" pitchFamily="34" charset="0"/>
              </a:rPr>
              <a:t>et en aidant à </a:t>
            </a:r>
            <a:r>
              <a:rPr lang="fr-BE" sz="1100" b="1" i="0">
                <a:solidFill>
                  <a:schemeClr val="accent6"/>
                </a:solidFill>
                <a:effectLst/>
                <a:latin typeface="Segoe UI" panose="020B0502040204020203" pitchFamily="34" charset="0"/>
              </a:rPr>
              <a:t>étendre sa portée </a:t>
            </a:r>
            <a:r>
              <a:rPr lang="fr-BE" sz="1100" b="0" i="0">
                <a:solidFill>
                  <a:schemeClr val="accent6"/>
                </a:solidFill>
                <a:effectLst/>
                <a:latin typeface="Segoe UI" panose="020B0502040204020203" pitchFamily="34" charset="0"/>
              </a:rPr>
              <a:t>dans l'entreprise. </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Vous aurez tous un rôle à jouer dans cette histoire, et nous voulons vos contributions, vos feedbacks. </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Nous ne voulons </a:t>
            </a:r>
            <a:r>
              <a:rPr lang="fr-BE" sz="1100" b="1" i="0">
                <a:solidFill>
                  <a:schemeClr val="accent6"/>
                </a:solidFill>
                <a:effectLst/>
                <a:latin typeface="Segoe UI" panose="020B0502040204020203" pitchFamily="34" charset="0"/>
              </a:rPr>
              <a:t>pas d'une stratégie top down, fixe et statique</a:t>
            </a:r>
            <a:r>
              <a:rPr lang="fr-BE" sz="1100" b="0" i="0">
                <a:solidFill>
                  <a:schemeClr val="accent6"/>
                </a:solidFill>
                <a:effectLst/>
                <a:latin typeface="Segoe UI" panose="020B0502040204020203" pitchFamily="34" charset="0"/>
              </a:rPr>
              <a:t>. </a:t>
            </a:r>
          </a:p>
          <a:p>
            <a:pPr marL="171450" indent="-171450">
              <a:lnSpc>
                <a:spcPct val="107000"/>
              </a:lnSpc>
              <a:spcAft>
                <a:spcPts val="800"/>
              </a:spcAft>
              <a:buFont typeface="Arial" panose="020B0604020202020204" pitchFamily="34" charset="0"/>
              <a:buChar char="•"/>
            </a:pPr>
            <a:r>
              <a:rPr lang="fr-BE" sz="1100" b="0" i="0">
                <a:solidFill>
                  <a:schemeClr val="accent6"/>
                </a:solidFill>
                <a:effectLst/>
                <a:latin typeface="Segoe UI" panose="020B0502040204020203" pitchFamily="34" charset="0"/>
              </a:rPr>
              <a:t>Et bien sûr, votre </a:t>
            </a:r>
            <a:r>
              <a:rPr lang="fr-BE" sz="1100" b="1" i="0">
                <a:solidFill>
                  <a:schemeClr val="accent6"/>
                </a:solidFill>
                <a:effectLst/>
                <a:latin typeface="Segoe UI" panose="020B0502040204020203" pitchFamily="34" charset="0"/>
              </a:rPr>
              <a:t>rôle</a:t>
            </a:r>
            <a:r>
              <a:rPr lang="fr-BE" sz="1100" b="0" i="0">
                <a:solidFill>
                  <a:schemeClr val="accent6"/>
                </a:solidFill>
                <a:effectLst/>
                <a:latin typeface="Segoe UI" panose="020B0502040204020203" pitchFamily="34" charset="0"/>
              </a:rPr>
              <a:t> sera également </a:t>
            </a:r>
            <a:r>
              <a:rPr lang="fr-BE" sz="1100" b="1" i="0">
                <a:solidFill>
                  <a:schemeClr val="accent6"/>
                </a:solidFill>
                <a:effectLst/>
                <a:latin typeface="Segoe UI" panose="020B0502040204020203" pitchFamily="34" charset="0"/>
              </a:rPr>
              <a:t>crucial</a:t>
            </a:r>
            <a:r>
              <a:rPr lang="fr-BE" sz="1100" b="0" i="0">
                <a:solidFill>
                  <a:schemeClr val="accent6"/>
                </a:solidFill>
                <a:effectLst/>
                <a:latin typeface="Segoe UI" panose="020B0502040204020203" pitchFamily="34" charset="0"/>
              </a:rPr>
              <a:t> dans </a:t>
            </a:r>
            <a:r>
              <a:rPr lang="fr-BE" sz="1100" b="1" i="0">
                <a:solidFill>
                  <a:schemeClr val="accent6"/>
                </a:solidFill>
                <a:effectLst/>
                <a:latin typeface="Segoe UI" panose="020B0502040204020203" pitchFamily="34" charset="0"/>
              </a:rPr>
              <a:t>la phase de mise en œuvre</a:t>
            </a:r>
            <a:endParaRPr lang="fr-FR" sz="1100" b="1">
              <a:solidFill>
                <a:schemeClr val="accent6"/>
              </a:solidFill>
            </a:endParaRPr>
          </a:p>
        </p:txBody>
      </p:sp>
      <p:sp>
        <p:nvSpPr>
          <p:cNvPr id="4" name="Slide Number Placeholder 3">
            <a:extLst>
              <a:ext uri="{FF2B5EF4-FFF2-40B4-BE49-F238E27FC236}">
                <a16:creationId xmlns:a16="http://schemas.microsoft.com/office/drawing/2014/main" id="{03CDEB8A-AD9F-AE20-4161-C34333FCFBF1}"/>
              </a:ext>
            </a:extLst>
          </p:cNvPr>
          <p:cNvSpPr>
            <a:spLocks noGrp="1"/>
          </p:cNvSpPr>
          <p:nvPr>
            <p:ph type="sldNum" sz="quarter" idx="5"/>
          </p:nvPr>
        </p:nvSpPr>
        <p:spPr/>
        <p:txBody>
          <a:bodyPr/>
          <a:lstStyle/>
          <a:p>
            <a:fld id="{FA918F22-1231-AB43-96E7-2B8B890DCD5E}" type="slidenum">
              <a:rPr lang="en-US" smtClean="0"/>
              <a:pPr/>
              <a:t>60</a:t>
            </a:fld>
            <a:endParaRPr lang="en-US"/>
          </a:p>
        </p:txBody>
      </p:sp>
    </p:spTree>
    <p:extLst>
      <p:ext uri="{BB962C8B-B14F-4D97-AF65-F5344CB8AC3E}">
        <p14:creationId xmlns:p14="http://schemas.microsoft.com/office/powerpoint/2010/main" val="29133772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BE92F-1544-D19B-9315-9868DA48A1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0DD0A-7E19-FFB2-4815-920BC6368D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4D8C5-6F66-073E-FA00-7BD8A67FCAAA}"/>
              </a:ext>
            </a:extLst>
          </p:cNvPr>
          <p:cNvSpPr>
            <a:spLocks noGrp="1"/>
          </p:cNvSpPr>
          <p:nvPr>
            <p:ph type="body" idx="1"/>
          </p:nvPr>
        </p:nvSpPr>
        <p:spPr/>
        <p:txBody>
          <a:bodyPr/>
          <a:lstStyle/>
          <a:p>
            <a:pPr>
              <a:lnSpc>
                <a:spcPct val="107000"/>
              </a:lnSpc>
              <a:spcAft>
                <a:spcPts val="800"/>
              </a:spcAft>
            </a:pPr>
            <a:r>
              <a:rPr lang="fr-FR" sz="1100" b="1" u="sng" kern="100" dirty="0">
                <a:solidFill>
                  <a:schemeClr val="accent6"/>
                </a:solidFill>
                <a:latin typeface="Proximus Light"/>
                <a:cs typeface="Arial" panose="020B0604020202020204" pitchFamily="34" charset="0"/>
              </a:rPr>
              <a:t>GEERT [NL]</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Wij zullen een speciale </a:t>
            </a:r>
            <a:r>
              <a:rPr lang="nl-NL" sz="1100" kern="100" dirty="0" err="1">
                <a:solidFill>
                  <a:schemeClr val="accent6"/>
                </a:solidFill>
                <a:latin typeface="Proximus Bold"/>
              </a:rPr>
              <a:t>governance</a:t>
            </a:r>
            <a:r>
              <a:rPr lang="nl-NL" sz="1100" kern="100" dirty="0">
                <a:solidFill>
                  <a:schemeClr val="accent6"/>
                </a:solidFill>
                <a:latin typeface="Proximus Bold"/>
              </a:rPr>
              <a:t> hebben op het niveau van de NBU MC om de vooruitgang op te volgen aangezien dit voor ons DE top prioriteit is voor de komende jaren.</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En natuurlijk hebben jullie ook verwachtingen van ons, en terecht.</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Jullie mogen van ons verwachten dat we jullie zullen ondersteunen in het bereiken van onze doelen door jullie de zuurstof te geven die nodig is om hieraan te werken, en de richting te geven en beslissingen te maken om hier een succesverhaal van te maken.</a:t>
            </a:r>
          </a:p>
          <a:p>
            <a:pPr marL="171450" indent="-171450">
              <a:lnSpc>
                <a:spcPct val="107000"/>
              </a:lnSpc>
              <a:spcAft>
                <a:spcPts val="800"/>
              </a:spcAft>
              <a:buFont typeface="Arial" panose="020B0604020202020204" pitchFamily="34" charset="0"/>
              <a:buChar char="•"/>
            </a:pPr>
            <a:r>
              <a:rPr lang="nl-NL" sz="1100" kern="100" dirty="0">
                <a:solidFill>
                  <a:schemeClr val="accent6"/>
                </a:solidFill>
                <a:latin typeface="Proximus Bold"/>
              </a:rPr>
              <a:t>Dus, laat jullie horen. Neem contact, deel jullie bezorgdheden, stel jullie vragen, leg ons de nodige beslissingen voor, en wij zullen jullie hierin supporteren.</a:t>
            </a:r>
          </a:p>
          <a:p>
            <a:pPr marL="0" indent="0">
              <a:lnSpc>
                <a:spcPct val="107000"/>
              </a:lnSpc>
              <a:spcAft>
                <a:spcPts val="800"/>
              </a:spcAft>
              <a:buFont typeface="Arial" panose="020B0604020202020204" pitchFamily="34" charset="0"/>
              <a:buNone/>
            </a:pPr>
            <a:endParaRPr lang="nl-NL" sz="1100" kern="100" dirty="0">
              <a:solidFill>
                <a:schemeClr val="accent6"/>
              </a:solidFill>
              <a:latin typeface="Proximus Bold"/>
            </a:endParaRPr>
          </a:p>
          <a:p>
            <a:pPr marL="0" indent="0">
              <a:lnSpc>
                <a:spcPct val="107000"/>
              </a:lnSpc>
              <a:spcAft>
                <a:spcPts val="800"/>
              </a:spcAft>
              <a:buFont typeface="Arial" panose="020B0604020202020204" pitchFamily="34" charset="0"/>
              <a:buNone/>
            </a:pPr>
            <a:r>
              <a:rPr lang="en-GB" sz="1100" b="1" u="sng" dirty="0">
                <a:solidFill>
                  <a:schemeClr val="accent6"/>
                </a:solidFill>
                <a:latin typeface="Proximus Bold"/>
              </a:rPr>
              <a:t>MAGALI </a:t>
            </a:r>
            <a:r>
              <a:rPr lang="en-GB" sz="1100" dirty="0">
                <a:solidFill>
                  <a:schemeClr val="accent6"/>
                </a:solidFill>
                <a:latin typeface="Proximus Bold"/>
              </a:rPr>
              <a:t>: </a:t>
            </a:r>
            <a:r>
              <a:rPr lang="fr-BE" sz="1100" b="0" i="0" dirty="0">
                <a:solidFill>
                  <a:schemeClr val="accent6"/>
                </a:solidFill>
                <a:effectLst/>
                <a:latin typeface="Segoe UI" panose="020B0502040204020203" pitchFamily="34" charset="0"/>
              </a:rPr>
              <a:t>Merci Geert. Après toutes ces informations, il me semble utile de voir si certaines personnes ont des questions à ce sujet. Nous allons donc bientôt passer à la session de questions-réponses. Mais avant cela, découvrons ensemble la 2</a:t>
            </a:r>
            <a:r>
              <a:rPr lang="fr-BE" sz="1100" b="0" i="0" baseline="30000" dirty="0">
                <a:solidFill>
                  <a:schemeClr val="accent6"/>
                </a:solidFill>
                <a:effectLst/>
                <a:latin typeface="Segoe UI" panose="020B0502040204020203" pitchFamily="34" charset="0"/>
              </a:rPr>
              <a:t>ème</a:t>
            </a:r>
            <a:r>
              <a:rPr lang="fr-BE" sz="1100" b="0" i="0" dirty="0">
                <a:solidFill>
                  <a:schemeClr val="accent6"/>
                </a:solidFill>
                <a:effectLst/>
                <a:latin typeface="Segoe UI" panose="020B0502040204020203" pitchFamily="34" charset="0"/>
              </a:rPr>
              <a:t> partie de notre vidéo « </a:t>
            </a:r>
            <a:r>
              <a:rPr lang="fr-BE" sz="1100" b="0" i="0" dirty="0" err="1">
                <a:solidFill>
                  <a:schemeClr val="accent6"/>
                </a:solidFill>
                <a:effectLst/>
                <a:latin typeface="Segoe UI" panose="020B0502040204020203" pitchFamily="34" charset="0"/>
              </a:rPr>
              <a:t>Achievement</a:t>
            </a:r>
            <a:r>
              <a:rPr lang="fr-BE" sz="1100" b="0" i="0" dirty="0">
                <a:solidFill>
                  <a:schemeClr val="accent6"/>
                </a:solidFill>
                <a:effectLst/>
                <a:latin typeface="Segoe UI" panose="020B0502040204020203" pitchFamily="34" charset="0"/>
              </a:rPr>
              <a:t> 2024 ». Cela vous laissera quelques minutes pour préparer vos questions. </a:t>
            </a:r>
          </a:p>
          <a:p>
            <a:pPr marL="0" indent="0">
              <a:lnSpc>
                <a:spcPct val="107000"/>
              </a:lnSpc>
              <a:spcAft>
                <a:spcPts val="800"/>
              </a:spcAft>
              <a:buFont typeface="Arial" panose="020B0604020202020204" pitchFamily="34" charset="0"/>
              <a:buNone/>
            </a:pPr>
            <a:endParaRPr lang="nl-NL" sz="1100" b="0" i="0" dirty="0">
              <a:solidFill>
                <a:schemeClr val="accent6"/>
              </a:solidFill>
              <a:effectLst/>
              <a:latin typeface="Segoe UI" panose="020B0502040204020203" pitchFamily="34" charset="0"/>
            </a:endParaRPr>
          </a:p>
          <a:p>
            <a:pPr marL="0" indent="0">
              <a:lnSpc>
                <a:spcPct val="107000"/>
              </a:lnSpc>
              <a:spcAft>
                <a:spcPts val="800"/>
              </a:spcAft>
              <a:buFont typeface="Arial" panose="020B0604020202020204" pitchFamily="34" charset="0"/>
              <a:buNone/>
            </a:pPr>
            <a:r>
              <a:rPr lang="nl-NL" sz="1100" b="0" i="0" dirty="0">
                <a:solidFill>
                  <a:schemeClr val="accent6"/>
                </a:solidFill>
                <a:effectLst/>
                <a:latin typeface="Segoe UI" panose="020B0502040204020203" pitchFamily="34" charset="0"/>
                <a:sym typeface="Wingdings" panose="05000000000000000000" pitchFamily="2" charset="2"/>
              </a:rPr>
              <a:t> </a:t>
            </a:r>
            <a:r>
              <a:rPr lang="nl-NL" sz="1100" b="1" i="0" dirty="0">
                <a:solidFill>
                  <a:schemeClr val="accent6"/>
                </a:solidFill>
                <a:effectLst/>
                <a:latin typeface="Segoe UI" panose="020B0502040204020203" pitchFamily="34" charset="0"/>
                <a:sym typeface="Wingdings" panose="05000000000000000000" pitchFamily="2" charset="2"/>
              </a:rPr>
              <a:t>ALL NBU MC GO ON STAGE + ROBIN</a:t>
            </a:r>
            <a:br>
              <a:rPr lang="nl-NL" sz="1100" b="0" i="0" dirty="0">
                <a:solidFill>
                  <a:srgbClr val="242424"/>
                </a:solidFill>
                <a:effectLst/>
                <a:latin typeface="Segoe UI" panose="020B0502040204020203" pitchFamily="34" charset="0"/>
              </a:rPr>
            </a:br>
            <a:endParaRPr lang="nl-NL" sz="1100" b="0" i="0" dirty="0">
              <a:solidFill>
                <a:srgbClr val="242424"/>
              </a:solidFill>
              <a:effectLst/>
              <a:latin typeface="Segoe UI" panose="020B0502040204020203" pitchFamily="34" charset="0"/>
            </a:endParaRPr>
          </a:p>
        </p:txBody>
      </p:sp>
      <p:sp>
        <p:nvSpPr>
          <p:cNvPr id="4" name="Slide Number Placeholder 3">
            <a:extLst>
              <a:ext uri="{FF2B5EF4-FFF2-40B4-BE49-F238E27FC236}">
                <a16:creationId xmlns:a16="http://schemas.microsoft.com/office/drawing/2014/main" id="{4629371E-D5B2-85D5-0DC1-16BA2FD5849B}"/>
              </a:ext>
            </a:extLst>
          </p:cNvPr>
          <p:cNvSpPr>
            <a:spLocks noGrp="1"/>
          </p:cNvSpPr>
          <p:nvPr>
            <p:ph type="sldNum" sz="quarter" idx="5"/>
          </p:nvPr>
        </p:nvSpPr>
        <p:spPr/>
        <p:txBody>
          <a:bodyPr/>
          <a:lstStyle/>
          <a:p>
            <a:fld id="{FA918F22-1231-AB43-96E7-2B8B890DCD5E}" type="slidenum">
              <a:rPr lang="en-US" smtClean="0"/>
              <a:pPr/>
              <a:t>61</a:t>
            </a:fld>
            <a:endParaRPr lang="en-US"/>
          </a:p>
        </p:txBody>
      </p:sp>
    </p:spTree>
    <p:extLst>
      <p:ext uri="{BB962C8B-B14F-4D97-AF65-F5344CB8AC3E}">
        <p14:creationId xmlns:p14="http://schemas.microsoft.com/office/powerpoint/2010/main" val="30214395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53B1B-61BA-7973-30E6-1317F0BA4B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A6C4BD-E74C-F342-D048-1F8683BD84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D6756C-5558-4CBD-CFC7-BA6551EC4516}"/>
              </a:ext>
            </a:extLst>
          </p:cNvPr>
          <p:cNvSpPr>
            <a:spLocks noGrp="1"/>
          </p:cNvSpPr>
          <p:nvPr>
            <p:ph type="body" idx="1"/>
          </p:nvPr>
        </p:nvSpPr>
        <p:spPr/>
        <p:txBody>
          <a:bodyPr/>
          <a:lstStyle/>
          <a:p>
            <a:r>
              <a:rPr lang="fr-FR" sz="4400" b="0" dirty="0" err="1">
                <a:solidFill>
                  <a:schemeClr val="tx1"/>
                </a:solidFill>
                <a:latin typeface="Proximus Light" pitchFamily="2" charset="77"/>
              </a:rPr>
              <a:t>Achievements</a:t>
            </a:r>
            <a:r>
              <a:rPr lang="fr-FR" sz="4400" b="0" dirty="0">
                <a:solidFill>
                  <a:schemeClr val="tx1"/>
                </a:solidFill>
                <a:latin typeface="Proximus Light" pitchFamily="2" charset="77"/>
              </a:rPr>
              <a:t> </a:t>
            </a:r>
            <a:r>
              <a:rPr lang="fr-FR" sz="4400" b="0" dirty="0" err="1">
                <a:solidFill>
                  <a:schemeClr val="tx1"/>
                </a:solidFill>
                <a:latin typeface="Proximus Light" pitchFamily="2" charset="77"/>
              </a:rPr>
              <a:t>video</a:t>
            </a:r>
            <a:br>
              <a:rPr lang="fr-FR" sz="4400" b="0" dirty="0">
                <a:solidFill>
                  <a:schemeClr val="tx1"/>
                </a:solidFill>
                <a:latin typeface="Proximus Light" pitchFamily="2" charset="77"/>
              </a:rPr>
            </a:br>
            <a:r>
              <a:rPr lang="fr-FR" sz="4400" b="0" dirty="0">
                <a:solidFill>
                  <a:schemeClr val="tx1"/>
                </a:solidFill>
                <a:latin typeface="Proximus Light" pitchFamily="2" charset="77"/>
              </a:rPr>
              <a:t>PART2</a:t>
            </a:r>
            <a:endParaRPr lang="en-US" sz="1100" b="1" dirty="0"/>
          </a:p>
        </p:txBody>
      </p:sp>
      <p:sp>
        <p:nvSpPr>
          <p:cNvPr id="4" name="Slide Number Placeholder 3">
            <a:extLst>
              <a:ext uri="{FF2B5EF4-FFF2-40B4-BE49-F238E27FC236}">
                <a16:creationId xmlns:a16="http://schemas.microsoft.com/office/drawing/2014/main" id="{2942BA09-D275-84F9-DE47-DC540EB0D03E}"/>
              </a:ext>
            </a:extLst>
          </p:cNvPr>
          <p:cNvSpPr>
            <a:spLocks noGrp="1"/>
          </p:cNvSpPr>
          <p:nvPr>
            <p:ph type="sldNum" sz="quarter" idx="5"/>
          </p:nvPr>
        </p:nvSpPr>
        <p:spPr/>
        <p:txBody>
          <a:bodyPr/>
          <a:lstStyle/>
          <a:p>
            <a:fld id="{FA918F22-1231-AB43-96E7-2B8B890DCD5E}" type="slidenum">
              <a:rPr lang="en-US" smtClean="0"/>
              <a:pPr/>
              <a:t>62</a:t>
            </a:fld>
            <a:endParaRPr lang="en-US"/>
          </a:p>
        </p:txBody>
      </p:sp>
    </p:spTree>
    <p:extLst>
      <p:ext uri="{BB962C8B-B14F-4D97-AF65-F5344CB8AC3E}">
        <p14:creationId xmlns:p14="http://schemas.microsoft.com/office/powerpoint/2010/main" val="32221375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3885F-43EC-B97A-85BF-A31A9B1CF3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446F44-E33E-98BA-A170-DC9AC81133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10C685-3370-A43B-9EBA-5AFFC4F1DF6A}"/>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none" kern="100" dirty="0">
                <a:solidFill>
                  <a:srgbClr val="C04F15"/>
                </a:solidFill>
                <a:effectLst/>
                <a:latin typeface="Proximus Light" pitchFamily="2" charset="77"/>
                <a:ea typeface="Aptos" panose="020B0004020202020204" pitchFamily="34" charset="0"/>
                <a:cs typeface="Arial" panose="020B0604020202020204" pitchFamily="34" charset="0"/>
              </a:rPr>
              <a:t>Switch to full widescreen video loop &gt; px_sc_bold_q&amp;a_loop_5400x1080.mp4</a:t>
            </a: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b="1" u="sng" kern="100" dirty="0">
              <a:solidFill>
                <a:srgbClr val="C04F15"/>
              </a:solidFill>
              <a:effectLst/>
              <a:latin typeface="Proximus Light" pitchFamily="2" charset="77"/>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dirty="0">
                <a:solidFill>
                  <a:srgbClr val="C04F15"/>
                </a:solidFill>
                <a:effectLst/>
                <a:latin typeface="Proximus Light" pitchFamily="2" charset="77"/>
                <a:ea typeface="Aptos" panose="020B0004020202020204" pitchFamily="34" charset="0"/>
                <a:cs typeface="Arial" panose="020B0604020202020204" pitchFamily="34" charset="0"/>
              </a:rPr>
              <a:t>MAGALI &amp; ROBIN </a:t>
            </a:r>
            <a:r>
              <a:rPr lang="en-US" sz="1100" u="sng" kern="100" dirty="0">
                <a:solidFill>
                  <a:srgbClr val="C04F15"/>
                </a:solidFill>
                <a:effectLst/>
                <a:latin typeface="Proximus Light" pitchFamily="2" charset="77"/>
                <a:ea typeface="Aptos" panose="020B0004020202020204" pitchFamily="34" charset="0"/>
                <a:cs typeface="Arial" panose="020B0604020202020204" pitchFamily="34" charset="0"/>
              </a:rPr>
              <a:t>on stage (switch languages)</a:t>
            </a:r>
          </a:p>
          <a:p>
            <a:endParaRPr lang="en-GB" sz="1100" dirty="0">
              <a:latin typeface="Proximus Bold"/>
            </a:endParaRPr>
          </a:p>
          <a:p>
            <a:r>
              <a:rPr lang="en-GB" sz="1100" dirty="0">
                <a:latin typeface="Proximus Bold"/>
              </a:rPr>
              <a:t>ALL NBU MC ON STAGE</a:t>
            </a:r>
          </a:p>
          <a:p>
            <a:endParaRPr lang="en-GB" sz="1100" dirty="0">
              <a:latin typeface="Proximus Bold"/>
            </a:endParaRPr>
          </a:p>
          <a:p>
            <a:r>
              <a:rPr lang="en-GB" sz="1100" b="1" u="sng" dirty="0">
                <a:latin typeface="Proximus Bold"/>
              </a:rPr>
              <a:t>ROBIN/MAGALI </a:t>
            </a:r>
            <a:r>
              <a:rPr lang="en-GB" sz="1100" dirty="0">
                <a:latin typeface="Proximus Bold"/>
              </a:rPr>
              <a:t>:</a:t>
            </a:r>
            <a:r>
              <a:rPr lang="nl-NL" sz="3200" b="0" i="0" dirty="0">
                <a:solidFill>
                  <a:srgbClr val="242424"/>
                </a:solidFill>
                <a:effectLst/>
                <a:latin typeface="Segoe UI" panose="020B0502040204020203" pitchFamily="34" charset="0"/>
              </a:rPr>
              <a:t>Laten we dan eens kijken naar de vragen die we via </a:t>
            </a:r>
            <a:r>
              <a:rPr lang="nl-NL" sz="3200" b="0" i="0" dirty="0" err="1">
                <a:solidFill>
                  <a:srgbClr val="242424"/>
                </a:solidFill>
                <a:effectLst/>
                <a:latin typeface="Segoe UI" panose="020B0502040204020203" pitchFamily="34" charset="0"/>
              </a:rPr>
              <a:t>Slido</a:t>
            </a:r>
            <a:r>
              <a:rPr lang="nl-NL" sz="3200" b="0" i="0" dirty="0">
                <a:solidFill>
                  <a:srgbClr val="242424"/>
                </a:solidFill>
                <a:effectLst/>
                <a:latin typeface="Segoe UI" panose="020B0502040204020203" pitchFamily="34" charset="0"/>
              </a:rPr>
              <a:t> hebben ontvangen. Joris en Sylvie, wat zijn de ontvangen vragen? Joris/Sylvie Etc... </a:t>
            </a:r>
          </a:p>
          <a:p>
            <a:endParaRPr lang="nl-NL" sz="3200" b="0" i="0" dirty="0">
              <a:solidFill>
                <a:srgbClr val="242424"/>
              </a:solidFill>
              <a:effectLst/>
              <a:latin typeface="Segoe UI" panose="020B0502040204020203" pitchFamily="34" charset="0"/>
              <a:sym typeface="Wingdings" panose="05000000000000000000" pitchFamily="2" charset="2"/>
            </a:endParaRPr>
          </a:p>
          <a:p>
            <a:r>
              <a:rPr lang="en-GB" sz="1100" dirty="0">
                <a:latin typeface="Proximus Bold"/>
                <a:sym typeface="Wingdings" panose="05000000000000000000" pitchFamily="2" charset="2"/>
              </a:rPr>
              <a:t>(check Valérie for closing – need to respect timing – closing at 16h35 max)</a:t>
            </a:r>
          </a:p>
          <a:p>
            <a:endParaRPr lang="en-GB" sz="1100" dirty="0">
              <a:latin typeface="Proximus Bold"/>
            </a:endParaRPr>
          </a:p>
        </p:txBody>
      </p:sp>
      <p:sp>
        <p:nvSpPr>
          <p:cNvPr id="4" name="Slide Number Placeholder 3">
            <a:extLst>
              <a:ext uri="{FF2B5EF4-FFF2-40B4-BE49-F238E27FC236}">
                <a16:creationId xmlns:a16="http://schemas.microsoft.com/office/drawing/2014/main" id="{25602570-922D-3609-4E0D-A41B9C912925}"/>
              </a:ext>
            </a:extLst>
          </p:cNvPr>
          <p:cNvSpPr>
            <a:spLocks noGrp="1"/>
          </p:cNvSpPr>
          <p:nvPr>
            <p:ph type="sldNum" sz="quarter" idx="5"/>
          </p:nvPr>
        </p:nvSpPr>
        <p:spPr/>
        <p:txBody>
          <a:bodyPr/>
          <a:lstStyle/>
          <a:p>
            <a:fld id="{FA918F22-1231-AB43-96E7-2B8B890DCD5E}" type="slidenum">
              <a:rPr lang="en-US" smtClean="0"/>
              <a:pPr/>
              <a:t>63</a:t>
            </a:fld>
            <a:endParaRPr lang="en-US"/>
          </a:p>
        </p:txBody>
      </p:sp>
    </p:spTree>
    <p:extLst>
      <p:ext uri="{BB962C8B-B14F-4D97-AF65-F5344CB8AC3E}">
        <p14:creationId xmlns:p14="http://schemas.microsoft.com/office/powerpoint/2010/main" val="304087033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26097-ED35-B26C-80BB-E1BA36BED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006CBE-F45C-3F50-7A0B-44F6058516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92D5B4-736A-B5FB-5E6D-7E4194B9781E}"/>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GB" sz="1100" b="1" u="sng">
                <a:solidFill>
                  <a:schemeClr val="accent6"/>
                </a:solidFill>
                <a:latin typeface="Proximus Bold"/>
              </a:rPr>
              <a:t>ROBIN : </a:t>
            </a:r>
            <a:r>
              <a:rPr lang="en-GB" sz="1100">
                <a:solidFill>
                  <a:schemeClr val="accent6"/>
                </a:solidFill>
                <a:latin typeface="Proximus Bold"/>
              </a:rPr>
              <a:t>Hiermee </a:t>
            </a:r>
            <a:r>
              <a:rPr lang="en-GB" sz="1100" err="1">
                <a:solidFill>
                  <a:schemeClr val="accent6"/>
                </a:solidFill>
                <a:latin typeface="Proximus Bold"/>
              </a:rPr>
              <a:t>zijn</a:t>
            </a:r>
            <a:r>
              <a:rPr lang="en-GB" sz="1100">
                <a:solidFill>
                  <a:schemeClr val="accent6"/>
                </a:solidFill>
                <a:latin typeface="Proximus Bold"/>
              </a:rPr>
              <a:t> we dan </a:t>
            </a:r>
            <a:r>
              <a:rPr lang="en-GB" sz="1100" err="1">
                <a:solidFill>
                  <a:schemeClr val="accent6"/>
                </a:solidFill>
                <a:latin typeface="Proximus Bold"/>
              </a:rPr>
              <a:t>ook</a:t>
            </a:r>
            <a:r>
              <a:rPr lang="en-GB" sz="1100">
                <a:solidFill>
                  <a:schemeClr val="accent6"/>
                </a:solidFill>
                <a:latin typeface="Proximus Bold"/>
              </a:rPr>
              <a:t> </a:t>
            </a:r>
            <a:r>
              <a:rPr lang="en-GB" sz="1100" err="1">
                <a:solidFill>
                  <a:schemeClr val="accent6"/>
                </a:solidFill>
                <a:latin typeface="Proximus Bold"/>
              </a:rPr>
              <a:t>echt</a:t>
            </a:r>
            <a:r>
              <a:rPr lang="en-GB" sz="1100">
                <a:solidFill>
                  <a:schemeClr val="accent6"/>
                </a:solidFill>
                <a:latin typeface="Proximus Bold"/>
              </a:rPr>
              <a:t> </a:t>
            </a:r>
            <a:r>
              <a:rPr lang="en-GB" sz="1100" err="1">
                <a:solidFill>
                  <a:schemeClr val="accent6"/>
                </a:solidFill>
                <a:latin typeface="Proximus Bold"/>
              </a:rPr>
              <a:t>aan</a:t>
            </a:r>
            <a:r>
              <a:rPr lang="en-GB" sz="1100">
                <a:solidFill>
                  <a:schemeClr val="accent6"/>
                </a:solidFill>
                <a:latin typeface="Proximus Bold"/>
              </a:rPr>
              <a:t> het </a:t>
            </a:r>
            <a:r>
              <a:rPr lang="en-GB" sz="1100" err="1">
                <a:solidFill>
                  <a:schemeClr val="accent6"/>
                </a:solidFill>
                <a:latin typeface="Proximus Bold"/>
              </a:rPr>
              <a:t>einde</a:t>
            </a:r>
            <a:r>
              <a:rPr lang="en-GB" sz="1100">
                <a:solidFill>
                  <a:schemeClr val="accent6"/>
                </a:solidFill>
                <a:latin typeface="Proximus Bold"/>
              </a:rPr>
              <a:t> van </a:t>
            </a:r>
            <a:r>
              <a:rPr lang="en-GB" sz="1100" err="1">
                <a:solidFill>
                  <a:schemeClr val="accent6"/>
                </a:solidFill>
                <a:latin typeface="Proximus Bold"/>
              </a:rPr>
              <a:t>deze</a:t>
            </a:r>
            <a:r>
              <a:rPr lang="en-GB" sz="1100">
                <a:solidFill>
                  <a:schemeClr val="accent6"/>
                </a:solidFill>
                <a:latin typeface="Proximus Bold"/>
              </a:rPr>
              <a:t> strategy cascade. </a:t>
            </a:r>
            <a:r>
              <a:rPr lang="nl-NL" sz="1100" b="0" i="0" err="1">
                <a:solidFill>
                  <a:schemeClr val="accent6"/>
                </a:solidFill>
                <a:effectLst/>
                <a:latin typeface="Segoe UI"/>
                <a:cs typeface="Segoe UI"/>
              </a:rPr>
              <a:t>Magali</a:t>
            </a:r>
            <a:r>
              <a:rPr lang="nl-NL" sz="1100" b="0" i="0">
                <a:solidFill>
                  <a:schemeClr val="accent6"/>
                </a:solidFill>
                <a:effectLst/>
                <a:latin typeface="Segoe UI"/>
                <a:cs typeface="Segoe UI"/>
              </a:rPr>
              <a:t> en ik bedanken al onze sprekers en jullie allemaal die ons digitaal hebben gevolgd of hier aanwezig zijn in Evere. </a:t>
            </a:r>
          </a:p>
          <a:p>
            <a:pPr>
              <a:defRPr/>
            </a:pPr>
            <a:r>
              <a:rPr lang="nl-NL" sz="1100" b="1" u="sng" err="1">
                <a:solidFill>
                  <a:schemeClr val="accent6"/>
                </a:solidFill>
                <a:latin typeface="Proximus Bold"/>
              </a:rPr>
              <a:t>Magali</a:t>
            </a:r>
            <a:r>
              <a:rPr lang="nl-NL" sz="1100" b="1" u="sng">
                <a:solidFill>
                  <a:schemeClr val="accent6"/>
                </a:solidFill>
                <a:latin typeface="Proximus Bold"/>
              </a:rPr>
              <a:t>:</a:t>
            </a:r>
            <a:r>
              <a:rPr lang="nl-NL" sz="1100">
                <a:solidFill>
                  <a:schemeClr val="accent6"/>
                </a:solidFill>
                <a:latin typeface="Proximus Bold"/>
              </a:rPr>
              <a:t> En </a:t>
            </a:r>
            <a:r>
              <a:rPr lang="nl-NL" sz="1100" err="1">
                <a:solidFill>
                  <a:schemeClr val="accent6"/>
                </a:solidFill>
                <a:latin typeface="Proximus Bold"/>
              </a:rPr>
              <a:t>effet</a:t>
            </a:r>
            <a:r>
              <a:rPr lang="nl-NL" sz="1100">
                <a:solidFill>
                  <a:schemeClr val="accent6"/>
                </a:solidFill>
                <a:latin typeface="Proximus Bold"/>
              </a:rPr>
              <a:t>, </a:t>
            </a:r>
            <a:r>
              <a:rPr lang="nl-NL" sz="1100" err="1">
                <a:solidFill>
                  <a:schemeClr val="accent6"/>
                </a:solidFill>
                <a:latin typeface="Proximus Bold"/>
              </a:rPr>
              <a:t>un</a:t>
            </a:r>
            <a:r>
              <a:rPr lang="nl-NL" sz="1100">
                <a:solidFill>
                  <a:schemeClr val="accent6"/>
                </a:solidFill>
                <a:latin typeface="Proximus Bold"/>
              </a:rPr>
              <a:t> grand merci à </a:t>
            </a:r>
            <a:r>
              <a:rPr lang="nl-NL" sz="1100" err="1">
                <a:solidFill>
                  <a:schemeClr val="accent6"/>
                </a:solidFill>
                <a:latin typeface="Proximus Bold"/>
              </a:rPr>
              <a:t>tous</a:t>
            </a:r>
            <a:r>
              <a:rPr lang="nl-NL" sz="1100">
                <a:solidFill>
                  <a:schemeClr val="accent6"/>
                </a:solidFill>
                <a:latin typeface="Proximus Bold"/>
              </a:rPr>
              <a:t> </a:t>
            </a:r>
            <a:r>
              <a:rPr lang="nl-NL" sz="1100" err="1">
                <a:solidFill>
                  <a:schemeClr val="accent6"/>
                </a:solidFill>
                <a:latin typeface="Proximus Bold"/>
              </a:rPr>
              <a:t>nos</a:t>
            </a:r>
            <a:r>
              <a:rPr lang="nl-NL" sz="1100">
                <a:solidFill>
                  <a:schemeClr val="accent6"/>
                </a:solidFill>
                <a:latin typeface="Proximus Bold"/>
              </a:rPr>
              <a:t> </a:t>
            </a:r>
            <a:r>
              <a:rPr lang="nl-NL" sz="1100" err="1">
                <a:solidFill>
                  <a:schemeClr val="accent6"/>
                </a:solidFill>
                <a:latin typeface="Proximus Bold"/>
              </a:rPr>
              <a:t>intervenants</a:t>
            </a:r>
            <a:r>
              <a:rPr lang="nl-NL" sz="1100">
                <a:solidFill>
                  <a:schemeClr val="accent6"/>
                </a:solidFill>
                <a:latin typeface="Proximus Bold"/>
              </a:rPr>
              <a:t>, et à </a:t>
            </a:r>
            <a:r>
              <a:rPr lang="nl-NL" sz="1100" err="1">
                <a:solidFill>
                  <a:schemeClr val="accent6"/>
                </a:solidFill>
                <a:latin typeface="Proximus Bold"/>
              </a:rPr>
              <a:t>vous</a:t>
            </a:r>
            <a:r>
              <a:rPr lang="nl-NL" sz="1100">
                <a:solidFill>
                  <a:schemeClr val="accent6"/>
                </a:solidFill>
                <a:latin typeface="Proximus Bold"/>
              </a:rPr>
              <a:t> </a:t>
            </a:r>
            <a:r>
              <a:rPr lang="nl-NL" sz="1100" err="1">
                <a:solidFill>
                  <a:schemeClr val="accent6"/>
                </a:solidFill>
                <a:latin typeface="Proximus Bold"/>
              </a:rPr>
              <a:t>toutes</a:t>
            </a:r>
            <a:r>
              <a:rPr lang="nl-NL" sz="1100">
                <a:solidFill>
                  <a:schemeClr val="accent6"/>
                </a:solidFill>
                <a:latin typeface="Proximus Bold"/>
              </a:rPr>
              <a:t> et </a:t>
            </a:r>
            <a:r>
              <a:rPr lang="nl-NL" sz="1100" err="1">
                <a:solidFill>
                  <a:schemeClr val="accent6"/>
                </a:solidFill>
                <a:latin typeface="Proximus Bold"/>
              </a:rPr>
              <a:t>tous</a:t>
            </a:r>
            <a:r>
              <a:rPr lang="nl-NL" sz="1100">
                <a:solidFill>
                  <a:schemeClr val="accent6"/>
                </a:solidFill>
                <a:latin typeface="Proximus Bold"/>
              </a:rPr>
              <a:t> de </a:t>
            </a:r>
            <a:r>
              <a:rPr lang="nl-NL" sz="1100" err="1">
                <a:solidFill>
                  <a:schemeClr val="accent6"/>
                </a:solidFill>
                <a:latin typeface="Proximus Bold"/>
              </a:rPr>
              <a:t>nous</a:t>
            </a:r>
            <a:r>
              <a:rPr lang="nl-NL" sz="1100">
                <a:solidFill>
                  <a:schemeClr val="accent6"/>
                </a:solidFill>
                <a:latin typeface="Proximus Bold"/>
              </a:rPr>
              <a:t> </a:t>
            </a:r>
            <a:r>
              <a:rPr lang="nl-NL" sz="1100" err="1">
                <a:solidFill>
                  <a:schemeClr val="accent6"/>
                </a:solidFill>
                <a:latin typeface="Proximus Bold"/>
              </a:rPr>
              <a:t>avoir</a:t>
            </a:r>
            <a:r>
              <a:rPr lang="nl-NL" sz="1100">
                <a:solidFill>
                  <a:schemeClr val="accent6"/>
                </a:solidFill>
                <a:latin typeface="Proximus Bold"/>
              </a:rPr>
              <a:t> </a:t>
            </a:r>
            <a:r>
              <a:rPr lang="nl-NL" sz="1100" err="1">
                <a:solidFill>
                  <a:schemeClr val="accent6"/>
                </a:solidFill>
                <a:latin typeface="Proximus Bold"/>
              </a:rPr>
              <a:t>suivis</a:t>
            </a:r>
            <a:r>
              <a:rPr lang="nl-NL" sz="1100">
                <a:solidFill>
                  <a:schemeClr val="accent6"/>
                </a:solidFill>
                <a:latin typeface="Proximus Bold"/>
              </a:rPr>
              <a:t>, </a:t>
            </a:r>
            <a:r>
              <a:rPr lang="nl-NL" sz="1100" err="1">
                <a:solidFill>
                  <a:schemeClr val="accent6"/>
                </a:solidFill>
                <a:latin typeface="Proximus Bold"/>
              </a:rPr>
              <a:t>ici</a:t>
            </a:r>
            <a:r>
              <a:rPr lang="nl-NL" sz="1100">
                <a:solidFill>
                  <a:schemeClr val="accent6"/>
                </a:solidFill>
                <a:latin typeface="Proximus Bold"/>
              </a:rPr>
              <a:t> à Evere </a:t>
            </a:r>
            <a:r>
              <a:rPr lang="nl-NL" sz="1100" err="1">
                <a:solidFill>
                  <a:schemeClr val="accent6"/>
                </a:solidFill>
                <a:latin typeface="Proximus Bold"/>
              </a:rPr>
              <a:t>ou</a:t>
            </a:r>
            <a:r>
              <a:rPr lang="nl-NL" sz="1100">
                <a:solidFill>
                  <a:schemeClr val="accent6"/>
                </a:solidFill>
                <a:latin typeface="Proximus Bold"/>
              </a:rPr>
              <a:t> </a:t>
            </a:r>
            <a:r>
              <a:rPr lang="nl-NL" sz="1100" err="1">
                <a:solidFill>
                  <a:schemeClr val="accent6"/>
                </a:solidFill>
                <a:latin typeface="Proximus Bold"/>
              </a:rPr>
              <a:t>depuis</a:t>
            </a:r>
            <a:r>
              <a:rPr lang="nl-NL" sz="1100">
                <a:solidFill>
                  <a:schemeClr val="accent6"/>
                </a:solidFill>
                <a:latin typeface="Proximus Bold"/>
              </a:rPr>
              <a:t> </a:t>
            </a:r>
            <a:r>
              <a:rPr lang="nl-NL" sz="1100" err="1">
                <a:solidFill>
                  <a:schemeClr val="accent6"/>
                </a:solidFill>
                <a:latin typeface="Proximus Bold"/>
              </a:rPr>
              <a:t>chez</a:t>
            </a:r>
            <a:r>
              <a:rPr lang="nl-NL" sz="1100">
                <a:solidFill>
                  <a:schemeClr val="accent6"/>
                </a:solidFill>
                <a:latin typeface="Proximus Bold"/>
              </a:rPr>
              <a:t> </a:t>
            </a:r>
            <a:r>
              <a:rPr lang="nl-NL" sz="1100" err="1">
                <a:solidFill>
                  <a:schemeClr val="accent6"/>
                </a:solidFill>
                <a:latin typeface="Proximus Bold"/>
              </a:rPr>
              <a:t>vous</a:t>
            </a:r>
            <a:r>
              <a:rPr lang="nl-NL" sz="1100">
                <a:solidFill>
                  <a:schemeClr val="accent6"/>
                </a:solidFill>
                <a:latin typeface="Proximus Bold"/>
              </a:rPr>
              <a:t>.</a:t>
            </a:r>
          </a:p>
          <a:p>
            <a:pPr>
              <a:defRPr/>
            </a:pPr>
            <a:endParaRPr lang="nl-NL" sz="1100">
              <a:solidFill>
                <a:schemeClr val="accent6"/>
              </a:solidFill>
              <a:latin typeface="Proximus Bold"/>
            </a:endParaRPr>
          </a:p>
          <a:p>
            <a:pPr>
              <a:defRPr/>
            </a:pPr>
            <a:r>
              <a:rPr lang="nl-NL" sz="1100" b="1" u="sng">
                <a:solidFill>
                  <a:schemeClr val="accent6"/>
                </a:solidFill>
                <a:latin typeface="Proximus Bold"/>
              </a:rPr>
              <a:t>Robin:</a:t>
            </a:r>
            <a:r>
              <a:rPr lang="nl-NL" sz="1100" b="1" u="sng">
                <a:solidFill>
                  <a:schemeClr val="accent6"/>
                </a:solidFill>
                <a:latin typeface="Proximus Bold"/>
                <a:cs typeface="Segoe UI"/>
              </a:rPr>
              <a:t> </a:t>
            </a:r>
            <a:r>
              <a:rPr lang="nl-NL" sz="1100">
                <a:solidFill>
                  <a:schemeClr val="accent6"/>
                </a:solidFill>
                <a:latin typeface="Segoe UI"/>
                <a:cs typeface="Segoe UI"/>
              </a:rPr>
              <a:t>Geert, ik laat jou deze sessie afsluiten…</a:t>
            </a:r>
            <a:endParaRPr lang="nl-NL" sz="1100" b="1" u="sng">
              <a:solidFill>
                <a:schemeClr val="accent6"/>
              </a:solidFill>
              <a:latin typeface="Proximus Bold"/>
              <a:cs typeface="Segoe UI"/>
            </a:endParaRPr>
          </a:p>
          <a:p>
            <a:endParaRPr lang="en-GB" sz="1100" b="1" u="sng">
              <a:solidFill>
                <a:schemeClr val="accent6"/>
              </a:solidFill>
              <a:latin typeface="Proximus Bold"/>
            </a:endParaRPr>
          </a:p>
          <a:p>
            <a:r>
              <a:rPr lang="en-GB" sz="1100" b="1" u="sng">
                <a:solidFill>
                  <a:schemeClr val="accent6"/>
                </a:solidFill>
                <a:latin typeface="Proximus Bold"/>
              </a:rPr>
              <a:t>GEERT</a:t>
            </a:r>
            <a:r>
              <a:rPr lang="en-GB" sz="1100">
                <a:solidFill>
                  <a:schemeClr val="accent6"/>
                </a:solidFill>
                <a:latin typeface="Proximus Bold"/>
              </a:rPr>
              <a:t> (NL) : </a:t>
            </a:r>
            <a:r>
              <a:rPr lang="en-GB" sz="1100" err="1">
                <a:solidFill>
                  <a:schemeClr val="accent6"/>
                </a:solidFill>
                <a:latin typeface="Proximus Bold"/>
              </a:rPr>
              <a:t>Bedankt</a:t>
            </a:r>
            <a:r>
              <a:rPr lang="en-GB" sz="1100">
                <a:solidFill>
                  <a:schemeClr val="accent6"/>
                </a:solidFill>
                <a:latin typeface="Proximus Bold"/>
              </a:rPr>
              <a:t> Robin (IMPRO) ….. and I invite people in </a:t>
            </a:r>
            <a:r>
              <a:rPr lang="en-GB" sz="1100" err="1">
                <a:solidFill>
                  <a:schemeClr val="accent6"/>
                </a:solidFill>
                <a:latin typeface="Proximus Bold"/>
              </a:rPr>
              <a:t>Evere</a:t>
            </a:r>
            <a:r>
              <a:rPr lang="en-GB" sz="1100">
                <a:solidFill>
                  <a:schemeClr val="accent6"/>
                </a:solidFill>
                <a:latin typeface="Proximus Bold"/>
              </a:rPr>
              <a:t> to join us in the Lounge to take a drink together ;-)</a:t>
            </a:r>
          </a:p>
          <a:p>
            <a:endParaRPr lang="en-GB" sz="1100">
              <a:solidFill>
                <a:schemeClr val="accent6"/>
              </a:solidFill>
              <a:latin typeface="Proximus Bold"/>
            </a:endParaRPr>
          </a:p>
          <a:p>
            <a:r>
              <a:rPr lang="en-GB" sz="1100" b="1">
                <a:solidFill>
                  <a:schemeClr val="accent6"/>
                </a:solidFill>
                <a:latin typeface="Proximus Bold"/>
              </a:rPr>
              <a:t>Closing – stop streaming</a:t>
            </a:r>
            <a:endParaRPr lang="en-GB" sz="1100" b="1">
              <a:solidFill>
                <a:schemeClr val="accent6"/>
              </a:solidFill>
            </a:endParaRPr>
          </a:p>
        </p:txBody>
      </p:sp>
      <p:sp>
        <p:nvSpPr>
          <p:cNvPr id="4" name="Slide Number Placeholder 3">
            <a:extLst>
              <a:ext uri="{FF2B5EF4-FFF2-40B4-BE49-F238E27FC236}">
                <a16:creationId xmlns:a16="http://schemas.microsoft.com/office/drawing/2014/main" id="{293081FF-2A18-8A08-9D39-FD7DC3E64A77}"/>
              </a:ext>
            </a:extLst>
          </p:cNvPr>
          <p:cNvSpPr>
            <a:spLocks noGrp="1"/>
          </p:cNvSpPr>
          <p:nvPr>
            <p:ph type="sldNum" sz="quarter" idx="5"/>
          </p:nvPr>
        </p:nvSpPr>
        <p:spPr/>
        <p:txBody>
          <a:bodyPr/>
          <a:lstStyle/>
          <a:p>
            <a:fld id="{FA918F22-1231-AB43-96E7-2B8B890DCD5E}" type="slidenum">
              <a:rPr lang="en-US" smtClean="0"/>
              <a:pPr/>
              <a:t>64</a:t>
            </a:fld>
            <a:endParaRPr lang="en-US"/>
          </a:p>
        </p:txBody>
      </p:sp>
    </p:spTree>
    <p:extLst>
      <p:ext uri="{BB962C8B-B14F-4D97-AF65-F5344CB8AC3E}">
        <p14:creationId xmlns:p14="http://schemas.microsoft.com/office/powerpoint/2010/main" val="1965225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971E0-8D44-3B6D-0C6D-66B4396BA9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4D44EF-33FE-2F9E-D0F6-6503738D0B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B80F74-7D48-0DE0-71B8-13779F13CABB}"/>
              </a:ext>
            </a:extLst>
          </p:cNvPr>
          <p:cNvSpPr>
            <a:spLocks noGrp="1"/>
          </p:cNvSpPr>
          <p:nvPr>
            <p:ph type="body" idx="1"/>
          </p:nvPr>
        </p:nvSpPr>
        <p:spPr/>
        <p:txBody>
          <a:bodyPr/>
          <a:lstStyle/>
          <a:p>
            <a:r>
              <a:rPr lang="en-US" sz="1100" b="1">
                <a:solidFill>
                  <a:schemeClr val="accent6"/>
                </a:solidFill>
              </a:rPr>
              <a:t>MAGALI &amp; ROBIN </a:t>
            </a:r>
            <a:r>
              <a:rPr lang="en-US" sz="1100">
                <a:solidFill>
                  <a:schemeClr val="accent6"/>
                </a:solidFill>
              </a:rPr>
              <a:t>on stage</a:t>
            </a:r>
            <a:endParaRPr lang="fr-BE" sz="1100">
              <a:solidFill>
                <a:schemeClr val="accent6"/>
              </a:solidFill>
            </a:endParaRPr>
          </a:p>
        </p:txBody>
      </p:sp>
      <p:sp>
        <p:nvSpPr>
          <p:cNvPr id="4" name="Slide Number Placeholder 3">
            <a:extLst>
              <a:ext uri="{FF2B5EF4-FFF2-40B4-BE49-F238E27FC236}">
                <a16:creationId xmlns:a16="http://schemas.microsoft.com/office/drawing/2014/main" id="{3473391D-B4AD-F786-B8FC-B4715CDE8C7A}"/>
              </a:ext>
            </a:extLst>
          </p:cNvPr>
          <p:cNvSpPr>
            <a:spLocks noGrp="1"/>
          </p:cNvSpPr>
          <p:nvPr>
            <p:ph type="sldNum" sz="quarter" idx="5"/>
          </p:nvPr>
        </p:nvSpPr>
        <p:spPr/>
        <p:txBody>
          <a:bodyPr/>
          <a:lstStyle/>
          <a:p>
            <a:fld id="{FA918F22-1231-AB43-96E7-2B8B890DCD5E}" type="slidenum">
              <a:rPr lang="en-US" smtClean="0"/>
              <a:pPr/>
              <a:t>65</a:t>
            </a:fld>
            <a:endParaRPr lang="en-US"/>
          </a:p>
        </p:txBody>
      </p:sp>
    </p:spTree>
    <p:extLst>
      <p:ext uri="{BB962C8B-B14F-4D97-AF65-F5344CB8AC3E}">
        <p14:creationId xmlns:p14="http://schemas.microsoft.com/office/powerpoint/2010/main" val="2334331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4400" b="0" dirty="0" err="1">
                <a:solidFill>
                  <a:schemeClr val="tx1"/>
                </a:solidFill>
                <a:latin typeface="Proximus Light" pitchFamily="2" charset="77"/>
              </a:rPr>
              <a:t>Achievements</a:t>
            </a:r>
            <a:r>
              <a:rPr lang="fr-FR" sz="4400" b="0" dirty="0">
                <a:solidFill>
                  <a:schemeClr val="tx1"/>
                </a:solidFill>
                <a:latin typeface="Proximus Light" pitchFamily="2" charset="77"/>
              </a:rPr>
              <a:t> </a:t>
            </a:r>
            <a:r>
              <a:rPr lang="fr-FR" sz="4400" b="0" dirty="0" err="1">
                <a:solidFill>
                  <a:schemeClr val="tx1"/>
                </a:solidFill>
                <a:latin typeface="Proximus Light" pitchFamily="2" charset="77"/>
              </a:rPr>
              <a:t>video</a:t>
            </a:r>
            <a:br>
              <a:rPr lang="fr-FR" sz="4400" b="0" dirty="0">
                <a:solidFill>
                  <a:schemeClr val="tx1"/>
                </a:solidFill>
                <a:latin typeface="Proximus Light" pitchFamily="2" charset="77"/>
              </a:rPr>
            </a:br>
            <a:r>
              <a:rPr lang="fr-FR" sz="4400" b="0" dirty="0">
                <a:solidFill>
                  <a:schemeClr val="tx1"/>
                </a:solidFill>
                <a:latin typeface="Proximus Light" pitchFamily="2" charset="77"/>
              </a:rPr>
              <a:t>PART1</a:t>
            </a:r>
            <a:endParaRPr lang="en-US" sz="1100" b="1" dirty="0"/>
          </a:p>
        </p:txBody>
      </p:sp>
      <p:sp>
        <p:nvSpPr>
          <p:cNvPr id="4" name="Slide Number Placeholder 3"/>
          <p:cNvSpPr>
            <a:spLocks noGrp="1"/>
          </p:cNvSpPr>
          <p:nvPr>
            <p:ph type="sldNum" sz="quarter" idx="5"/>
          </p:nvPr>
        </p:nvSpPr>
        <p:spPr/>
        <p:txBody>
          <a:bodyPr/>
          <a:lstStyle/>
          <a:p>
            <a:fld id="{FA918F22-1231-AB43-96E7-2B8B890DCD5E}" type="slidenum">
              <a:rPr lang="en-US" smtClean="0"/>
              <a:pPr/>
              <a:t>7</a:t>
            </a:fld>
            <a:endParaRPr lang="en-US"/>
          </a:p>
        </p:txBody>
      </p:sp>
    </p:spTree>
    <p:extLst>
      <p:ext uri="{BB962C8B-B14F-4D97-AF65-F5344CB8AC3E}">
        <p14:creationId xmlns:p14="http://schemas.microsoft.com/office/powerpoint/2010/main" val="3276822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F6649-96D3-2059-3E30-99BA89C204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A8AF7D-35D9-D187-96A0-0AC482B0EE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8ED3EE-64BF-F672-6A12-4671CEF04379}"/>
              </a:ext>
            </a:extLst>
          </p:cNvPr>
          <p:cNvSpPr>
            <a:spLocks noGrp="1"/>
          </p:cNvSpPr>
          <p:nvPr>
            <p:ph type="body" idx="1"/>
          </p:nvPr>
        </p:nvSpPr>
        <p:spPr/>
        <p:txBody>
          <a:bodyPr/>
          <a:lstStyle/>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a:t>
            </a:r>
            <a:r>
              <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on stage </a:t>
            </a: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 :  </a:t>
            </a:r>
            <a:r>
              <a:rPr lang="en-US" sz="1100" b="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NL) </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bout the video) :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aouw</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ndrukwekkend</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Proficia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allemaa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ankuwe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ks</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ijk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aar</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he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weede</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ee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ant er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eel</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eer</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erwezenlijkingen</a:t>
            </a:r>
            <a:endPar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endParaRPr lang="en-US" sz="1100" u="sng"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 </a:t>
            </a:r>
            <a:r>
              <a:rPr lang="nl-NL" sz="1100" b="0" i="0">
                <a:solidFill>
                  <a:schemeClr val="accent6"/>
                </a:solidFill>
                <a:effectLst/>
                <a:latin typeface="Proximus" panose="00000500000000000000" pitchFamily="2" charset="0"/>
              </a:rPr>
              <a:t>Geert, na een moment van reflectie en achteruitkijken denk ik dat het nu tijd is om naar de toekomst te kijken. Te beginnen met 2025, een jaar vol uitdagingen?</a:t>
            </a:r>
          </a:p>
          <a:p>
            <a:pPr marL="0" marR="0" lvl="0" indent="0" algn="l" defTabSz="411480" rtl="0" eaLnBrk="1" fontAlgn="auto" latinLnBrk="0" hangingPunct="1">
              <a:lnSpc>
                <a:spcPct val="100000"/>
              </a:lnSpc>
              <a:spcBef>
                <a:spcPts val="0"/>
              </a:spcBef>
              <a:spcAft>
                <a:spcPts val="0"/>
              </a:spcAft>
              <a:buClrTx/>
              <a:buSzTx/>
              <a:buFontTx/>
              <a:buNone/>
              <a:tabLst/>
              <a:defRPr/>
            </a:pPr>
            <a:endParaRPr lang="nl-NL" sz="1100" b="0" i="0"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marL="0" marR="0" lvl="0" indent="0" algn="l" defTabSz="411480" rtl="0" eaLnBrk="1" fontAlgn="auto" latinLnBrk="0" hangingPunct="1">
              <a:lnSpc>
                <a:spcPct val="100000"/>
              </a:lnSpc>
              <a:spcBef>
                <a:spcPts val="0"/>
              </a:spcBef>
              <a:spcAft>
                <a:spcPts val="0"/>
              </a:spcAft>
              <a:buClrTx/>
              <a:buSzTx/>
              <a:buFontTx/>
              <a:buNone/>
              <a:tabLst/>
              <a:defRPr/>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 </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NL)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inderdaad</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Robin, het is he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laats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van bold2025… maar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olan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nog</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 2025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blijf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bold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z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rategi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Maar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oe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szelf</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bereid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op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lgend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cyclu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w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moe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l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ij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oekoms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namelijk</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oo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uitdaging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ie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ns</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te</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achte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staan</a:t>
            </a:r>
            <a:r>
              <a:rPr lang="en-US" sz="1100"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a:t>
            </a:r>
            <a:endParaRPr lang="en-BE" sz="1100">
              <a:solidFill>
                <a:schemeClr val="accent6"/>
              </a:solidFill>
              <a:latin typeface="Proximus" panose="00000500000000000000" pitchFamily="2" charset="0"/>
            </a:endParaRPr>
          </a:p>
          <a:p>
            <a:endParaRPr lang="en-BE">
              <a:solidFill>
                <a:schemeClr val="accent6"/>
              </a:solidFill>
            </a:endParaRPr>
          </a:p>
        </p:txBody>
      </p:sp>
      <p:sp>
        <p:nvSpPr>
          <p:cNvPr id="4" name="Slide Number Placeholder 3">
            <a:extLst>
              <a:ext uri="{FF2B5EF4-FFF2-40B4-BE49-F238E27FC236}">
                <a16:creationId xmlns:a16="http://schemas.microsoft.com/office/drawing/2014/main" id="{D2308F3C-A9AF-EA7E-C313-61C7336D9972}"/>
              </a:ext>
            </a:extLst>
          </p:cNvPr>
          <p:cNvSpPr>
            <a:spLocks noGrp="1"/>
          </p:cNvSpPr>
          <p:nvPr>
            <p:ph type="sldNum" sz="quarter" idx="5"/>
          </p:nvPr>
        </p:nvSpPr>
        <p:spPr/>
        <p:txBody>
          <a:bodyPr/>
          <a:lstStyle/>
          <a:p>
            <a:fld id="{FA918F22-1231-AB43-96E7-2B8B890DCD5E}" type="slidenum">
              <a:rPr lang="en-US" smtClean="0"/>
              <a:pPr/>
              <a:t>8</a:t>
            </a:fld>
            <a:endParaRPr lang="en-US"/>
          </a:p>
        </p:txBody>
      </p:sp>
    </p:spTree>
    <p:extLst>
      <p:ext uri="{BB962C8B-B14F-4D97-AF65-F5344CB8AC3E}">
        <p14:creationId xmlns:p14="http://schemas.microsoft.com/office/powerpoint/2010/main" val="735785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E1B61-CB52-FC3E-F61F-A60C02EFAB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855C52-B1BB-0446-8FE6-C86F46F5F6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45BA4-3525-0BA4-0ABF-41689534422F}"/>
              </a:ext>
            </a:extLst>
          </p:cNvPr>
          <p:cNvSpPr>
            <a:spLocks noGrp="1"/>
          </p:cNvSpPr>
          <p:nvPr>
            <p:ph type="body" idx="1"/>
          </p:nvPr>
        </p:nvSpPr>
        <p:spPr/>
        <p:txBody>
          <a:bodyPr/>
          <a:lstStyle/>
          <a:p>
            <a:pPr>
              <a:lnSpc>
                <a:spcPct val="107000"/>
              </a:lnSpc>
              <a:spcAft>
                <a:spcPts val="800"/>
              </a:spcAft>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ROBIN ON STAGE </a:t>
            </a:r>
          </a:p>
          <a:p>
            <a:pPr>
              <a:lnSpc>
                <a:spcPct val="107000"/>
              </a:lnSpc>
              <a:spcAft>
                <a:spcPts val="800"/>
              </a:spcAft>
            </a:pPr>
            <a:r>
              <a:rPr lang="en-US" sz="1100" b="1" u="sng" kern="100">
                <a:solidFill>
                  <a:schemeClr val="accent6"/>
                </a:solidFill>
                <a:effectLst/>
                <a:latin typeface="Proximus Bold" panose="00000500000000000000" pitchFamily="2" charset="0"/>
                <a:ea typeface="Aptos" panose="020B0004020202020204" pitchFamily="34" charset="0"/>
                <a:cs typeface="Arial" panose="020B0604020202020204" pitchFamily="34" charset="0"/>
              </a:rPr>
              <a:t>GEERT [MIX NL &amp; FR]</a:t>
            </a:r>
          </a:p>
          <a:p>
            <a:pPr>
              <a:lnSpc>
                <a:spcPct val="107000"/>
              </a:lnSpc>
              <a:spcAft>
                <a:spcPts val="800"/>
              </a:spcAft>
            </a:pP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NL) We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zull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uitdagende</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contex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werken</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jaar</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Di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komt</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door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enkele</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externe, maar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ook</a:t>
            </a: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 interne </a:t>
            </a:r>
            <a:r>
              <a:rPr lang="en-US" sz="1100" u="none" kern="100" err="1">
                <a:solidFill>
                  <a:schemeClr val="accent6"/>
                </a:solidFill>
                <a:effectLst/>
                <a:latin typeface="Proximus" panose="00000500000000000000" pitchFamily="2" charset="0"/>
                <a:ea typeface="Aptos" panose="020B0004020202020204" pitchFamily="34" charset="0"/>
                <a:cs typeface="Arial" panose="020B0604020202020204" pitchFamily="34" charset="0"/>
              </a:rPr>
              <a:t>veranderingen</a:t>
            </a:r>
            <a:endPar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endParaRPr>
          </a:p>
          <a:p>
            <a:pPr>
              <a:lnSpc>
                <a:spcPct val="107000"/>
              </a:lnSpc>
              <a:spcAft>
                <a:spcPts val="800"/>
              </a:spcAft>
            </a:pPr>
            <a:r>
              <a:rPr lang="en-US" sz="1100" u="none" kern="100">
                <a:solidFill>
                  <a:schemeClr val="accent6"/>
                </a:solidFill>
                <a:effectLst/>
                <a:latin typeface="Proximus" panose="00000500000000000000" pitchFamily="2" charset="0"/>
                <a:ea typeface="Aptos" panose="020B0004020202020204" pitchFamily="34" charset="0"/>
                <a:cs typeface="Arial" panose="020B0604020202020204" pitchFamily="34" charset="0"/>
              </a:rPr>
              <a:t>External</a:t>
            </a:r>
          </a:p>
          <a:p>
            <a:pPr marL="171450" indent="-171450">
              <a:lnSpc>
                <a:spcPct val="107000"/>
              </a:lnSpc>
              <a:spcAft>
                <a:spcPts val="800"/>
              </a:spcAft>
              <a:buFont typeface="Arial" panose="020B0604020202020204" pitchFamily="34" charset="0"/>
              <a:buChar char="•"/>
            </a:pPr>
            <a:r>
              <a:rPr lang="en-US" sz="1100" b="1">
                <a:solidFill>
                  <a:schemeClr val="accent6"/>
                </a:solidFill>
                <a:latin typeface="Proximus Bold" panose="00000500000000000000" pitchFamily="2" charset="0"/>
              </a:rPr>
              <a:t>Competition</a:t>
            </a:r>
            <a:r>
              <a:rPr lang="en-US" sz="1100">
                <a:solidFill>
                  <a:schemeClr val="accent6"/>
                </a:solidFill>
                <a:latin typeface="Proximus" panose="00000500000000000000" pitchFamily="2" charset="0"/>
              </a:rPr>
              <a:t>: DIGI </a:t>
            </a:r>
            <a:r>
              <a:rPr lang="en-US" sz="1100" err="1">
                <a:solidFill>
                  <a:schemeClr val="accent6"/>
                </a:solidFill>
                <a:latin typeface="Proximus" panose="00000500000000000000" pitchFamily="2" charset="0"/>
              </a:rPr>
              <a:t>heeft</a:t>
            </a:r>
            <a:r>
              <a:rPr lang="en-US" sz="1100">
                <a:solidFill>
                  <a:schemeClr val="accent6"/>
                </a:solidFill>
                <a:latin typeface="Proximus" panose="00000500000000000000" pitchFamily="2" charset="0"/>
              </a:rPr>
              <a:t> de </a:t>
            </a:r>
            <a:r>
              <a:rPr lang="en-US" sz="1100" err="1">
                <a:solidFill>
                  <a:schemeClr val="accent6"/>
                </a:solidFill>
                <a:latin typeface="Proximus" panose="00000500000000000000" pitchFamily="2" charset="0"/>
              </a:rPr>
              <a:t>mark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tred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ie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kel</a:t>
            </a:r>
            <a:r>
              <a:rPr lang="en-US" sz="1100">
                <a:solidFill>
                  <a:schemeClr val="accent6"/>
                </a:solidFill>
                <a:latin typeface="Proximus" panose="00000500000000000000" pitchFamily="2" charset="0"/>
              </a:rPr>
              <a:t> met </a:t>
            </a:r>
            <a:r>
              <a:rPr lang="en-US" sz="1100" err="1">
                <a:solidFill>
                  <a:schemeClr val="accent6"/>
                </a:solidFill>
                <a:latin typeface="Proximus" panose="00000500000000000000" pitchFamily="2" charset="0"/>
              </a:rPr>
              <a:t>lag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rijzen</a:t>
            </a:r>
            <a:r>
              <a:rPr lang="en-US" sz="1100">
                <a:solidFill>
                  <a:schemeClr val="accent6"/>
                </a:solidFill>
                <a:latin typeface="Proximus" panose="00000500000000000000" pitchFamily="2" charset="0"/>
              </a:rPr>
              <a:t> op </a:t>
            </a:r>
            <a:r>
              <a:rPr lang="en-US" sz="1100" err="1">
                <a:solidFill>
                  <a:schemeClr val="accent6"/>
                </a:solidFill>
                <a:latin typeface="Proximus" panose="00000500000000000000" pitchFamily="2" charset="0"/>
              </a:rPr>
              <a:t>mobiel</a:t>
            </a:r>
            <a:r>
              <a:rPr lang="en-US" sz="1100">
                <a:solidFill>
                  <a:schemeClr val="accent6"/>
                </a:solidFill>
                <a:latin typeface="Proximus" panose="00000500000000000000" pitchFamily="2" charset="0"/>
              </a:rPr>
              <a:t>, maar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me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nder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anier</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uitrollen</a:t>
            </a:r>
            <a:r>
              <a:rPr lang="en-US" sz="1100">
                <a:solidFill>
                  <a:schemeClr val="accent6"/>
                </a:solidFill>
                <a:latin typeface="Proximus" panose="00000500000000000000" pitchFamily="2" charset="0"/>
              </a:rPr>
              <a:t> van Fiber. We </a:t>
            </a:r>
            <a:r>
              <a:rPr lang="en-US" sz="1100" err="1">
                <a:solidFill>
                  <a:schemeClr val="accent6"/>
                </a:solidFill>
                <a:latin typeface="Proximus" panose="00000500000000000000" pitchFamily="2" charset="0"/>
              </a:rPr>
              <a:t>g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oe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r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or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at</a:t>
            </a:r>
            <a:r>
              <a:rPr lang="en-US" sz="1100">
                <a:solidFill>
                  <a:schemeClr val="accent6"/>
                </a:solidFill>
                <a:latin typeface="Proximus" panose="00000500000000000000" pitchFamily="2" charset="0"/>
              </a:rPr>
              <a:t> we de </a:t>
            </a:r>
            <a:r>
              <a:rPr lang="en-US" sz="1100" err="1">
                <a:solidFill>
                  <a:schemeClr val="accent6"/>
                </a:solidFill>
                <a:latin typeface="Proximus" panose="00000500000000000000" pitchFamily="2" charset="0"/>
              </a:rPr>
              <a:t>politie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ewustmaken</a:t>
            </a:r>
            <a:r>
              <a:rPr lang="en-US" sz="1100">
                <a:solidFill>
                  <a:schemeClr val="accent6"/>
                </a:solidFill>
                <a:latin typeface="Proximus" panose="00000500000000000000" pitchFamily="2" charset="0"/>
              </a:rPr>
              <a:t> van de </a:t>
            </a:r>
            <a:r>
              <a:rPr lang="en-US" sz="1100" err="1">
                <a:solidFill>
                  <a:schemeClr val="accent6"/>
                </a:solidFill>
                <a:latin typeface="Proximus" panose="00000500000000000000" pitchFamily="2" charset="0"/>
              </a:rPr>
              <a:t>mogelijk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consequenties</a:t>
            </a:r>
            <a:r>
              <a:rPr lang="en-US" sz="1100">
                <a:solidFill>
                  <a:schemeClr val="accent6"/>
                </a:solidFill>
                <a:latin typeface="Proximus" panose="00000500000000000000" pitchFamily="2" charset="0"/>
              </a:rPr>
              <a:t>, maar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gelijkertij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oe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adenken</a:t>
            </a:r>
            <a:r>
              <a:rPr lang="en-US" sz="1100">
                <a:solidFill>
                  <a:schemeClr val="accent6"/>
                </a:solidFill>
                <a:latin typeface="Proximus" panose="00000500000000000000" pitchFamily="2" charset="0"/>
              </a:rPr>
              <a:t> over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kosten</a:t>
            </a:r>
            <a:r>
              <a:rPr lang="en-US" sz="1100">
                <a:solidFill>
                  <a:schemeClr val="accent6"/>
                </a:solidFill>
                <a:latin typeface="Proximus" panose="00000500000000000000" pitchFamily="2" charset="0"/>
              </a:rPr>
              <a:t>-model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anieren</a:t>
            </a:r>
            <a:r>
              <a:rPr lang="en-US" sz="1100">
                <a:solidFill>
                  <a:schemeClr val="accent6"/>
                </a:solidFill>
                <a:latin typeface="Proximus" panose="00000500000000000000" pitchFamily="2" charset="0"/>
              </a:rPr>
              <a:t> om </a:t>
            </a:r>
            <a:r>
              <a:rPr lang="en-US" sz="1100" err="1">
                <a:solidFill>
                  <a:schemeClr val="accent6"/>
                </a:solidFill>
                <a:latin typeface="Proximus" panose="00000500000000000000" pitchFamily="2" charset="0"/>
              </a:rPr>
              <a:t>onze</a:t>
            </a:r>
            <a:r>
              <a:rPr lang="en-US" sz="1100">
                <a:solidFill>
                  <a:schemeClr val="accent6"/>
                </a:solidFill>
                <a:latin typeface="Proximus" panose="00000500000000000000" pitchFamily="2" charset="0"/>
              </a:rPr>
              <a:t> eigen </a:t>
            </a:r>
            <a:r>
              <a:rPr lang="en-US" sz="1100" err="1">
                <a:solidFill>
                  <a:schemeClr val="accent6"/>
                </a:solidFill>
                <a:latin typeface="Proximus" panose="00000500000000000000" pitchFamily="2" charset="0"/>
              </a:rPr>
              <a:t>manier</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uitro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eruitvinden</a:t>
            </a:r>
            <a:r>
              <a:rPr lang="en-US" sz="1100">
                <a:solidFill>
                  <a:schemeClr val="accent6"/>
                </a:solidFill>
                <a:latin typeface="Proximus" panose="00000500000000000000" pitchFamily="2" charset="0"/>
              </a:rPr>
              <a:t>.</a:t>
            </a:r>
          </a:p>
          <a:p>
            <a:pPr marL="171450" marR="0" lvl="0" indent="-171450" algn="l" defTabSz="41148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100" b="1">
                <a:solidFill>
                  <a:schemeClr val="accent6"/>
                </a:solidFill>
                <a:latin typeface="Proximus Bold" panose="00000500000000000000" pitchFamily="2" charset="0"/>
              </a:rPr>
              <a:t>Collaboratio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gelijkertijd</a:t>
            </a:r>
            <a:r>
              <a:rPr lang="en-US" sz="1100">
                <a:solidFill>
                  <a:schemeClr val="accent6"/>
                </a:solidFill>
                <a:latin typeface="Proximus" panose="00000500000000000000" pitchFamily="2" charset="0"/>
              </a:rPr>
              <a:t> is er </a:t>
            </a:r>
            <a:r>
              <a:rPr lang="en-US" sz="1100" err="1">
                <a:solidFill>
                  <a:schemeClr val="accent6"/>
                </a:solidFill>
                <a:latin typeface="Proximus" panose="00000500000000000000" pitchFamily="2" charset="0"/>
              </a:rPr>
              <a:t>natuurlij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og</a:t>
            </a:r>
            <a:r>
              <a:rPr lang="en-US" sz="1100">
                <a:solidFill>
                  <a:schemeClr val="accent6"/>
                </a:solidFill>
                <a:latin typeface="Proximus" panose="00000500000000000000" pitchFamily="2" charset="0"/>
              </a:rPr>
              <a:t> steeds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rote</a:t>
            </a:r>
            <a:r>
              <a:rPr lang="en-US" sz="1100">
                <a:solidFill>
                  <a:schemeClr val="accent6"/>
                </a:solidFill>
                <a:latin typeface="Proximus" panose="00000500000000000000" pitchFamily="2" charset="0"/>
              </a:rPr>
              <a:t> focus </a:t>
            </a:r>
            <a:r>
              <a:rPr lang="en-US" sz="1100" err="1">
                <a:solidFill>
                  <a:schemeClr val="accent6"/>
                </a:solidFill>
                <a:latin typeface="Proximus" panose="00000500000000000000" pitchFamily="2" charset="0"/>
              </a:rPr>
              <a:t>nodig</a:t>
            </a:r>
            <a:r>
              <a:rPr lang="en-US" sz="1100">
                <a:solidFill>
                  <a:schemeClr val="accent6"/>
                </a:solidFill>
                <a:latin typeface="Proximus" panose="00000500000000000000" pitchFamily="2" charset="0"/>
              </a:rPr>
              <a:t> op </a:t>
            </a:r>
            <a:r>
              <a:rPr lang="en-US" sz="1100" err="1">
                <a:solidFill>
                  <a:schemeClr val="accent6"/>
                </a:solidFill>
                <a:latin typeface="Proximus" panose="00000500000000000000" pitchFamily="2" charset="0"/>
              </a:rPr>
              <a:t>onz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egotiatie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bereidin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otentiel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amenwerkingen</a:t>
            </a:r>
            <a:r>
              <a:rPr lang="en-US" sz="1100">
                <a:solidFill>
                  <a:schemeClr val="accent6"/>
                </a:solidFill>
                <a:latin typeface="Proximus" panose="00000500000000000000" pitchFamily="2" charset="0"/>
              </a:rPr>
              <a:t> met </a:t>
            </a:r>
            <a:r>
              <a:rPr lang="en-US" sz="1100" err="1">
                <a:solidFill>
                  <a:schemeClr val="accent6"/>
                </a:solidFill>
                <a:latin typeface="Proximus" panose="00000500000000000000" pitchFamily="2" charset="0"/>
              </a:rPr>
              <a:t>ander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peratoren</a:t>
            </a:r>
            <a:r>
              <a:rPr lang="en-US" sz="1100">
                <a:solidFill>
                  <a:schemeClr val="accent6"/>
                </a:solidFill>
                <a:latin typeface="Proximus" panose="00000500000000000000" pitchFamily="2" charset="0"/>
              </a:rPr>
              <a:t> in de </a:t>
            </a:r>
            <a:r>
              <a:rPr lang="en-US" sz="1100" err="1">
                <a:solidFill>
                  <a:schemeClr val="accent6"/>
                </a:solidFill>
                <a:latin typeface="Proximus" panose="00000500000000000000" pitchFamily="2" charset="0"/>
              </a:rPr>
              <a:t>toekoms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blijf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crucia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mdat</a:t>
            </a:r>
            <a:r>
              <a:rPr lang="en-US" sz="1100">
                <a:solidFill>
                  <a:schemeClr val="accent6"/>
                </a:solidFill>
                <a:latin typeface="Proximus" panose="00000500000000000000" pitchFamily="2" charset="0"/>
              </a:rPr>
              <a:t> het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oel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sneller</a:t>
            </a:r>
            <a:r>
              <a:rPr lang="en-US" sz="1100">
                <a:solidFill>
                  <a:schemeClr val="accent6"/>
                </a:solidFill>
                <a:latin typeface="Proximus" panose="00000500000000000000" pitchFamily="2" charset="0"/>
              </a:rPr>
              <a:t> fiber </a:t>
            </a:r>
            <a:r>
              <a:rPr lang="en-US" sz="1100" err="1">
                <a:solidFill>
                  <a:schemeClr val="accent6"/>
                </a:solidFill>
                <a:latin typeface="Proximus" panose="00000500000000000000" pitchFamily="2" charset="0"/>
              </a:rPr>
              <a:t>t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uitroll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tot </a:t>
            </a:r>
            <a:r>
              <a:rPr lang="en-US" sz="1100" err="1">
                <a:solidFill>
                  <a:schemeClr val="accent6"/>
                </a:solidFill>
                <a:latin typeface="Proximus" panose="00000500000000000000" pitchFamily="2" charset="0"/>
              </a:rPr>
              <a:t>dieper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uithoeken</a:t>
            </a:r>
            <a:r>
              <a:rPr lang="en-US" sz="1100">
                <a:solidFill>
                  <a:schemeClr val="accent6"/>
                </a:solidFill>
                <a:latin typeface="Proximus" panose="00000500000000000000" pitchFamily="2" charset="0"/>
              </a:rPr>
              <a:t> van het land.</a:t>
            </a:r>
          </a:p>
          <a:p>
            <a:pPr marL="171450" marR="0" lvl="0" indent="-171450" algn="l" defTabSz="41148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100" b="1">
                <a:solidFill>
                  <a:schemeClr val="accent6"/>
                </a:solidFill>
                <a:latin typeface="Proximus Bold" panose="00000500000000000000" pitchFamily="2" charset="0"/>
              </a:rPr>
              <a:t>Coax</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hieraa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gerelateer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ullen</a:t>
            </a:r>
            <a:r>
              <a:rPr lang="en-US" sz="1100">
                <a:solidFill>
                  <a:schemeClr val="accent6"/>
                </a:solidFill>
                <a:latin typeface="Proximus" panose="00000500000000000000" pitchFamily="2" charset="0"/>
              </a:rPr>
              <a:t> we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moe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bereiden</a:t>
            </a:r>
            <a:r>
              <a:rPr lang="en-US" sz="1100">
                <a:solidFill>
                  <a:schemeClr val="accent6"/>
                </a:solidFill>
                <a:latin typeface="Proximus" panose="00000500000000000000" pitchFamily="2" charset="0"/>
              </a:rPr>
              <a:t> op de </a:t>
            </a:r>
            <a:r>
              <a:rPr lang="en-US" sz="1100" err="1">
                <a:solidFill>
                  <a:schemeClr val="accent6"/>
                </a:solidFill>
                <a:latin typeface="Proximus" panose="00000500000000000000" pitchFamily="2" charset="0"/>
              </a:rPr>
              <a:t>komst</a:t>
            </a:r>
            <a:r>
              <a:rPr lang="en-US" sz="1100">
                <a:solidFill>
                  <a:schemeClr val="accent6"/>
                </a:solidFill>
                <a:latin typeface="Proximus" panose="00000500000000000000" pitchFamily="2" charset="0"/>
              </a:rPr>
              <a:t> van Coax. </a:t>
            </a:r>
            <a:r>
              <a:rPr lang="en-US" sz="1100" err="1">
                <a:solidFill>
                  <a:schemeClr val="accent6"/>
                </a:solidFill>
                <a:latin typeface="Proximus" panose="00000500000000000000" pitchFamily="2" charset="0"/>
              </a:rPr>
              <a:t>Dit</a:t>
            </a:r>
            <a:r>
              <a:rPr lang="en-US" sz="1100">
                <a:solidFill>
                  <a:schemeClr val="accent6"/>
                </a:solidFill>
                <a:latin typeface="Proximus" panose="00000500000000000000" pitchFamily="2" charset="0"/>
              </a:rPr>
              <a:t> is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ota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nieuw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technologie</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oor</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die </a:t>
            </a:r>
            <a:r>
              <a:rPr lang="en-US" sz="1100" err="1">
                <a:solidFill>
                  <a:schemeClr val="accent6"/>
                </a:solidFill>
                <a:latin typeface="Proximus" panose="00000500000000000000" pitchFamily="2" charset="0"/>
              </a:rPr>
              <a:t>nieuwe</a:t>
            </a:r>
            <a:r>
              <a:rPr lang="en-US" sz="1100">
                <a:solidFill>
                  <a:schemeClr val="accent6"/>
                </a:solidFill>
                <a:latin typeface="Proximus" panose="00000500000000000000" pitchFamily="2" charset="0"/>
              </a:rPr>
              <a:t> type van </a:t>
            </a:r>
            <a:r>
              <a:rPr lang="en-US" sz="1100" err="1">
                <a:solidFill>
                  <a:schemeClr val="accent6"/>
                </a:solidFill>
                <a:latin typeface="Proximus" panose="00000500000000000000" pitchFamily="2" charset="0"/>
              </a:rPr>
              <a:t>oplossingen</a:t>
            </a:r>
            <a:r>
              <a:rPr lang="en-US" sz="1100">
                <a:solidFill>
                  <a:schemeClr val="accent6"/>
                </a:solidFill>
                <a:latin typeface="Proximus" panose="00000500000000000000" pitchFamily="2" charset="0"/>
              </a:rPr>
              <a:t>, IT </a:t>
            </a:r>
            <a:r>
              <a:rPr lang="en-US" sz="1100" err="1">
                <a:solidFill>
                  <a:schemeClr val="accent6"/>
                </a:solidFill>
                <a:latin typeface="Proximus" panose="00000500000000000000" pitchFamily="2" charset="0"/>
              </a:rPr>
              <a:t>ontwikkeling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process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ereisen</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n</a:t>
            </a:r>
            <a:r>
              <a:rPr lang="en-US" sz="1100">
                <a:solidFill>
                  <a:schemeClr val="accent6"/>
                </a:solidFill>
                <a:latin typeface="Proximus" panose="00000500000000000000" pitchFamily="2" charset="0"/>
              </a:rPr>
              <a:t> die </a:t>
            </a:r>
            <a:r>
              <a:rPr lang="en-US" sz="1100" err="1">
                <a:solidFill>
                  <a:schemeClr val="accent6"/>
                </a:solidFill>
                <a:latin typeface="Proximus" panose="00000500000000000000" pitchFamily="2" charset="0"/>
              </a:rPr>
              <a:t>tegelijkertijd</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ook</a:t>
            </a:r>
            <a:r>
              <a:rPr lang="en-US" sz="1100">
                <a:solidFill>
                  <a:schemeClr val="accent6"/>
                </a:solidFill>
                <a:latin typeface="Proximus" panose="00000500000000000000" pitchFamily="2" charset="0"/>
              </a:rPr>
              <a:t> van </a:t>
            </a:r>
            <a:r>
              <a:rPr lang="en-US" sz="1100" err="1">
                <a:solidFill>
                  <a:schemeClr val="accent6"/>
                </a:solidFill>
                <a:latin typeface="Proximus" panose="00000500000000000000" pitchFamily="2" charset="0"/>
              </a:rPr>
              <a:t>ons</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allema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een</a:t>
            </a:r>
            <a:r>
              <a:rPr lang="en-US" sz="1100">
                <a:solidFill>
                  <a:schemeClr val="accent6"/>
                </a:solidFill>
                <a:latin typeface="Proximus" panose="00000500000000000000" pitchFamily="2" charset="0"/>
              </a:rPr>
              <a:t> shift in mindset </a:t>
            </a:r>
            <a:r>
              <a:rPr lang="en-US" sz="1100" err="1">
                <a:solidFill>
                  <a:schemeClr val="accent6"/>
                </a:solidFill>
                <a:latin typeface="Proximus" panose="00000500000000000000" pitchFamily="2" charset="0"/>
              </a:rPr>
              <a:t>zal</a:t>
            </a:r>
            <a:r>
              <a:rPr lang="en-US" sz="1100">
                <a:solidFill>
                  <a:schemeClr val="accent6"/>
                </a:solidFill>
                <a:latin typeface="Proximus" panose="00000500000000000000" pitchFamily="2" charset="0"/>
              </a:rPr>
              <a:t> </a:t>
            </a:r>
            <a:r>
              <a:rPr lang="en-US" sz="1100" err="1">
                <a:solidFill>
                  <a:schemeClr val="accent6"/>
                </a:solidFill>
                <a:latin typeface="Proximus" panose="00000500000000000000" pitchFamily="2" charset="0"/>
              </a:rPr>
              <a:t>vereisen</a:t>
            </a:r>
            <a:endParaRPr lang="en-US" sz="1100">
              <a:solidFill>
                <a:schemeClr val="accent6"/>
              </a:solidFill>
              <a:latin typeface="Proximus" panose="00000500000000000000" pitchFamily="2" charset="0"/>
            </a:endParaRPr>
          </a:p>
          <a:p>
            <a:pPr marL="0" marR="0" lvl="0" indent="0" algn="l" defTabSz="41148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100">
                <a:solidFill>
                  <a:schemeClr val="accent6"/>
                </a:solidFill>
                <a:latin typeface="Proximus" panose="00000500000000000000" pitchFamily="2" charset="0"/>
              </a:rPr>
              <a:t>(FR)</a:t>
            </a:r>
          </a:p>
          <a:p>
            <a:pPr marL="0" marR="0" lvl="0" indent="0" algn="l" defTabSz="41148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100" b="1">
                <a:solidFill>
                  <a:schemeClr val="accent6"/>
                </a:solidFill>
                <a:latin typeface="Proximus Bold" panose="00000500000000000000" pitchFamily="2" charset="0"/>
              </a:rPr>
              <a:t>INTERNE</a:t>
            </a:r>
          </a:p>
          <a:p>
            <a:pPr marL="457200" indent="-457200" algn="l">
              <a:buFont typeface="Arial" panose="020B0604020202020204" pitchFamily="34" charset="0"/>
              <a:buChar char="•"/>
            </a:pPr>
            <a:r>
              <a:rPr lang="fr-BE" sz="1100" b="1" i="0">
                <a:solidFill>
                  <a:schemeClr val="accent6"/>
                </a:solidFill>
                <a:effectLst/>
                <a:latin typeface="Proximus Bold" panose="00000500000000000000" pitchFamily="2" charset="0"/>
              </a:rPr>
              <a:t>Gouvernance :</a:t>
            </a:r>
            <a:r>
              <a:rPr lang="fr-BE" sz="1100" b="0" i="0">
                <a:solidFill>
                  <a:schemeClr val="accent6"/>
                </a:solidFill>
                <a:effectLst/>
                <a:latin typeface="Proximus" panose="00000500000000000000" pitchFamily="2" charset="0"/>
              </a:rPr>
              <a:t> En 2025, nous aurons un nouveau président du conseil d'administration (Stefaan De </a:t>
            </a:r>
            <a:r>
              <a:rPr lang="fr-BE" sz="1100" b="0" i="0" err="1">
                <a:solidFill>
                  <a:schemeClr val="accent6"/>
                </a:solidFill>
                <a:effectLst/>
                <a:latin typeface="Proximus" panose="00000500000000000000" pitchFamily="2" charset="0"/>
              </a:rPr>
              <a:t>Clercq</a:t>
            </a:r>
            <a:r>
              <a:rPr lang="fr-BE" sz="1100" b="0" i="0">
                <a:solidFill>
                  <a:schemeClr val="accent6"/>
                </a:solidFill>
                <a:effectLst/>
                <a:latin typeface="Proximus" panose="00000500000000000000" pitchFamily="2" charset="0"/>
              </a:rPr>
              <a:t> prendra sa retraite), nous aurons un nouveau ministre des Télécommunications, et nous avons un nouveau gouvernement fédéral. De plus, c'est la dernière année de BOLD 2025, ce qui signifie qu'après INSPIRE &amp; BOLD, nous préparons notre nouvelle stratégie à long terme d'ici la fin de l'année.</a:t>
            </a:r>
          </a:p>
          <a:p>
            <a:pPr marL="457200" indent="-457200" algn="l">
              <a:buFont typeface="Arial" panose="020B0604020202020204" pitchFamily="34" charset="0"/>
              <a:buChar char="•"/>
            </a:pPr>
            <a:r>
              <a:rPr lang="fr-BE" sz="1100" b="1" i="0">
                <a:solidFill>
                  <a:schemeClr val="accent6"/>
                </a:solidFill>
                <a:effectLst/>
                <a:latin typeface="Proximus Bold" panose="00000500000000000000" pitchFamily="2" charset="0"/>
              </a:rPr>
              <a:t>Fiberklaar :</a:t>
            </a:r>
            <a:r>
              <a:rPr lang="fr-BE" sz="1100" b="0" i="0">
                <a:solidFill>
                  <a:schemeClr val="accent6"/>
                </a:solidFill>
                <a:effectLst/>
                <a:latin typeface="Proximus" panose="00000500000000000000" pitchFamily="2" charset="0"/>
              </a:rPr>
              <a:t> En 2024, nous avons racheté EQT et nous alignons maintenant le mode de fonctionnement de Fiberklaar avec le nôtre. Cela signifie que nous effectuons quelques changements dans le modèle opérationnel tout en réalisant des synergies opérationnelles (vous avez peut-être vu mon e-mail sur l'annonce que nous avons faite chez FK), tout cela alors que FK devient, pour la première fois de son histoire, notre principal moteur de déploiement.</a:t>
            </a:r>
          </a:p>
          <a:p>
            <a:pPr marL="457200" indent="-457200" algn="l">
              <a:buFont typeface="Arial" panose="020B0604020202020204" pitchFamily="34" charset="0"/>
              <a:buChar char="•"/>
            </a:pPr>
            <a:r>
              <a:rPr lang="fr-BE" sz="1100" b="1" i="0">
                <a:solidFill>
                  <a:schemeClr val="accent6"/>
                </a:solidFill>
                <a:effectLst/>
                <a:latin typeface="Proximus Bold" panose="00000500000000000000" pitchFamily="2" charset="0"/>
              </a:rPr>
              <a:t>International :</a:t>
            </a:r>
            <a:r>
              <a:rPr lang="fr-BE" sz="1100" b="0" i="0">
                <a:solidFill>
                  <a:schemeClr val="accent6"/>
                </a:solidFill>
                <a:effectLst/>
                <a:latin typeface="Proximus" panose="00000500000000000000" pitchFamily="2" charset="0"/>
              </a:rPr>
              <a:t> Proximus devra intégrer une entreprise américaine (</a:t>
            </a:r>
            <a:r>
              <a:rPr lang="fr-BE" sz="1100" b="0" i="0" err="1">
                <a:solidFill>
                  <a:schemeClr val="accent6"/>
                </a:solidFill>
                <a:effectLst/>
                <a:latin typeface="Proximus" panose="00000500000000000000" pitchFamily="2" charset="0"/>
              </a:rPr>
              <a:t>Telesign</a:t>
            </a:r>
            <a:r>
              <a:rPr lang="fr-BE" sz="1100" b="0" i="0">
                <a:solidFill>
                  <a:schemeClr val="accent6"/>
                </a:solidFill>
                <a:effectLst/>
                <a:latin typeface="Proximus" panose="00000500000000000000" pitchFamily="2" charset="0"/>
              </a:rPr>
              <a:t>), indienne (</a:t>
            </a:r>
            <a:r>
              <a:rPr lang="fr-BE" sz="1100" b="0" i="0" err="1">
                <a:solidFill>
                  <a:schemeClr val="accent6"/>
                </a:solidFill>
                <a:effectLst/>
                <a:latin typeface="Proximus" panose="00000500000000000000" pitchFamily="2" charset="0"/>
              </a:rPr>
              <a:t>RouteMobile</a:t>
            </a:r>
            <a:r>
              <a:rPr lang="fr-BE" sz="1100" b="0" i="0">
                <a:solidFill>
                  <a:schemeClr val="accent6"/>
                </a:solidFill>
                <a:effectLst/>
                <a:latin typeface="Proximus" panose="00000500000000000000" pitchFamily="2" charset="0"/>
              </a:rPr>
              <a:t>) et européenne (BICS) en une seule organisation. Cela créera des synergies (moins liées à NBU) , mais la transformation sera un défi pour Proximus en tant qu'entreprise.</a:t>
            </a:r>
          </a:p>
          <a:p>
            <a:endParaRPr lang="fr-BE" sz="1100">
              <a:solidFill>
                <a:schemeClr val="accent6"/>
              </a:solidFill>
              <a:latin typeface="Proximus" panose="00000500000000000000" pitchFamily="2" charset="0"/>
            </a:endParaRPr>
          </a:p>
          <a:p>
            <a:endParaRPr lang="en-BE">
              <a:solidFill>
                <a:schemeClr val="accent6"/>
              </a:solidFill>
            </a:endParaRPr>
          </a:p>
        </p:txBody>
      </p:sp>
      <p:sp>
        <p:nvSpPr>
          <p:cNvPr id="4" name="Slide Number Placeholder 3">
            <a:extLst>
              <a:ext uri="{FF2B5EF4-FFF2-40B4-BE49-F238E27FC236}">
                <a16:creationId xmlns:a16="http://schemas.microsoft.com/office/drawing/2014/main" id="{624976EB-F801-E66B-B3E5-A33F3A93045C}"/>
              </a:ext>
            </a:extLst>
          </p:cNvPr>
          <p:cNvSpPr>
            <a:spLocks noGrp="1"/>
          </p:cNvSpPr>
          <p:nvPr>
            <p:ph type="sldNum" sz="quarter" idx="5"/>
          </p:nvPr>
        </p:nvSpPr>
        <p:spPr/>
        <p:txBody>
          <a:bodyPr/>
          <a:lstStyle/>
          <a:p>
            <a:fld id="{FA918F22-1231-AB43-96E7-2B8B890DCD5E}" type="slidenum">
              <a:rPr lang="en-US" smtClean="0"/>
              <a:pPr/>
              <a:t>9</a:t>
            </a:fld>
            <a:endParaRPr lang="en-US"/>
          </a:p>
        </p:txBody>
      </p:sp>
    </p:spTree>
    <p:extLst>
      <p:ext uri="{BB962C8B-B14F-4D97-AF65-F5344CB8AC3E}">
        <p14:creationId xmlns:p14="http://schemas.microsoft.com/office/powerpoint/2010/main" val="224285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Gradient">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0375" y="378000"/>
            <a:ext cx="8221663" cy="1311300"/>
          </a:xfrm>
        </p:spPr>
        <p:txBody>
          <a:bodyPr anchor="b">
            <a:noAutofit/>
          </a:bodyPr>
          <a:lstStyle>
            <a:lvl1pPr>
              <a:defRPr sz="42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460375" y="1968649"/>
            <a:ext cx="8221663" cy="1001806"/>
          </a:xfrm>
        </p:spPr>
        <p:txBody>
          <a:bodyPr/>
          <a:lstStyle>
            <a:lvl1pPr marL="0" indent="0" algn="l">
              <a:lnSpc>
                <a:spcPct val="100000"/>
              </a:lnSpc>
              <a:buNone/>
              <a:defRPr sz="26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pic>
        <p:nvPicPr>
          <p:cNvPr id="5" name="Graphic 4">
            <a:extLst>
              <a:ext uri="{FF2B5EF4-FFF2-40B4-BE49-F238E27FC236}">
                <a16:creationId xmlns:a16="http://schemas.microsoft.com/office/drawing/2014/main" id="{FDB73C8E-6ED7-46A1-909B-13EF4FD2AE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460375" y="4320114"/>
            <a:ext cx="1545007" cy="375711"/>
          </a:xfrm>
          <a:prstGeom prst="roundRect">
            <a:avLst>
              <a:gd name="adj" fmla="val 50000"/>
            </a:avLst>
          </a:prstGeom>
          <a:solidFill>
            <a:schemeClr val="tx1"/>
          </a:solidFill>
        </p:spPr>
        <p:txBody>
          <a:bodyPr vert="horz" wrap="none" lIns="72000" tIns="36000" rIns="72000" bIns="36000" rtlCol="0" anchor="ctr">
            <a:spAutoFit/>
          </a:bodyPr>
          <a:lstStyle>
            <a:lvl1pPr algn="l">
              <a:defRPr sz="1200">
                <a:solidFill>
                  <a:schemeClr val="bg1"/>
                </a:solidFill>
              </a:defRPr>
            </a:lvl1pPr>
          </a:lstStyle>
          <a:p>
            <a:endParaRPr lang="en-US"/>
          </a:p>
        </p:txBody>
      </p:sp>
    </p:spTree>
    <p:extLst>
      <p:ext uri="{BB962C8B-B14F-4D97-AF65-F5344CB8AC3E}">
        <p14:creationId xmlns:p14="http://schemas.microsoft.com/office/powerpoint/2010/main" val="29647312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3">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10C2C515-BD5B-1EA9-81D6-9F705E41FA66}"/>
              </a:ext>
            </a:extLst>
          </p:cNvPr>
          <p:cNvPicPr>
            <a:picLocks noChangeAspect="1"/>
          </p:cNvPicPr>
          <p:nvPr userDrawn="1"/>
        </p:nvPicPr>
        <p:blipFill rotWithShape="1">
          <a:blip r:embed="rId2"/>
          <a:srcRect r="22682" b="27634"/>
          <a:stretch/>
        </p:blipFill>
        <p:spPr>
          <a:xfrm>
            <a:off x="5470765" y="257929"/>
            <a:ext cx="3673235" cy="4885572"/>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4" y="2298257"/>
            <a:ext cx="4636557"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4636558"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4220122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4">
    <p:bg>
      <p:bgPr>
        <a:gradFill>
          <a:gsLst>
            <a:gs pos="25000">
              <a:schemeClr val="bg1"/>
            </a:gs>
            <a:gs pos="100000">
              <a:srgbClr val="EAC883"/>
            </a:gs>
          </a:gsLst>
          <a:lin ang="3000000" scaled="0"/>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22754B0-B2D7-9557-F5B0-DF92C09F740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9478" b="16358"/>
          <a:stretch/>
        </p:blipFill>
        <p:spPr>
          <a:xfrm>
            <a:off x="4629151" y="557210"/>
            <a:ext cx="4514849" cy="4586290"/>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3863976"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3863975"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1913999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5">
    <p:bg>
      <p:bgPr>
        <a:gradFill>
          <a:gsLst>
            <a:gs pos="25000">
              <a:schemeClr val="bg1"/>
            </a:gs>
            <a:gs pos="100000">
              <a:schemeClr val="accent4"/>
            </a:gs>
          </a:gsLst>
          <a:lin ang="3000000" scaled="0"/>
        </a:gra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8FB6E1E-547D-C7F4-1A82-6164989D32F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37812" b="34002"/>
          <a:stretch/>
        </p:blipFill>
        <p:spPr>
          <a:xfrm>
            <a:off x="2599265" y="1252069"/>
            <a:ext cx="6544735" cy="3891431"/>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2325158" cy="1660703"/>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9413"/>
            <a:ext cx="5288491"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705788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6">
    <p:bg>
      <p:bgPr>
        <a:gradFill>
          <a:gsLst>
            <a:gs pos="25000">
              <a:schemeClr val="bg1"/>
            </a:gs>
            <a:gs pos="100000">
              <a:schemeClr val="accent5"/>
            </a:gs>
          </a:gsLst>
          <a:lin ang="3000000" scaled="0"/>
        </a:gra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8378EB-DAE3-4981-AF59-0C39556517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8768" b="5820"/>
          <a:stretch/>
        </p:blipFill>
        <p:spPr>
          <a:xfrm>
            <a:off x="2285122" y="1846800"/>
            <a:ext cx="6858878" cy="3296699"/>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6800"/>
            <a:ext cx="3286125" cy="1660703"/>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9412"/>
            <a:ext cx="8220075" cy="1209600"/>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3856772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chapter - White">
    <p:bg>
      <p:bgPr>
        <a:solidFill>
          <a:schemeClr val="tx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5204"/>
            <a:ext cx="6169025" cy="1001806"/>
          </a:xfrm>
        </p:spPr>
        <p:txBody>
          <a:bodyPr/>
          <a:lstStyle>
            <a:lvl1pPr marL="0" indent="0" algn="l">
              <a:lnSpc>
                <a:spcPct val="100000"/>
              </a:lnSpc>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8000"/>
            <a:ext cx="6169025" cy="1209062"/>
          </a:xfrm>
        </p:spPr>
        <p:txBody>
          <a:bodyPr anchor="b">
            <a:noAutofit/>
          </a:bodyPr>
          <a:lstStyle>
            <a:lvl1pPr>
              <a:defRPr sz="3200" b="0">
                <a:solidFill>
                  <a:schemeClr val="bg1"/>
                </a:solidFill>
                <a:latin typeface="Proximus Light" panose="020B0604020202020204" charset="0"/>
              </a:defRPr>
            </a:lvl1pPr>
          </a:lstStyle>
          <a:p>
            <a:r>
              <a:rPr lang="en-US"/>
              <a:t>Click to edit </a:t>
            </a:r>
            <a:br>
              <a:rPr lang="en-US"/>
            </a:br>
            <a:r>
              <a:rPr lang="en-US"/>
              <a:t>subchapter title</a:t>
            </a:r>
            <a:endParaRPr lang="nl-BE"/>
          </a:p>
        </p:txBody>
      </p:sp>
      <p:pic>
        <p:nvPicPr>
          <p:cNvPr id="2" name="Graphic 1">
            <a:extLst>
              <a:ext uri="{FF2B5EF4-FFF2-40B4-BE49-F238E27FC236}">
                <a16:creationId xmlns:a16="http://schemas.microsoft.com/office/drawing/2014/main" id="{E679911C-93F9-B87D-B3FA-11770F8ED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27173" y="4293396"/>
            <a:ext cx="668009" cy="540544"/>
          </a:xfrm>
          <a:prstGeom prst="rect">
            <a:avLst/>
          </a:prstGeom>
        </p:spPr>
      </p:pic>
      <p:sp>
        <p:nvSpPr>
          <p:cNvPr id="3" name="Text Placeholder 2">
            <a:extLst>
              <a:ext uri="{FF2B5EF4-FFF2-40B4-BE49-F238E27FC236}">
                <a16:creationId xmlns:a16="http://schemas.microsoft.com/office/drawing/2014/main" id="{52EFA49A-5254-AD86-1692-AD2FEDB27285}"/>
              </a:ext>
            </a:extLst>
          </p:cNvPr>
          <p:cNvSpPr>
            <a:spLocks noGrp="1"/>
          </p:cNvSpPr>
          <p:nvPr>
            <p:ph type="body" sz="quarter" idx="10" hasCustomPrompt="1"/>
          </p:nvPr>
        </p:nvSpPr>
        <p:spPr>
          <a:xfrm>
            <a:off x="7048500" y="1"/>
            <a:ext cx="2095500" cy="2132350"/>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6000">
                <a:solidFill>
                  <a:schemeClr val="tx1"/>
                </a:solidFill>
                <a:latin typeface="Proximus Light" panose="020B0604020202020204" charset="0"/>
              </a:defRPr>
            </a:lvl1pPr>
          </a:lstStyle>
          <a:p>
            <a:pPr lvl="0"/>
            <a:r>
              <a:rPr lang="en-US"/>
              <a:t>xx</a:t>
            </a:r>
          </a:p>
        </p:txBody>
      </p:sp>
    </p:spTree>
    <p:extLst>
      <p:ext uri="{BB962C8B-B14F-4D97-AF65-F5344CB8AC3E}">
        <p14:creationId xmlns:p14="http://schemas.microsoft.com/office/powerpoint/2010/main" val="32422730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 white bg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p:nvPr>
        </p:nvSpPr>
        <p:spPr>
          <a:xfrm>
            <a:off x="460376" y="1036800"/>
            <a:ext cx="8221662" cy="3517738"/>
          </a:xfrm>
          <a:prstGeom prst="rect">
            <a:avLst/>
          </a:prstGeom>
        </p:spPr>
        <p:txBody>
          <a:bodyPr vert="horz" lIns="0" tIns="0" rIns="0" bIns="0" numCol="1" spcCol="0" rtlCol="0" anchor="t" anchorCtr="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BE"/>
          </a:p>
        </p:txBody>
      </p:sp>
    </p:spTree>
    <p:extLst>
      <p:ext uri="{BB962C8B-B14F-4D97-AF65-F5344CB8AC3E}">
        <p14:creationId xmlns:p14="http://schemas.microsoft.com/office/powerpoint/2010/main" val="2068087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 white bg - Subtitle - bullet m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lvl1pPr>
          </a:lstStyle>
          <a:p>
            <a:r>
              <a:rPr lang="en-US"/>
              <a:t>Click to edit slide title</a:t>
            </a:r>
            <a:endParaRPr lang="nl-BE"/>
          </a:p>
        </p:txBody>
      </p:sp>
      <p:sp>
        <p:nvSpPr>
          <p:cNvPr id="11" name="Text Placeholder 2">
            <a:extLst>
              <a:ext uri="{FF2B5EF4-FFF2-40B4-BE49-F238E27FC236}">
                <a16:creationId xmlns:a16="http://schemas.microsoft.com/office/drawing/2014/main" id="{10193D06-FB5B-42EC-9101-F77EE2C16642}"/>
              </a:ext>
            </a:extLst>
          </p:cNvPr>
          <p:cNvSpPr>
            <a:spLocks noGrp="1"/>
          </p:cNvSpPr>
          <p:nvPr>
            <p:ph idx="1" hasCustomPrompt="1"/>
          </p:nvPr>
        </p:nvSpPr>
        <p:spPr>
          <a:xfrm>
            <a:off x="460376" y="1543050"/>
            <a:ext cx="8221662" cy="3011488"/>
          </a:xfrm>
          <a:prstGeom prst="rect">
            <a:avLst/>
          </a:prstGeom>
        </p:spPr>
        <p:txBody>
          <a:bodyPr vert="horz" lIns="0" tIns="0" rIns="0" bIns="0" numCol="1" spcCol="0" rtlCol="0" anchor="t" anchorCtr="0">
            <a:noAutofit/>
          </a:bodyPr>
          <a:lstStyle>
            <a:lvl2pPr marL="360000" indent="-176400">
              <a:spcBef>
                <a:spcPts val="600"/>
              </a:spcBef>
              <a:defRPr/>
            </a:lvl2pPr>
            <a:lvl3pPr>
              <a:spcBef>
                <a:spcPts val="600"/>
              </a:spcBef>
              <a:defRPr/>
            </a:lvl3pPr>
            <a:lvl4pPr>
              <a:spcBef>
                <a:spcPts val="1200"/>
              </a:spcBef>
              <a:defRPr/>
            </a:lvl4pPr>
            <a:lvl5pPr>
              <a:spcBef>
                <a:spcPts val="18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bg1"/>
                </a:solidFill>
                <a:latin typeface="Proximus Light" panose="020B0604020202020204" charset="0"/>
              </a:defRPr>
            </a:lvl1pPr>
          </a:lstStyle>
          <a:p>
            <a:pPr lvl="0"/>
            <a:r>
              <a:rPr lang="fr-FR"/>
              <a:t>Cliquez pour modifier les styles du texte du masque</a:t>
            </a:r>
          </a:p>
        </p:txBody>
      </p:sp>
    </p:spTree>
    <p:extLst>
      <p:ext uri="{BB962C8B-B14F-4D97-AF65-F5344CB8AC3E}">
        <p14:creationId xmlns:p14="http://schemas.microsoft.com/office/powerpoint/2010/main" val="23576186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 white bg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lvl1pPr>
          </a:lstStyle>
          <a:p>
            <a:r>
              <a:rPr lang="en-US"/>
              <a:t>Click to edit slide title</a:t>
            </a:r>
            <a:endParaRPr lang="nl-BE"/>
          </a:p>
        </p:txBody>
      </p:sp>
    </p:spTree>
    <p:extLst>
      <p:ext uri="{BB962C8B-B14F-4D97-AF65-F5344CB8AC3E}">
        <p14:creationId xmlns:p14="http://schemas.microsoft.com/office/powerpoint/2010/main" val="2946531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white bg - 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bg1"/>
                </a:solidFill>
                <a:latin typeface="Proximus Light" panose="020B0604020202020204" charset="0"/>
              </a:defRPr>
            </a:lvl1pPr>
          </a:lstStyle>
          <a:p>
            <a:pPr lvl="0"/>
            <a:r>
              <a:rPr lang="fr-FR"/>
              <a:t>Cliquez pour modifier les styles du texte du masque</a:t>
            </a:r>
          </a:p>
        </p:txBody>
      </p:sp>
    </p:spTree>
    <p:extLst>
      <p:ext uri="{BB962C8B-B14F-4D97-AF65-F5344CB8AC3E}">
        <p14:creationId xmlns:p14="http://schemas.microsoft.com/office/powerpoint/2010/main" val="743745191"/>
      </p:ext>
    </p:extLst>
  </p:cSld>
  <p:clrMapOvr>
    <a:masterClrMapping/>
  </p:clrMapOvr>
  <p:extLst>
    <p:ext uri="{DCECCB84-F9BA-43D5-87BE-67443E8EF086}">
      <p15:sldGuideLst xmlns:p15="http://schemas.microsoft.com/office/powerpoint/2012/main">
        <p15:guide id="1" orient="horz" pos="96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 colour bg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D62362CE-1A7B-CA66-FD9A-16C348131664}"/>
              </a:ext>
            </a:extLst>
          </p:cNvPr>
          <p:cNvSpPr>
            <a:spLocks noGrp="1"/>
          </p:cNvSpPr>
          <p:nvPr>
            <p:ph type="body" sz="quarter" idx="10"/>
          </p:nvPr>
        </p:nvSpPr>
        <p:spPr>
          <a:xfrm>
            <a:off x="460375" y="1038225"/>
            <a:ext cx="8223250" cy="351631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17057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 Gradient - Image">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grpSp>
        <p:nvGrpSpPr>
          <p:cNvPr id="11" name="Graphic 4">
            <a:extLst>
              <a:ext uri="{FF2B5EF4-FFF2-40B4-BE49-F238E27FC236}">
                <a16:creationId xmlns:a16="http://schemas.microsoft.com/office/drawing/2014/main" id="{15EDE4F8-FC59-7BE7-1801-8537A16910DD}"/>
              </a:ext>
            </a:extLst>
          </p:cNvPr>
          <p:cNvGrpSpPr/>
          <p:nvPr userDrawn="1"/>
        </p:nvGrpSpPr>
        <p:grpSpPr>
          <a:xfrm>
            <a:off x="8029536" y="4295826"/>
            <a:ext cx="663324" cy="534416"/>
            <a:chOff x="8029536" y="4295826"/>
            <a:chExt cx="663324" cy="534416"/>
          </a:xfrm>
        </p:grpSpPr>
        <p:grpSp>
          <p:nvGrpSpPr>
            <p:cNvPr id="12" name="Graphic 4">
              <a:extLst>
                <a:ext uri="{FF2B5EF4-FFF2-40B4-BE49-F238E27FC236}">
                  <a16:creationId xmlns:a16="http://schemas.microsoft.com/office/drawing/2014/main" id="{6940611F-F0A4-39EB-FD9E-D5424E86FCE5}"/>
                </a:ext>
              </a:extLst>
            </p:cNvPr>
            <p:cNvGrpSpPr/>
            <p:nvPr userDrawn="1"/>
          </p:nvGrpSpPr>
          <p:grpSpPr>
            <a:xfrm>
              <a:off x="8029536" y="4708959"/>
              <a:ext cx="663324" cy="121283"/>
              <a:chOff x="8029536" y="4708959"/>
              <a:chExt cx="663324" cy="121283"/>
            </a:xfrm>
            <a:solidFill>
              <a:srgbClr val="FFFFFF"/>
            </a:solidFill>
          </p:grpSpPr>
          <p:sp>
            <p:nvSpPr>
              <p:cNvPr id="13" name="Freeform: Shape 12">
                <a:extLst>
                  <a:ext uri="{FF2B5EF4-FFF2-40B4-BE49-F238E27FC236}">
                    <a16:creationId xmlns:a16="http://schemas.microsoft.com/office/drawing/2014/main" id="{35DF712F-A3AE-145E-2BE5-0AC407A707EF}"/>
                  </a:ext>
                </a:extLst>
              </p:cNvPr>
              <p:cNvSpPr/>
              <p:nvPr userDrawn="1"/>
            </p:nvSpPr>
            <p:spPr>
              <a:xfrm>
                <a:off x="8029536" y="4708959"/>
                <a:ext cx="81783" cy="121283"/>
              </a:xfrm>
              <a:custGeom>
                <a:avLst/>
                <a:gdLst>
                  <a:gd name="connsiteX0" fmla="*/ 81784 w 81783"/>
                  <a:gd name="connsiteY0" fmla="*/ 44180 h 121283"/>
                  <a:gd name="connsiteX1" fmla="*/ 40740 w 81783"/>
                  <a:gd name="connsiteY1" fmla="*/ 88640 h 121283"/>
                  <a:gd name="connsiteX2" fmla="*/ 20522 w 81783"/>
                  <a:gd name="connsiteY2" fmla="*/ 82883 h 121283"/>
                  <a:gd name="connsiteX3" fmla="*/ 20522 w 81783"/>
                  <a:gd name="connsiteY3" fmla="*/ 121283 h 121283"/>
                  <a:gd name="connsiteX4" fmla="*/ 0 w 81783"/>
                  <a:gd name="connsiteY4" fmla="*/ 121283 h 121283"/>
                  <a:gd name="connsiteX5" fmla="*/ 0 w 81783"/>
                  <a:gd name="connsiteY5" fmla="*/ 43688 h 121283"/>
                  <a:gd name="connsiteX6" fmla="*/ 40740 w 81783"/>
                  <a:gd name="connsiteY6" fmla="*/ 0 h 121283"/>
                  <a:gd name="connsiteX7" fmla="*/ 81784 w 81783"/>
                  <a:gd name="connsiteY7" fmla="*/ 44180 h 121283"/>
                  <a:gd name="connsiteX8" fmla="*/ 61121 w 81783"/>
                  <a:gd name="connsiteY8" fmla="*/ 44180 h 121283"/>
                  <a:gd name="connsiteX9" fmla="*/ 40763 w 81783"/>
                  <a:gd name="connsiteY9" fmla="*/ 19469 h 121283"/>
                  <a:gd name="connsiteX10" fmla="*/ 20545 w 81783"/>
                  <a:gd name="connsiteY10" fmla="*/ 44180 h 121283"/>
                  <a:gd name="connsiteX11" fmla="*/ 40763 w 81783"/>
                  <a:gd name="connsiteY11" fmla="*/ 69218 h 121283"/>
                  <a:gd name="connsiteX12" fmla="*/ 61121 w 81783"/>
                  <a:gd name="connsiteY12" fmla="*/ 44180 h 12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783" h="121283">
                    <a:moveTo>
                      <a:pt x="81784" y="44180"/>
                    </a:moveTo>
                    <a:cubicBezTo>
                      <a:pt x="81784" y="72798"/>
                      <a:pt x="64210" y="88640"/>
                      <a:pt x="40740" y="88640"/>
                    </a:cubicBezTo>
                    <a:cubicBezTo>
                      <a:pt x="33111" y="88640"/>
                      <a:pt x="26278" y="86768"/>
                      <a:pt x="20522" y="82883"/>
                    </a:cubicBezTo>
                    <a:lnTo>
                      <a:pt x="20522" y="121283"/>
                    </a:lnTo>
                    <a:lnTo>
                      <a:pt x="0" y="121283"/>
                    </a:lnTo>
                    <a:lnTo>
                      <a:pt x="0" y="43688"/>
                    </a:lnTo>
                    <a:cubicBezTo>
                      <a:pt x="0" y="15234"/>
                      <a:pt x="17410" y="0"/>
                      <a:pt x="40740" y="0"/>
                    </a:cubicBezTo>
                    <a:cubicBezTo>
                      <a:pt x="64210" y="23"/>
                      <a:pt x="81784" y="15725"/>
                      <a:pt x="81784" y="44180"/>
                    </a:cubicBezTo>
                    <a:close/>
                    <a:moveTo>
                      <a:pt x="61121" y="44180"/>
                    </a:moveTo>
                    <a:cubicBezTo>
                      <a:pt x="61121" y="26770"/>
                      <a:pt x="53189" y="19469"/>
                      <a:pt x="40763" y="19469"/>
                    </a:cubicBezTo>
                    <a:cubicBezTo>
                      <a:pt x="28478" y="19469"/>
                      <a:pt x="20545" y="26770"/>
                      <a:pt x="20545" y="44180"/>
                    </a:cubicBezTo>
                    <a:cubicBezTo>
                      <a:pt x="20545" y="61917"/>
                      <a:pt x="28478" y="69218"/>
                      <a:pt x="40763" y="69218"/>
                    </a:cubicBezTo>
                    <a:cubicBezTo>
                      <a:pt x="53189" y="69194"/>
                      <a:pt x="61121" y="61893"/>
                      <a:pt x="61121" y="44180"/>
                    </a:cubicBezTo>
                    <a:close/>
                  </a:path>
                </a:pathLst>
              </a:custGeom>
              <a:solidFill>
                <a:srgbClr val="FFFFFF"/>
              </a:solidFill>
              <a:ln w="2339"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0FF1B7DF-7CA9-52C1-7C8E-B6FBA392CD79}"/>
                  </a:ext>
                </a:extLst>
              </p:cNvPr>
              <p:cNvSpPr/>
              <p:nvPr userDrawn="1"/>
            </p:nvSpPr>
            <p:spPr>
              <a:xfrm>
                <a:off x="8126717" y="4708983"/>
                <a:ext cx="46191" cy="87072"/>
              </a:xfrm>
              <a:custGeom>
                <a:avLst/>
                <a:gdLst>
                  <a:gd name="connsiteX0" fmla="*/ 20522 w 46191"/>
                  <a:gd name="connsiteY0" fmla="*/ 87072 h 87072"/>
                  <a:gd name="connsiteX1" fmla="*/ 0 w 46191"/>
                  <a:gd name="connsiteY1" fmla="*/ 87072 h 87072"/>
                  <a:gd name="connsiteX2" fmla="*/ 0 w 46191"/>
                  <a:gd name="connsiteY2" fmla="*/ 36855 h 87072"/>
                  <a:gd name="connsiteX3" fmla="*/ 37791 w 46191"/>
                  <a:gd name="connsiteY3" fmla="*/ 0 h 87072"/>
                  <a:gd name="connsiteX4" fmla="*/ 46192 w 46191"/>
                  <a:gd name="connsiteY4" fmla="*/ 772 h 87072"/>
                  <a:gd name="connsiteX5" fmla="*/ 42776 w 46191"/>
                  <a:gd name="connsiteY5" fmla="*/ 20358 h 87072"/>
                  <a:gd name="connsiteX6" fmla="*/ 37791 w 46191"/>
                  <a:gd name="connsiteY6" fmla="*/ 20054 h 87072"/>
                  <a:gd name="connsiteX7" fmla="*/ 20522 w 46191"/>
                  <a:gd name="connsiteY7" fmla="*/ 38400 h 87072"/>
                  <a:gd name="connsiteX8" fmla="*/ 20522 w 46191"/>
                  <a:gd name="connsiteY8" fmla="*/ 87072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 h="87072">
                    <a:moveTo>
                      <a:pt x="20522" y="87072"/>
                    </a:moveTo>
                    <a:lnTo>
                      <a:pt x="0" y="87072"/>
                    </a:lnTo>
                    <a:lnTo>
                      <a:pt x="0" y="36855"/>
                    </a:lnTo>
                    <a:cubicBezTo>
                      <a:pt x="0" y="15865"/>
                      <a:pt x="13689" y="0"/>
                      <a:pt x="37791" y="0"/>
                    </a:cubicBezTo>
                    <a:cubicBezTo>
                      <a:pt x="41840" y="0"/>
                      <a:pt x="44952" y="468"/>
                      <a:pt x="46192" y="772"/>
                    </a:cubicBezTo>
                    <a:lnTo>
                      <a:pt x="42776" y="20358"/>
                    </a:lnTo>
                    <a:cubicBezTo>
                      <a:pt x="41535" y="20194"/>
                      <a:pt x="39195" y="20054"/>
                      <a:pt x="37791" y="20054"/>
                    </a:cubicBezTo>
                    <a:cubicBezTo>
                      <a:pt x="25974" y="20054"/>
                      <a:pt x="20522" y="27214"/>
                      <a:pt x="20522" y="38400"/>
                    </a:cubicBezTo>
                    <a:lnTo>
                      <a:pt x="20522" y="87072"/>
                    </a:lnTo>
                    <a:close/>
                  </a:path>
                </a:pathLst>
              </a:custGeom>
              <a:solidFill>
                <a:srgbClr val="FFFFFF"/>
              </a:solidFill>
              <a:ln w="2339"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D513318-B548-1E38-6DE2-BC4B8CED227D}"/>
                  </a:ext>
                </a:extLst>
              </p:cNvPr>
              <p:cNvSpPr/>
              <p:nvPr userDrawn="1"/>
            </p:nvSpPr>
            <p:spPr>
              <a:xfrm>
                <a:off x="8176629" y="4708983"/>
                <a:ext cx="83351" cy="88616"/>
              </a:xfrm>
              <a:custGeom>
                <a:avLst/>
                <a:gdLst>
                  <a:gd name="connsiteX0" fmla="*/ 41676 w 83351"/>
                  <a:gd name="connsiteY0" fmla="*/ 88616 h 88616"/>
                  <a:gd name="connsiteX1" fmla="*/ 0 w 83351"/>
                  <a:gd name="connsiteY1" fmla="*/ 44156 h 88616"/>
                  <a:gd name="connsiteX2" fmla="*/ 41676 w 83351"/>
                  <a:gd name="connsiteY2" fmla="*/ 0 h 88616"/>
                  <a:gd name="connsiteX3" fmla="*/ 83351 w 83351"/>
                  <a:gd name="connsiteY3" fmla="*/ 44156 h 88616"/>
                  <a:gd name="connsiteX4" fmla="*/ 41676 w 83351"/>
                  <a:gd name="connsiteY4" fmla="*/ 88616 h 88616"/>
                  <a:gd name="connsiteX5" fmla="*/ 41676 w 83351"/>
                  <a:gd name="connsiteY5" fmla="*/ 19422 h 88616"/>
                  <a:gd name="connsiteX6" fmla="*/ 20686 w 83351"/>
                  <a:gd name="connsiteY6" fmla="*/ 44297 h 88616"/>
                  <a:gd name="connsiteX7" fmla="*/ 41676 w 83351"/>
                  <a:gd name="connsiteY7" fmla="*/ 69171 h 88616"/>
                  <a:gd name="connsiteX8" fmla="*/ 62666 w 83351"/>
                  <a:gd name="connsiteY8" fmla="*/ 44297 h 88616"/>
                  <a:gd name="connsiteX9" fmla="*/ 41676 w 83351"/>
                  <a:gd name="connsiteY9" fmla="*/ 19422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51" h="88616">
                    <a:moveTo>
                      <a:pt x="41676" y="88616"/>
                    </a:moveTo>
                    <a:cubicBezTo>
                      <a:pt x="18205" y="88616"/>
                      <a:pt x="0" y="72915"/>
                      <a:pt x="0" y="44156"/>
                    </a:cubicBezTo>
                    <a:cubicBezTo>
                      <a:pt x="0" y="15701"/>
                      <a:pt x="18182" y="0"/>
                      <a:pt x="41676" y="0"/>
                    </a:cubicBezTo>
                    <a:cubicBezTo>
                      <a:pt x="65146" y="0"/>
                      <a:pt x="83351" y="15701"/>
                      <a:pt x="83351" y="44156"/>
                    </a:cubicBezTo>
                    <a:cubicBezTo>
                      <a:pt x="83351" y="72915"/>
                      <a:pt x="65146" y="88616"/>
                      <a:pt x="41676" y="88616"/>
                    </a:cubicBezTo>
                    <a:close/>
                    <a:moveTo>
                      <a:pt x="41676" y="19422"/>
                    </a:moveTo>
                    <a:cubicBezTo>
                      <a:pt x="29391" y="19422"/>
                      <a:pt x="20686" y="26723"/>
                      <a:pt x="20686" y="44297"/>
                    </a:cubicBezTo>
                    <a:cubicBezTo>
                      <a:pt x="20686" y="61870"/>
                      <a:pt x="29391" y="69171"/>
                      <a:pt x="41676" y="69171"/>
                    </a:cubicBezTo>
                    <a:cubicBezTo>
                      <a:pt x="53797" y="69171"/>
                      <a:pt x="62666" y="61870"/>
                      <a:pt x="62666" y="44297"/>
                    </a:cubicBezTo>
                    <a:cubicBezTo>
                      <a:pt x="62666" y="26723"/>
                      <a:pt x="53797" y="19422"/>
                      <a:pt x="41676" y="19422"/>
                    </a:cubicBezTo>
                    <a:close/>
                  </a:path>
                </a:pathLst>
              </a:custGeom>
              <a:solidFill>
                <a:srgbClr val="FFFFFF"/>
              </a:solidFill>
              <a:ln w="2339"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88B492F-3B08-F01C-AC04-3066CB281937}"/>
                  </a:ext>
                </a:extLst>
              </p:cNvPr>
              <p:cNvSpPr/>
              <p:nvPr userDrawn="1"/>
            </p:nvSpPr>
            <p:spPr>
              <a:xfrm>
                <a:off x="8262157" y="4710527"/>
                <a:ext cx="82415" cy="85527"/>
              </a:xfrm>
              <a:custGeom>
                <a:avLst/>
                <a:gdLst>
                  <a:gd name="connsiteX0" fmla="*/ 52557 w 82415"/>
                  <a:gd name="connsiteY0" fmla="*/ 42448 h 85527"/>
                  <a:gd name="connsiteX1" fmla="*/ 82415 w 82415"/>
                  <a:gd name="connsiteY1" fmla="*/ 85528 h 85527"/>
                  <a:gd name="connsiteX2" fmla="*/ 59717 w 82415"/>
                  <a:gd name="connsiteY2" fmla="*/ 85528 h 85527"/>
                  <a:gd name="connsiteX3" fmla="*/ 41208 w 82415"/>
                  <a:gd name="connsiteY3" fmla="*/ 57705 h 85527"/>
                  <a:gd name="connsiteX4" fmla="*/ 22698 w 82415"/>
                  <a:gd name="connsiteY4" fmla="*/ 85528 h 85527"/>
                  <a:gd name="connsiteX5" fmla="*/ 0 w 82415"/>
                  <a:gd name="connsiteY5" fmla="*/ 85528 h 85527"/>
                  <a:gd name="connsiteX6" fmla="*/ 29999 w 82415"/>
                  <a:gd name="connsiteY6" fmla="*/ 42448 h 85527"/>
                  <a:gd name="connsiteX7" fmla="*/ 0 w 82415"/>
                  <a:gd name="connsiteY7" fmla="*/ 0 h 85527"/>
                  <a:gd name="connsiteX8" fmla="*/ 22862 w 82415"/>
                  <a:gd name="connsiteY8" fmla="*/ 0 h 85527"/>
                  <a:gd name="connsiteX9" fmla="*/ 41208 w 82415"/>
                  <a:gd name="connsiteY9" fmla="*/ 27519 h 85527"/>
                  <a:gd name="connsiteX10" fmla="*/ 59553 w 82415"/>
                  <a:gd name="connsiteY10" fmla="*/ 0 h 85527"/>
                  <a:gd name="connsiteX11" fmla="*/ 82415 w 82415"/>
                  <a:gd name="connsiteY11" fmla="*/ 0 h 85527"/>
                  <a:gd name="connsiteX12" fmla="*/ 52557 w 82415"/>
                  <a:gd name="connsiteY12" fmla="*/ 42448 h 8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15" h="85527">
                    <a:moveTo>
                      <a:pt x="52557" y="42448"/>
                    </a:moveTo>
                    <a:lnTo>
                      <a:pt x="82415" y="85528"/>
                    </a:lnTo>
                    <a:lnTo>
                      <a:pt x="59717" y="85528"/>
                    </a:lnTo>
                    <a:lnTo>
                      <a:pt x="41208" y="57705"/>
                    </a:lnTo>
                    <a:lnTo>
                      <a:pt x="22698" y="85528"/>
                    </a:lnTo>
                    <a:lnTo>
                      <a:pt x="0" y="85528"/>
                    </a:lnTo>
                    <a:lnTo>
                      <a:pt x="29999" y="42448"/>
                    </a:lnTo>
                    <a:lnTo>
                      <a:pt x="0" y="0"/>
                    </a:lnTo>
                    <a:lnTo>
                      <a:pt x="22862" y="0"/>
                    </a:lnTo>
                    <a:lnTo>
                      <a:pt x="41208" y="27519"/>
                    </a:lnTo>
                    <a:lnTo>
                      <a:pt x="59553" y="0"/>
                    </a:lnTo>
                    <a:lnTo>
                      <a:pt x="82415" y="0"/>
                    </a:lnTo>
                    <a:lnTo>
                      <a:pt x="52557" y="42448"/>
                    </a:lnTo>
                    <a:close/>
                  </a:path>
                </a:pathLst>
              </a:custGeom>
              <a:solidFill>
                <a:srgbClr val="FFFFFF"/>
              </a:solidFill>
              <a:ln w="2339"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FD94F1-C7F8-55C6-5A21-D125F19E6533}"/>
                  </a:ext>
                </a:extLst>
              </p:cNvPr>
              <p:cNvSpPr/>
              <p:nvPr userDrawn="1"/>
            </p:nvSpPr>
            <p:spPr>
              <a:xfrm>
                <a:off x="8356062" y="4710527"/>
                <a:ext cx="20521" cy="85504"/>
              </a:xfrm>
              <a:custGeom>
                <a:avLst/>
                <a:gdLst>
                  <a:gd name="connsiteX0" fmla="*/ 0 w 20521"/>
                  <a:gd name="connsiteY0" fmla="*/ 0 h 85504"/>
                  <a:gd name="connsiteX1" fmla="*/ 20522 w 20521"/>
                  <a:gd name="connsiteY1" fmla="*/ 0 h 85504"/>
                  <a:gd name="connsiteX2" fmla="*/ 20522 w 20521"/>
                  <a:gd name="connsiteY2" fmla="*/ 85504 h 85504"/>
                  <a:gd name="connsiteX3" fmla="*/ 0 w 20521"/>
                  <a:gd name="connsiteY3" fmla="*/ 85504 h 85504"/>
                  <a:gd name="connsiteX4" fmla="*/ 0 w 20521"/>
                  <a:gd name="connsiteY4" fmla="*/ 0 h 85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1" h="85504">
                    <a:moveTo>
                      <a:pt x="0" y="0"/>
                    </a:moveTo>
                    <a:lnTo>
                      <a:pt x="20522" y="0"/>
                    </a:lnTo>
                    <a:lnTo>
                      <a:pt x="20522" y="85504"/>
                    </a:lnTo>
                    <a:lnTo>
                      <a:pt x="0" y="85504"/>
                    </a:lnTo>
                    <a:lnTo>
                      <a:pt x="0" y="0"/>
                    </a:lnTo>
                    <a:close/>
                  </a:path>
                </a:pathLst>
              </a:custGeom>
              <a:solidFill>
                <a:srgbClr val="FFFFFF"/>
              </a:solidFill>
              <a:ln w="2339"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5796C52-1203-22F0-77EB-899192F32D36}"/>
                  </a:ext>
                </a:extLst>
              </p:cNvPr>
              <p:cNvSpPr/>
              <p:nvPr userDrawn="1"/>
            </p:nvSpPr>
            <p:spPr>
              <a:xfrm>
                <a:off x="8394508" y="4708983"/>
                <a:ext cx="124208" cy="87072"/>
              </a:xfrm>
              <a:custGeom>
                <a:avLst/>
                <a:gdLst>
                  <a:gd name="connsiteX0" fmla="*/ 124208 w 124208"/>
                  <a:gd name="connsiteY0" fmla="*/ 32643 h 87072"/>
                  <a:gd name="connsiteX1" fmla="*/ 124208 w 124208"/>
                  <a:gd name="connsiteY1" fmla="*/ 87072 h 87072"/>
                  <a:gd name="connsiteX2" fmla="*/ 103686 w 124208"/>
                  <a:gd name="connsiteY2" fmla="*/ 87072 h 87072"/>
                  <a:gd name="connsiteX3" fmla="*/ 103686 w 124208"/>
                  <a:gd name="connsiteY3" fmla="*/ 34047 h 87072"/>
                  <a:gd name="connsiteX4" fmla="*/ 88148 w 124208"/>
                  <a:gd name="connsiteY4" fmla="*/ 19422 h 87072"/>
                  <a:gd name="connsiteX5" fmla="*/ 72283 w 124208"/>
                  <a:gd name="connsiteY5" fmla="*/ 34047 h 87072"/>
                  <a:gd name="connsiteX6" fmla="*/ 72283 w 124208"/>
                  <a:gd name="connsiteY6" fmla="*/ 87072 h 87072"/>
                  <a:gd name="connsiteX7" fmla="*/ 51925 w 124208"/>
                  <a:gd name="connsiteY7" fmla="*/ 87072 h 87072"/>
                  <a:gd name="connsiteX8" fmla="*/ 51925 w 124208"/>
                  <a:gd name="connsiteY8" fmla="*/ 34047 h 87072"/>
                  <a:gd name="connsiteX9" fmla="*/ 36060 w 124208"/>
                  <a:gd name="connsiteY9" fmla="*/ 19422 h 87072"/>
                  <a:gd name="connsiteX10" fmla="*/ 20522 w 124208"/>
                  <a:gd name="connsiteY10" fmla="*/ 34047 h 87072"/>
                  <a:gd name="connsiteX11" fmla="*/ 20522 w 124208"/>
                  <a:gd name="connsiteY11" fmla="*/ 87072 h 87072"/>
                  <a:gd name="connsiteX12" fmla="*/ 0 w 124208"/>
                  <a:gd name="connsiteY12" fmla="*/ 87072 h 87072"/>
                  <a:gd name="connsiteX13" fmla="*/ 0 w 124208"/>
                  <a:gd name="connsiteY13" fmla="*/ 32643 h 87072"/>
                  <a:gd name="connsiteX14" fmla="*/ 36223 w 124208"/>
                  <a:gd name="connsiteY14" fmla="*/ 0 h 87072"/>
                  <a:gd name="connsiteX15" fmla="*/ 62338 w 124208"/>
                  <a:gd name="connsiteY15" fmla="*/ 10577 h 87072"/>
                  <a:gd name="connsiteX16" fmla="*/ 88148 w 124208"/>
                  <a:gd name="connsiteY16" fmla="*/ 0 h 87072"/>
                  <a:gd name="connsiteX17" fmla="*/ 124208 w 124208"/>
                  <a:gd name="connsiteY17" fmla="*/ 32643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208" h="87072">
                    <a:moveTo>
                      <a:pt x="124208" y="32643"/>
                    </a:moveTo>
                    <a:lnTo>
                      <a:pt x="124208" y="87072"/>
                    </a:lnTo>
                    <a:lnTo>
                      <a:pt x="103686" y="87072"/>
                    </a:lnTo>
                    <a:lnTo>
                      <a:pt x="103686" y="34047"/>
                    </a:lnTo>
                    <a:cubicBezTo>
                      <a:pt x="103686" y="24243"/>
                      <a:pt x="98866" y="19422"/>
                      <a:pt x="88148" y="19422"/>
                    </a:cubicBezTo>
                    <a:cubicBezTo>
                      <a:pt x="75863" y="19422"/>
                      <a:pt x="72283" y="25319"/>
                      <a:pt x="72283" y="34047"/>
                    </a:cubicBezTo>
                    <a:lnTo>
                      <a:pt x="72283" y="87072"/>
                    </a:lnTo>
                    <a:lnTo>
                      <a:pt x="51925" y="87072"/>
                    </a:lnTo>
                    <a:lnTo>
                      <a:pt x="51925" y="34047"/>
                    </a:lnTo>
                    <a:cubicBezTo>
                      <a:pt x="51925" y="24243"/>
                      <a:pt x="47105" y="19422"/>
                      <a:pt x="36060" y="19422"/>
                    </a:cubicBezTo>
                    <a:cubicBezTo>
                      <a:pt x="23938" y="19422"/>
                      <a:pt x="20522" y="25319"/>
                      <a:pt x="20522" y="34047"/>
                    </a:cubicBezTo>
                    <a:lnTo>
                      <a:pt x="20522" y="87072"/>
                    </a:lnTo>
                    <a:lnTo>
                      <a:pt x="0" y="87072"/>
                    </a:lnTo>
                    <a:lnTo>
                      <a:pt x="0" y="32643"/>
                    </a:lnTo>
                    <a:cubicBezTo>
                      <a:pt x="0" y="10881"/>
                      <a:pt x="16170" y="0"/>
                      <a:pt x="36223" y="0"/>
                    </a:cubicBezTo>
                    <a:cubicBezTo>
                      <a:pt x="45560" y="0"/>
                      <a:pt x="55809" y="3884"/>
                      <a:pt x="62338" y="10577"/>
                    </a:cubicBezTo>
                    <a:cubicBezTo>
                      <a:pt x="68399" y="3884"/>
                      <a:pt x="78976" y="0"/>
                      <a:pt x="88148" y="0"/>
                    </a:cubicBezTo>
                    <a:cubicBezTo>
                      <a:pt x="107103" y="0"/>
                      <a:pt x="124208" y="9313"/>
                      <a:pt x="124208" y="32643"/>
                    </a:cubicBezTo>
                    <a:close/>
                  </a:path>
                </a:pathLst>
              </a:custGeom>
              <a:solidFill>
                <a:srgbClr val="FFFFFF"/>
              </a:solidFill>
              <a:ln w="2339"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AE7ECFA-2993-7B80-C96F-67E5DBE065F1}"/>
                  </a:ext>
                </a:extLst>
              </p:cNvPr>
              <p:cNvSpPr/>
              <p:nvPr userDrawn="1"/>
            </p:nvSpPr>
            <p:spPr>
              <a:xfrm>
                <a:off x="8535027" y="4710527"/>
                <a:ext cx="76518" cy="87072"/>
              </a:xfrm>
              <a:custGeom>
                <a:avLst/>
                <a:gdLst>
                  <a:gd name="connsiteX0" fmla="*/ 76519 w 76518"/>
                  <a:gd name="connsiteY0" fmla="*/ 0 h 87072"/>
                  <a:gd name="connsiteX1" fmla="*/ 76519 w 76518"/>
                  <a:gd name="connsiteY1" fmla="*/ 48977 h 87072"/>
                  <a:gd name="connsiteX2" fmla="*/ 38259 w 76518"/>
                  <a:gd name="connsiteY2" fmla="*/ 87072 h 87072"/>
                  <a:gd name="connsiteX3" fmla="*/ 0 w 76518"/>
                  <a:gd name="connsiteY3" fmla="*/ 48977 h 87072"/>
                  <a:gd name="connsiteX4" fmla="*/ 0 w 76518"/>
                  <a:gd name="connsiteY4" fmla="*/ 0 h 87072"/>
                  <a:gd name="connsiteX5" fmla="*/ 20522 w 76518"/>
                  <a:gd name="connsiteY5" fmla="*/ 0 h 87072"/>
                  <a:gd name="connsiteX6" fmla="*/ 20522 w 76518"/>
                  <a:gd name="connsiteY6" fmla="*/ 48977 h 87072"/>
                  <a:gd name="connsiteX7" fmla="*/ 38236 w 76518"/>
                  <a:gd name="connsiteY7" fmla="*/ 67627 h 87072"/>
                  <a:gd name="connsiteX8" fmla="*/ 55950 w 76518"/>
                  <a:gd name="connsiteY8" fmla="*/ 48977 h 87072"/>
                  <a:gd name="connsiteX9" fmla="*/ 55950 w 76518"/>
                  <a:gd name="connsiteY9" fmla="*/ 0 h 87072"/>
                  <a:gd name="connsiteX10" fmla="*/ 76519 w 76518"/>
                  <a:gd name="connsiteY10" fmla="*/ 0 h 8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8" h="87072">
                    <a:moveTo>
                      <a:pt x="76519" y="0"/>
                    </a:moveTo>
                    <a:lnTo>
                      <a:pt x="76519" y="48977"/>
                    </a:lnTo>
                    <a:cubicBezTo>
                      <a:pt x="76519" y="74483"/>
                      <a:pt x="63461" y="87072"/>
                      <a:pt x="38259" y="87072"/>
                    </a:cubicBezTo>
                    <a:cubicBezTo>
                      <a:pt x="13221" y="87072"/>
                      <a:pt x="0" y="74483"/>
                      <a:pt x="0" y="48977"/>
                    </a:cubicBezTo>
                    <a:lnTo>
                      <a:pt x="0" y="0"/>
                    </a:lnTo>
                    <a:lnTo>
                      <a:pt x="20522" y="0"/>
                    </a:lnTo>
                    <a:lnTo>
                      <a:pt x="20522" y="48977"/>
                    </a:lnTo>
                    <a:cubicBezTo>
                      <a:pt x="20522" y="63134"/>
                      <a:pt x="28455" y="67627"/>
                      <a:pt x="38236" y="67627"/>
                    </a:cubicBezTo>
                    <a:cubicBezTo>
                      <a:pt x="48041" y="67627"/>
                      <a:pt x="55950" y="63110"/>
                      <a:pt x="55950" y="48977"/>
                    </a:cubicBezTo>
                    <a:lnTo>
                      <a:pt x="55950" y="0"/>
                    </a:lnTo>
                    <a:lnTo>
                      <a:pt x="76519" y="0"/>
                    </a:lnTo>
                    <a:close/>
                  </a:path>
                </a:pathLst>
              </a:custGeom>
              <a:solidFill>
                <a:srgbClr val="FFFFFF"/>
              </a:solidFill>
              <a:ln w="2339"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D2F73A2-4A2C-ADD7-F1BF-8211B2562C2F}"/>
                  </a:ext>
                </a:extLst>
              </p:cNvPr>
              <p:cNvSpPr/>
              <p:nvPr userDrawn="1"/>
            </p:nvSpPr>
            <p:spPr>
              <a:xfrm>
                <a:off x="8624626" y="4708983"/>
                <a:ext cx="68234" cy="88616"/>
              </a:xfrm>
              <a:custGeom>
                <a:avLst/>
                <a:gdLst>
                  <a:gd name="connsiteX0" fmla="*/ 68235 w 68234"/>
                  <a:gd name="connsiteY0" fmla="*/ 61870 h 88616"/>
                  <a:gd name="connsiteX1" fmla="*/ 34351 w 68234"/>
                  <a:gd name="connsiteY1" fmla="*/ 88616 h 88616"/>
                  <a:gd name="connsiteX2" fmla="*/ 0 w 68234"/>
                  <a:gd name="connsiteY2" fmla="*/ 81152 h 88616"/>
                  <a:gd name="connsiteX3" fmla="*/ 4820 w 68234"/>
                  <a:gd name="connsiteY3" fmla="*/ 63274 h 88616"/>
                  <a:gd name="connsiteX4" fmla="*/ 33439 w 68234"/>
                  <a:gd name="connsiteY4" fmla="*/ 70271 h 88616"/>
                  <a:gd name="connsiteX5" fmla="*/ 47736 w 68234"/>
                  <a:gd name="connsiteY5" fmla="*/ 62502 h 88616"/>
                  <a:gd name="connsiteX6" fmla="*/ 32339 w 68234"/>
                  <a:gd name="connsiteY6" fmla="*/ 51785 h 88616"/>
                  <a:gd name="connsiteX7" fmla="*/ 26419 w 68234"/>
                  <a:gd name="connsiteY7" fmla="*/ 49608 h 88616"/>
                  <a:gd name="connsiteX8" fmla="*/ 1240 w 68234"/>
                  <a:gd name="connsiteY8" fmla="*/ 25038 h 88616"/>
                  <a:gd name="connsiteX9" fmla="*/ 32503 w 68234"/>
                  <a:gd name="connsiteY9" fmla="*/ 0 h 88616"/>
                  <a:gd name="connsiteX10" fmla="*/ 63602 w 68234"/>
                  <a:gd name="connsiteY10" fmla="*/ 4657 h 88616"/>
                  <a:gd name="connsiteX11" fmla="*/ 59717 w 68234"/>
                  <a:gd name="connsiteY11" fmla="*/ 22230 h 88616"/>
                  <a:gd name="connsiteX12" fmla="*/ 32362 w 68234"/>
                  <a:gd name="connsiteY12" fmla="*/ 18182 h 88616"/>
                  <a:gd name="connsiteX13" fmla="*/ 21786 w 68234"/>
                  <a:gd name="connsiteY13" fmla="*/ 24102 h 88616"/>
                  <a:gd name="connsiteX14" fmla="*/ 35615 w 68234"/>
                  <a:gd name="connsiteY14" fmla="*/ 33275 h 88616"/>
                  <a:gd name="connsiteX15" fmla="*/ 41840 w 68234"/>
                  <a:gd name="connsiteY15" fmla="*/ 35615 h 88616"/>
                  <a:gd name="connsiteX16" fmla="*/ 68235 w 68234"/>
                  <a:gd name="connsiteY16" fmla="*/ 61870 h 8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234" h="88616">
                    <a:moveTo>
                      <a:pt x="68235" y="61870"/>
                    </a:moveTo>
                    <a:cubicBezTo>
                      <a:pt x="68235" y="76636"/>
                      <a:pt x="59834" y="88616"/>
                      <a:pt x="34351" y="88616"/>
                    </a:cubicBezTo>
                    <a:cubicBezTo>
                      <a:pt x="21598" y="88616"/>
                      <a:pt x="9313" y="85668"/>
                      <a:pt x="0" y="81152"/>
                    </a:cubicBezTo>
                    <a:lnTo>
                      <a:pt x="4820" y="63274"/>
                    </a:lnTo>
                    <a:cubicBezTo>
                      <a:pt x="14625" y="67322"/>
                      <a:pt x="23798" y="70271"/>
                      <a:pt x="33439" y="70271"/>
                    </a:cubicBezTo>
                    <a:cubicBezTo>
                      <a:pt x="43548" y="70271"/>
                      <a:pt x="47736" y="66995"/>
                      <a:pt x="47736" y="62502"/>
                    </a:cubicBezTo>
                    <a:cubicBezTo>
                      <a:pt x="47736" y="57377"/>
                      <a:pt x="42612" y="55505"/>
                      <a:pt x="32339" y="51785"/>
                    </a:cubicBezTo>
                    <a:lnTo>
                      <a:pt x="26419" y="49608"/>
                    </a:lnTo>
                    <a:cubicBezTo>
                      <a:pt x="8541" y="43244"/>
                      <a:pt x="1240" y="38891"/>
                      <a:pt x="1240" y="25038"/>
                    </a:cubicBezTo>
                    <a:cubicBezTo>
                      <a:pt x="1240" y="12285"/>
                      <a:pt x="7137" y="0"/>
                      <a:pt x="32503" y="0"/>
                    </a:cubicBezTo>
                    <a:cubicBezTo>
                      <a:pt x="43852" y="0"/>
                      <a:pt x="57541" y="2644"/>
                      <a:pt x="63602" y="4657"/>
                    </a:cubicBezTo>
                    <a:lnTo>
                      <a:pt x="59717" y="22230"/>
                    </a:lnTo>
                    <a:cubicBezTo>
                      <a:pt x="53189" y="20522"/>
                      <a:pt x="40436" y="18182"/>
                      <a:pt x="32362" y="18182"/>
                    </a:cubicBezTo>
                    <a:cubicBezTo>
                      <a:pt x="25202" y="18182"/>
                      <a:pt x="21786" y="19726"/>
                      <a:pt x="21786" y="24102"/>
                    </a:cubicBezTo>
                    <a:cubicBezTo>
                      <a:pt x="21786" y="28150"/>
                      <a:pt x="24594" y="29227"/>
                      <a:pt x="35615" y="33275"/>
                    </a:cubicBezTo>
                    <a:lnTo>
                      <a:pt x="41840" y="35615"/>
                    </a:lnTo>
                    <a:cubicBezTo>
                      <a:pt x="60606" y="42448"/>
                      <a:pt x="68235" y="48181"/>
                      <a:pt x="68235" y="61870"/>
                    </a:cubicBezTo>
                    <a:close/>
                  </a:path>
                </a:pathLst>
              </a:custGeom>
              <a:solidFill>
                <a:srgbClr val="FFFFFF"/>
              </a:solidFill>
              <a:ln w="2339" cap="flat">
                <a:noFill/>
                <a:prstDash val="solid"/>
                <a:miter/>
              </a:ln>
            </p:spPr>
            <p:txBody>
              <a:bodyPr rtlCol="0" anchor="ctr"/>
              <a:lstStyle/>
              <a:p>
                <a:endParaRPr lang="en-US"/>
              </a:p>
            </p:txBody>
          </p:sp>
        </p:grpSp>
        <p:grpSp>
          <p:nvGrpSpPr>
            <p:cNvPr id="21" name="Graphic 4">
              <a:extLst>
                <a:ext uri="{FF2B5EF4-FFF2-40B4-BE49-F238E27FC236}">
                  <a16:creationId xmlns:a16="http://schemas.microsoft.com/office/drawing/2014/main" id="{A3FBB68A-DC56-B89A-3EC9-6AE0F6299B82}"/>
                </a:ext>
              </a:extLst>
            </p:cNvPr>
            <p:cNvGrpSpPr/>
            <p:nvPr userDrawn="1"/>
          </p:nvGrpSpPr>
          <p:grpSpPr>
            <a:xfrm>
              <a:off x="8195045" y="4295826"/>
              <a:ext cx="332188" cy="331794"/>
              <a:chOff x="8195045" y="4295826"/>
              <a:chExt cx="332188" cy="331794"/>
            </a:xfrm>
          </p:grpSpPr>
          <p:grpSp>
            <p:nvGrpSpPr>
              <p:cNvPr id="22" name="Graphic 4">
                <a:extLst>
                  <a:ext uri="{FF2B5EF4-FFF2-40B4-BE49-F238E27FC236}">
                    <a16:creationId xmlns:a16="http://schemas.microsoft.com/office/drawing/2014/main" id="{8187DE17-F357-2A22-F20C-458844AE72D2}"/>
                  </a:ext>
                </a:extLst>
              </p:cNvPr>
              <p:cNvGrpSpPr/>
              <p:nvPr userDrawn="1"/>
            </p:nvGrpSpPr>
            <p:grpSpPr>
              <a:xfrm>
                <a:off x="8315884" y="4398907"/>
                <a:ext cx="90535" cy="125635"/>
                <a:chOff x="8315884" y="4398907"/>
                <a:chExt cx="90534" cy="125635"/>
              </a:xfrm>
              <a:solidFill>
                <a:srgbClr val="B1B8CC"/>
              </a:solidFill>
            </p:grpSpPr>
            <p:sp>
              <p:nvSpPr>
                <p:cNvPr id="23" name="Freeform: Shape 22">
                  <a:extLst>
                    <a:ext uri="{FF2B5EF4-FFF2-40B4-BE49-F238E27FC236}">
                      <a16:creationId xmlns:a16="http://schemas.microsoft.com/office/drawing/2014/main" id="{F0CE3E14-D941-AE41-0093-3CAEE8F4C2CB}"/>
                    </a:ext>
                  </a:extLst>
                </p:cNvPr>
                <p:cNvSpPr/>
                <p:nvPr userDrawn="1"/>
              </p:nvSpPr>
              <p:spPr>
                <a:xfrm>
                  <a:off x="8315907" y="4480082"/>
                  <a:ext cx="90511" cy="44460"/>
                </a:xfrm>
                <a:custGeom>
                  <a:avLst/>
                  <a:gdLst>
                    <a:gd name="connsiteX0" fmla="*/ 84428 w 90511"/>
                    <a:gd name="connsiteY0" fmla="*/ 44460 h 44460"/>
                    <a:gd name="connsiteX1" fmla="*/ 45209 w 90511"/>
                    <a:gd name="connsiteY1" fmla="*/ 41582 h 44460"/>
                    <a:gd name="connsiteX2" fmla="*/ 6061 w 90511"/>
                    <a:gd name="connsiteY2" fmla="*/ 44460 h 44460"/>
                    <a:gd name="connsiteX3" fmla="*/ 0 w 90511"/>
                    <a:gd name="connsiteY3" fmla="*/ 3253 h 44460"/>
                    <a:gd name="connsiteX4" fmla="*/ 45233 w 90511"/>
                    <a:gd name="connsiteY4" fmla="*/ 0 h 44460"/>
                    <a:gd name="connsiteX5" fmla="*/ 90512 w 90511"/>
                    <a:gd name="connsiteY5" fmla="*/ 3253 h 44460"/>
                    <a:gd name="connsiteX6" fmla="*/ 84428 w 90511"/>
                    <a:gd name="connsiteY6" fmla="*/ 4446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44460">
                      <a:moveTo>
                        <a:pt x="84428" y="44460"/>
                      </a:moveTo>
                      <a:cubicBezTo>
                        <a:pt x="71768" y="42588"/>
                        <a:pt x="58571" y="41606"/>
                        <a:pt x="45209" y="41582"/>
                      </a:cubicBezTo>
                      <a:cubicBezTo>
                        <a:pt x="31894" y="41606"/>
                        <a:pt x="18720" y="42588"/>
                        <a:pt x="6061" y="44460"/>
                      </a:cubicBezTo>
                      <a:lnTo>
                        <a:pt x="0" y="3253"/>
                      </a:lnTo>
                      <a:cubicBezTo>
                        <a:pt x="14625" y="1100"/>
                        <a:pt x="29859" y="23"/>
                        <a:pt x="45233" y="0"/>
                      </a:cubicBezTo>
                      <a:cubicBezTo>
                        <a:pt x="60677" y="23"/>
                        <a:pt x="75887" y="1076"/>
                        <a:pt x="90512" y="3253"/>
                      </a:cubicBezTo>
                      <a:lnTo>
                        <a:pt x="84428" y="44460"/>
                      </a:lnTo>
                      <a:close/>
                    </a:path>
                  </a:pathLst>
                </a:custGeom>
                <a:solidFill>
                  <a:srgbClr val="B1B8CC"/>
                </a:solidFill>
                <a:ln w="2339"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C5B55BA-6298-5E03-56E1-BC001D8A8023}"/>
                    </a:ext>
                  </a:extLst>
                </p:cNvPr>
                <p:cNvSpPr/>
                <p:nvPr userDrawn="1"/>
              </p:nvSpPr>
              <p:spPr>
                <a:xfrm>
                  <a:off x="8315884" y="4398907"/>
                  <a:ext cx="90488" cy="44436"/>
                </a:xfrm>
                <a:custGeom>
                  <a:avLst/>
                  <a:gdLst>
                    <a:gd name="connsiteX0" fmla="*/ 45279 w 90488"/>
                    <a:gd name="connsiteY0" fmla="*/ 44437 h 44436"/>
                    <a:gd name="connsiteX1" fmla="*/ 0 w 90488"/>
                    <a:gd name="connsiteY1" fmla="*/ 41208 h 44436"/>
                    <a:gd name="connsiteX2" fmla="*/ 6061 w 90488"/>
                    <a:gd name="connsiteY2" fmla="*/ 0 h 44436"/>
                    <a:gd name="connsiteX3" fmla="*/ 45279 w 90488"/>
                    <a:gd name="connsiteY3" fmla="*/ 2878 h 44436"/>
                    <a:gd name="connsiteX4" fmla="*/ 84428 w 90488"/>
                    <a:gd name="connsiteY4" fmla="*/ 0 h 44436"/>
                    <a:gd name="connsiteX5" fmla="*/ 90488 w 90488"/>
                    <a:gd name="connsiteY5" fmla="*/ 41208 h 44436"/>
                    <a:gd name="connsiteX6" fmla="*/ 45279 w 90488"/>
                    <a:gd name="connsiteY6" fmla="*/ 44437 h 4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8" h="44436">
                      <a:moveTo>
                        <a:pt x="45279" y="44437"/>
                      </a:moveTo>
                      <a:cubicBezTo>
                        <a:pt x="29835" y="44414"/>
                        <a:pt x="14625" y="43361"/>
                        <a:pt x="0" y="41208"/>
                      </a:cubicBezTo>
                      <a:lnTo>
                        <a:pt x="6061" y="0"/>
                      </a:lnTo>
                      <a:cubicBezTo>
                        <a:pt x="18720" y="1872"/>
                        <a:pt x="31918" y="2855"/>
                        <a:pt x="45279" y="2878"/>
                      </a:cubicBezTo>
                      <a:cubicBezTo>
                        <a:pt x="58594" y="2855"/>
                        <a:pt x="71768" y="1872"/>
                        <a:pt x="84428" y="0"/>
                      </a:cubicBezTo>
                      <a:lnTo>
                        <a:pt x="90488" y="41208"/>
                      </a:lnTo>
                      <a:cubicBezTo>
                        <a:pt x="75863" y="43361"/>
                        <a:pt x="60653" y="44414"/>
                        <a:pt x="45279" y="44437"/>
                      </a:cubicBezTo>
                      <a:close/>
                    </a:path>
                  </a:pathLst>
                </a:custGeom>
                <a:solidFill>
                  <a:srgbClr val="B1B8CC"/>
                </a:solidFill>
                <a:ln w="2339" cap="flat">
                  <a:noFill/>
                  <a:prstDash val="solid"/>
                  <a:miter/>
                </a:ln>
              </p:spPr>
              <p:txBody>
                <a:bodyPr rtlCol="0" anchor="ctr"/>
                <a:lstStyle/>
                <a:p>
                  <a:endParaRPr lang="en-US"/>
                </a:p>
              </p:txBody>
            </p:sp>
          </p:grpSp>
          <p:grpSp>
            <p:nvGrpSpPr>
              <p:cNvPr id="25" name="Graphic 4">
                <a:extLst>
                  <a:ext uri="{FF2B5EF4-FFF2-40B4-BE49-F238E27FC236}">
                    <a16:creationId xmlns:a16="http://schemas.microsoft.com/office/drawing/2014/main" id="{F51543B4-B646-2EB5-79C2-129CEBBE59B6}"/>
                  </a:ext>
                </a:extLst>
              </p:cNvPr>
              <p:cNvGrpSpPr/>
              <p:nvPr userDrawn="1"/>
            </p:nvGrpSpPr>
            <p:grpSpPr>
              <a:xfrm>
                <a:off x="8195045" y="4333223"/>
                <a:ext cx="332188" cy="107360"/>
                <a:chOff x="8195045" y="4333223"/>
                <a:chExt cx="332189" cy="107360"/>
              </a:xfrm>
            </p:grpSpPr>
            <p:grpSp>
              <p:nvGrpSpPr>
                <p:cNvPr id="26" name="Graphic 4">
                  <a:extLst>
                    <a:ext uri="{FF2B5EF4-FFF2-40B4-BE49-F238E27FC236}">
                      <a16:creationId xmlns:a16="http://schemas.microsoft.com/office/drawing/2014/main" id="{D81D0BA9-7100-FAB3-491E-2527FC434561}"/>
                    </a:ext>
                  </a:extLst>
                </p:cNvPr>
                <p:cNvGrpSpPr/>
                <p:nvPr userDrawn="1"/>
              </p:nvGrpSpPr>
              <p:grpSpPr>
                <a:xfrm>
                  <a:off x="8195045" y="4333223"/>
                  <a:ext cx="144893" cy="107360"/>
                  <a:chOff x="8195045" y="4333223"/>
                  <a:chExt cx="144893" cy="107359"/>
                </a:xfrm>
              </p:grpSpPr>
              <p:sp>
                <p:nvSpPr>
                  <p:cNvPr id="27" name="Freeform: Shape 26">
                    <a:extLst>
                      <a:ext uri="{FF2B5EF4-FFF2-40B4-BE49-F238E27FC236}">
                        <a16:creationId xmlns:a16="http://schemas.microsoft.com/office/drawing/2014/main" id="{0948CA29-F1EA-5323-4AC3-93C95AE6867A}"/>
                      </a:ext>
                    </a:extLst>
                  </p:cNvPr>
                  <p:cNvSpPr/>
                  <p:nvPr userDrawn="1"/>
                </p:nvSpPr>
                <p:spPr>
                  <a:xfrm>
                    <a:off x="8297842" y="439850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1B8CC"/>
                  </a:solidFill>
                  <a:ln w="2339"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6F42DCFC-1BC2-A01A-B27A-ACE57A5113D3}"/>
                      </a:ext>
                    </a:extLst>
                  </p:cNvPr>
                  <p:cNvSpPr/>
                  <p:nvPr userDrawn="1"/>
                </p:nvSpPr>
                <p:spPr>
                  <a:xfrm>
                    <a:off x="8297281" y="439843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1B8CC"/>
                  </a:solidFill>
                  <a:ln w="233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A63513B6-C4C7-5EBE-C4BF-DD48FBB60CBA}"/>
                      </a:ext>
                    </a:extLst>
                  </p:cNvPr>
                  <p:cNvSpPr/>
                  <p:nvPr userDrawn="1"/>
                </p:nvSpPr>
                <p:spPr>
                  <a:xfrm>
                    <a:off x="8296719" y="439834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2B9CC"/>
                  </a:solidFill>
                  <a:ln w="233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4CF84CFB-1D22-CFE4-7D7A-48AB9F7B3C68}"/>
                      </a:ext>
                    </a:extLst>
                  </p:cNvPr>
                  <p:cNvSpPr/>
                  <p:nvPr userDrawn="1"/>
                </p:nvSpPr>
                <p:spPr>
                  <a:xfrm>
                    <a:off x="8296158" y="43982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2B9CD"/>
                  </a:solidFill>
                  <a:ln w="2339"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5B4B2F5-FCAE-3043-50EC-C8474809FDF3}"/>
                      </a:ext>
                    </a:extLst>
                  </p:cNvPr>
                  <p:cNvSpPr/>
                  <p:nvPr userDrawn="1"/>
                </p:nvSpPr>
                <p:spPr>
                  <a:xfrm>
                    <a:off x="8295596" y="439818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2B9CD"/>
                  </a:solidFill>
                  <a:ln w="2339"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0A44563-27AF-2AC1-56B2-91251AA0EBC0}"/>
                      </a:ext>
                    </a:extLst>
                  </p:cNvPr>
                  <p:cNvSpPr/>
                  <p:nvPr userDrawn="1"/>
                </p:nvSpPr>
                <p:spPr>
                  <a:xfrm>
                    <a:off x="8295034" y="439808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3B9CD"/>
                  </a:solidFill>
                  <a:ln w="2339"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9C655716-1BBC-7C8A-66B6-9F4CAE778342}"/>
                      </a:ext>
                    </a:extLst>
                  </p:cNvPr>
                  <p:cNvSpPr/>
                  <p:nvPr userDrawn="1"/>
                </p:nvSpPr>
                <p:spPr>
                  <a:xfrm>
                    <a:off x="8294449" y="439799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47A8CC21-2223-A1B9-4DC5-FC3B50B21D43}"/>
                      </a:ext>
                    </a:extLst>
                  </p:cNvPr>
                  <p:cNvSpPr/>
                  <p:nvPr userDrawn="1"/>
                </p:nvSpPr>
                <p:spPr>
                  <a:xfrm>
                    <a:off x="8293888" y="43979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D"/>
                  </a:solidFill>
                  <a:ln w="2339"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042C32FA-1CA1-8506-E5E5-B486A7F5F6AE}"/>
                      </a:ext>
                    </a:extLst>
                  </p:cNvPr>
                  <p:cNvSpPr/>
                  <p:nvPr userDrawn="1"/>
                </p:nvSpPr>
                <p:spPr>
                  <a:xfrm>
                    <a:off x="8293326" y="43978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3BACE"/>
                  </a:solidFill>
                  <a:ln w="2339"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8F1B69FC-497F-C27D-8E64-B16EAA9C642C}"/>
                      </a:ext>
                    </a:extLst>
                  </p:cNvPr>
                  <p:cNvSpPr/>
                  <p:nvPr userDrawn="1"/>
                </p:nvSpPr>
                <p:spPr>
                  <a:xfrm>
                    <a:off x="8292764" y="439771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B201881B-EE47-C37C-990E-183C3FB41AA8}"/>
                      </a:ext>
                    </a:extLst>
                  </p:cNvPr>
                  <p:cNvSpPr/>
                  <p:nvPr userDrawn="1"/>
                </p:nvSpPr>
                <p:spPr>
                  <a:xfrm>
                    <a:off x="8292203" y="43976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4BBCE"/>
                  </a:solidFill>
                  <a:ln w="2339"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7555418D-BCF3-113B-6424-F63F942B29A3}"/>
                      </a:ext>
                    </a:extLst>
                  </p:cNvPr>
                  <p:cNvSpPr/>
                  <p:nvPr userDrawn="1"/>
                </p:nvSpPr>
                <p:spPr>
                  <a:xfrm>
                    <a:off x="8291641" y="439752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4BBCE"/>
                  </a:solidFill>
                  <a:ln w="2339"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EEA0CC4-E6DE-3107-36F8-F3943C4DCD4D}"/>
                      </a:ext>
                    </a:extLst>
                  </p:cNvPr>
                  <p:cNvSpPr/>
                  <p:nvPr userDrawn="1"/>
                </p:nvSpPr>
                <p:spPr>
                  <a:xfrm>
                    <a:off x="8291080" y="439743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5BBCE"/>
                  </a:solidFill>
                  <a:ln w="2339"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77C7ADB-EC11-0C0B-65CB-63BFB1118E50}"/>
                      </a:ext>
                    </a:extLst>
                  </p:cNvPr>
                  <p:cNvSpPr/>
                  <p:nvPr userDrawn="1"/>
                </p:nvSpPr>
                <p:spPr>
                  <a:xfrm>
                    <a:off x="8290518" y="439731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5BCCF"/>
                  </a:solidFill>
                  <a:ln w="2339"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B9D84B9A-DAB9-69A7-C045-994A3F9747C7}"/>
                      </a:ext>
                    </a:extLst>
                  </p:cNvPr>
                  <p:cNvSpPr/>
                  <p:nvPr userDrawn="1"/>
                </p:nvSpPr>
                <p:spPr>
                  <a:xfrm>
                    <a:off x="8289956" y="439722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5BCCF"/>
                  </a:solidFill>
                  <a:ln w="2339"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CCE84C10-F79F-860B-5BB8-25FBC4DF75F1}"/>
                      </a:ext>
                    </a:extLst>
                  </p:cNvPr>
                  <p:cNvSpPr/>
                  <p:nvPr userDrawn="1"/>
                </p:nvSpPr>
                <p:spPr>
                  <a:xfrm>
                    <a:off x="8289418" y="439712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6BCCF"/>
                  </a:solidFill>
                  <a:ln w="2339"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14903043-909C-E7C9-21D6-7C1165A3F017}"/>
                      </a:ext>
                    </a:extLst>
                  </p:cNvPr>
                  <p:cNvSpPr/>
                  <p:nvPr userDrawn="1"/>
                </p:nvSpPr>
                <p:spPr>
                  <a:xfrm>
                    <a:off x="8288857" y="439701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6BCCF"/>
                  </a:solidFill>
                  <a:ln w="2339"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DA651C90-9546-9D98-A594-E21D97C37190}"/>
                      </a:ext>
                    </a:extLst>
                  </p:cNvPr>
                  <p:cNvSpPr/>
                  <p:nvPr userDrawn="1"/>
                </p:nvSpPr>
                <p:spPr>
                  <a:xfrm>
                    <a:off x="8288295" y="439691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6BDCF"/>
                  </a:solidFill>
                  <a:ln w="2339"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8304E13-6A30-7F03-595C-F7502DEA472E}"/>
                      </a:ext>
                    </a:extLst>
                  </p:cNvPr>
                  <p:cNvSpPr/>
                  <p:nvPr userDrawn="1"/>
                </p:nvSpPr>
                <p:spPr>
                  <a:xfrm>
                    <a:off x="8287733" y="43968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DD0"/>
                  </a:solidFill>
                  <a:ln w="2339"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44B7C382-3543-A689-2AAA-128718743CAD}"/>
                      </a:ext>
                    </a:extLst>
                  </p:cNvPr>
                  <p:cNvSpPr/>
                  <p:nvPr userDrawn="1"/>
                </p:nvSpPr>
                <p:spPr>
                  <a:xfrm>
                    <a:off x="8287172" y="439670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7BDD0"/>
                  </a:solidFill>
                  <a:ln w="2339"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0635088B-1798-BD17-98EF-41FF8BB59472}"/>
                      </a:ext>
                    </a:extLst>
                  </p:cNvPr>
                  <p:cNvSpPr/>
                  <p:nvPr userDrawn="1"/>
                </p:nvSpPr>
                <p:spPr>
                  <a:xfrm>
                    <a:off x="8286634" y="439659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240147AE-E4A5-4A94-272E-F01E251CF294}"/>
                      </a:ext>
                    </a:extLst>
                  </p:cNvPr>
                  <p:cNvSpPr/>
                  <p:nvPr userDrawn="1"/>
                </p:nvSpPr>
                <p:spPr>
                  <a:xfrm>
                    <a:off x="8286072" y="439647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7BED0"/>
                  </a:solidFill>
                  <a:ln w="2339"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6853573F-7F95-7E98-D535-6A7BB652403C}"/>
                      </a:ext>
                    </a:extLst>
                  </p:cNvPr>
                  <p:cNvSpPr/>
                  <p:nvPr userDrawn="1"/>
                </p:nvSpPr>
                <p:spPr>
                  <a:xfrm>
                    <a:off x="8285510" y="43963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8BED0"/>
                  </a:solidFill>
                  <a:ln w="2339"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3C13D6E3-DF26-AC8D-34F6-0B21EDDD5A3B}"/>
                      </a:ext>
                    </a:extLst>
                  </p:cNvPr>
                  <p:cNvSpPr/>
                  <p:nvPr userDrawn="1"/>
                </p:nvSpPr>
                <p:spPr>
                  <a:xfrm>
                    <a:off x="8284972" y="439626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8BED1"/>
                  </a:solidFill>
                  <a:ln w="2339"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75F1BAB0-AC7B-394A-2568-87A765642479}"/>
                      </a:ext>
                    </a:extLst>
                  </p:cNvPr>
                  <p:cNvSpPr/>
                  <p:nvPr userDrawn="1"/>
                </p:nvSpPr>
                <p:spPr>
                  <a:xfrm>
                    <a:off x="8284411" y="439614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8BFD1"/>
                  </a:solidFill>
                  <a:ln w="2339"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EA7FED37-08C5-27E2-D426-097F1FC55A57}"/>
                      </a:ext>
                    </a:extLst>
                  </p:cNvPr>
                  <p:cNvSpPr/>
                  <p:nvPr userDrawn="1"/>
                </p:nvSpPr>
                <p:spPr>
                  <a:xfrm>
                    <a:off x="8283849" y="43960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9BFD1"/>
                  </a:solidFill>
                  <a:ln w="2339"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6FEAD57-EB2A-D7C4-39C4-ADCF9738C510}"/>
                      </a:ext>
                    </a:extLst>
                  </p:cNvPr>
                  <p:cNvSpPr/>
                  <p:nvPr userDrawn="1"/>
                </p:nvSpPr>
                <p:spPr>
                  <a:xfrm>
                    <a:off x="8283311" y="439591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BFD1"/>
                  </a:solidFill>
                  <a:ln w="2339"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10F19B0-8E2E-790C-652B-49640C80EFC9}"/>
                      </a:ext>
                    </a:extLst>
                  </p:cNvPr>
                  <p:cNvSpPr/>
                  <p:nvPr userDrawn="1"/>
                </p:nvSpPr>
                <p:spPr>
                  <a:xfrm>
                    <a:off x="8282749" y="43957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9C0D1"/>
                  </a:solidFill>
                  <a:ln w="2339"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79CCB09A-9AF1-C4B6-4353-705004E92391}"/>
                      </a:ext>
                    </a:extLst>
                  </p:cNvPr>
                  <p:cNvSpPr/>
                  <p:nvPr userDrawn="1"/>
                </p:nvSpPr>
                <p:spPr>
                  <a:xfrm>
                    <a:off x="8282211" y="43956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B0DD83D-3F6D-33FA-9F6B-C77F13F2B825}"/>
                      </a:ext>
                    </a:extLst>
                  </p:cNvPr>
                  <p:cNvSpPr/>
                  <p:nvPr userDrawn="1"/>
                </p:nvSpPr>
                <p:spPr>
                  <a:xfrm>
                    <a:off x="8281649" y="43955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AC0D2"/>
                  </a:solidFill>
                  <a:ln w="2339"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73B83A36-011C-0F83-E5C8-D7A8D9D97550}"/>
                      </a:ext>
                    </a:extLst>
                  </p:cNvPr>
                  <p:cNvSpPr/>
                  <p:nvPr userDrawn="1"/>
                </p:nvSpPr>
                <p:spPr>
                  <a:xfrm>
                    <a:off x="8281111" y="439544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AC0D2"/>
                  </a:solidFill>
                  <a:ln w="2339"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E2BAB487-8EAF-2BFE-0EF2-27B540B1654F}"/>
                      </a:ext>
                    </a:extLst>
                  </p:cNvPr>
                  <p:cNvSpPr/>
                  <p:nvPr userDrawn="1"/>
                </p:nvSpPr>
                <p:spPr>
                  <a:xfrm>
                    <a:off x="8280550" y="439532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AC1D2"/>
                  </a:solidFill>
                  <a:ln w="2339"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33493F8B-E14E-BAE2-063E-2A633972C0F9}"/>
                      </a:ext>
                    </a:extLst>
                  </p:cNvPr>
                  <p:cNvSpPr/>
                  <p:nvPr userDrawn="1"/>
                </p:nvSpPr>
                <p:spPr>
                  <a:xfrm>
                    <a:off x="8280011" y="43952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BBC1D2"/>
                  </a:solidFill>
                  <a:ln w="2339"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A43FAD8-3BE2-526F-7F08-29B0CED643D1}"/>
                      </a:ext>
                    </a:extLst>
                  </p:cNvPr>
                  <p:cNvSpPr/>
                  <p:nvPr userDrawn="1"/>
                </p:nvSpPr>
                <p:spPr>
                  <a:xfrm>
                    <a:off x="8279473" y="439506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BC1D3"/>
                  </a:solidFill>
                  <a:ln w="2339"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FF792E6-76F5-65D2-17D8-C77DCD9EEEAC}"/>
                      </a:ext>
                    </a:extLst>
                  </p:cNvPr>
                  <p:cNvSpPr/>
                  <p:nvPr userDrawn="1"/>
                </p:nvSpPr>
                <p:spPr>
                  <a:xfrm>
                    <a:off x="8278912" y="439495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BC1D3"/>
                  </a:solidFill>
                  <a:ln w="2339"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423FE69C-13D2-4228-0681-EF2E4554CD85}"/>
                      </a:ext>
                    </a:extLst>
                  </p:cNvPr>
                  <p:cNvSpPr/>
                  <p:nvPr userDrawn="1"/>
                </p:nvSpPr>
                <p:spPr>
                  <a:xfrm>
                    <a:off x="8278373" y="439483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E5982F0-67C7-986F-7CEB-D702236A1E9A}"/>
                      </a:ext>
                    </a:extLst>
                  </p:cNvPr>
                  <p:cNvSpPr/>
                  <p:nvPr userDrawn="1"/>
                </p:nvSpPr>
                <p:spPr>
                  <a:xfrm>
                    <a:off x="8277835" y="4394695"/>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CC2D3"/>
                  </a:solidFill>
                  <a:ln w="2339"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FD859D96-7AFE-D9B0-3F4B-191023BF2A09}"/>
                      </a:ext>
                    </a:extLst>
                  </p:cNvPr>
                  <p:cNvSpPr/>
                  <p:nvPr userDrawn="1"/>
                </p:nvSpPr>
                <p:spPr>
                  <a:xfrm>
                    <a:off x="8277297" y="43945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BCC2D3"/>
                  </a:solidFill>
                  <a:ln w="2339"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1B070C48-0FAF-B794-610A-E4EE5388919A}"/>
                      </a:ext>
                    </a:extLst>
                  </p:cNvPr>
                  <p:cNvSpPr/>
                  <p:nvPr userDrawn="1"/>
                </p:nvSpPr>
                <p:spPr>
                  <a:xfrm>
                    <a:off x="8276759" y="4394437"/>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DC3D4"/>
                  </a:solidFill>
                  <a:ln w="2339"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D30B3E50-F0B6-67B0-D133-2397C9C40CFC}"/>
                      </a:ext>
                    </a:extLst>
                  </p:cNvPr>
                  <p:cNvSpPr/>
                  <p:nvPr userDrawn="1"/>
                </p:nvSpPr>
                <p:spPr>
                  <a:xfrm>
                    <a:off x="8276197" y="439432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DC3D4"/>
                  </a:solidFill>
                  <a:ln w="2339"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51D518F5-FB44-66CE-246B-C435BA075BF0}"/>
                      </a:ext>
                    </a:extLst>
                  </p:cNvPr>
                  <p:cNvSpPr/>
                  <p:nvPr userDrawn="1"/>
                </p:nvSpPr>
                <p:spPr>
                  <a:xfrm>
                    <a:off x="8275659" y="43941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DC3D4"/>
                  </a:solidFill>
                  <a:ln w="2339"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9F301C91-75BE-40E6-8559-9A6D5754169C}"/>
                      </a:ext>
                    </a:extLst>
                  </p:cNvPr>
                  <p:cNvSpPr/>
                  <p:nvPr userDrawn="1"/>
                </p:nvSpPr>
                <p:spPr>
                  <a:xfrm>
                    <a:off x="8275121" y="43940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3D4"/>
                  </a:solidFill>
                  <a:ln w="2339"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95538C-DE1B-0243-362B-215068410555}"/>
                      </a:ext>
                    </a:extLst>
                  </p:cNvPr>
                  <p:cNvSpPr/>
                  <p:nvPr userDrawn="1"/>
                </p:nvSpPr>
                <p:spPr>
                  <a:xfrm>
                    <a:off x="8274583" y="439392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BEC4D4"/>
                  </a:solidFill>
                  <a:ln w="2339"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1189488-3C3C-68EE-A863-EF7C47CFEADC}"/>
                      </a:ext>
                    </a:extLst>
                  </p:cNvPr>
                  <p:cNvSpPr/>
                  <p:nvPr userDrawn="1"/>
                </p:nvSpPr>
                <p:spPr>
                  <a:xfrm>
                    <a:off x="8274044" y="439378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BEC4D5"/>
                  </a:solidFill>
                  <a:ln w="2339"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0C95FD9C-5BDB-801A-51BF-ADF7D808BF91}"/>
                      </a:ext>
                    </a:extLst>
                  </p:cNvPr>
                  <p:cNvSpPr/>
                  <p:nvPr userDrawn="1"/>
                </p:nvSpPr>
                <p:spPr>
                  <a:xfrm>
                    <a:off x="8273506" y="439364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BEC4D5"/>
                  </a:solidFill>
                  <a:ln w="2339"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6DA12769-5C14-5315-F99A-CFE2375E3938}"/>
                      </a:ext>
                    </a:extLst>
                  </p:cNvPr>
                  <p:cNvSpPr/>
                  <p:nvPr userDrawn="1"/>
                </p:nvSpPr>
                <p:spPr>
                  <a:xfrm>
                    <a:off x="8272991" y="439350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F79F2643-7724-7B3F-189D-0A89084A5480}"/>
                      </a:ext>
                    </a:extLst>
                  </p:cNvPr>
                  <p:cNvSpPr/>
                  <p:nvPr userDrawn="1"/>
                </p:nvSpPr>
                <p:spPr>
                  <a:xfrm>
                    <a:off x="8272453" y="43933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10B4A79F-157F-D5BF-E856-5D3945A69380}"/>
                      </a:ext>
                    </a:extLst>
                  </p:cNvPr>
                  <p:cNvSpPr/>
                  <p:nvPr userDrawn="1"/>
                </p:nvSpPr>
                <p:spPr>
                  <a:xfrm>
                    <a:off x="8271915" y="439322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BFC5D5"/>
                  </a:solidFill>
                  <a:ln w="2339"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369F2842-08D8-7323-0660-D046BA7329AF}"/>
                      </a:ext>
                    </a:extLst>
                  </p:cNvPr>
                  <p:cNvSpPr/>
                  <p:nvPr userDrawn="1"/>
                </p:nvSpPr>
                <p:spPr>
                  <a:xfrm>
                    <a:off x="8271377" y="439308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97"/>
                          <a:pt x="42097" y="32667"/>
                          <a:pt x="42097" y="21037"/>
                        </a:cubicBezTo>
                        <a:close/>
                      </a:path>
                    </a:pathLst>
                  </a:custGeom>
                  <a:solidFill>
                    <a:srgbClr val="C0C5D6"/>
                  </a:solidFill>
                  <a:ln w="2339"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EF84239-22A1-1C91-B6EE-C2C45BEA916C}"/>
                      </a:ext>
                    </a:extLst>
                  </p:cNvPr>
                  <p:cNvSpPr/>
                  <p:nvPr userDrawn="1"/>
                </p:nvSpPr>
                <p:spPr>
                  <a:xfrm>
                    <a:off x="8270862" y="439294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41059B14-5D18-A81C-AA2A-B759D4BDA850}"/>
                      </a:ext>
                    </a:extLst>
                  </p:cNvPr>
                  <p:cNvSpPr/>
                  <p:nvPr userDrawn="1"/>
                </p:nvSpPr>
                <p:spPr>
                  <a:xfrm>
                    <a:off x="8270324" y="439279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0C6D6"/>
                  </a:solidFill>
                  <a:ln w="2339"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D15EDBEA-A775-2F54-AEE7-E32AD11474C6}"/>
                      </a:ext>
                    </a:extLst>
                  </p:cNvPr>
                  <p:cNvSpPr/>
                  <p:nvPr userDrawn="1"/>
                </p:nvSpPr>
                <p:spPr>
                  <a:xfrm>
                    <a:off x="8269786" y="439265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1C6D6"/>
                  </a:solidFill>
                  <a:ln w="2339"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829B9D4-B293-DFE3-0172-17D88A206225}"/>
                      </a:ext>
                    </a:extLst>
                  </p:cNvPr>
                  <p:cNvSpPr/>
                  <p:nvPr userDrawn="1"/>
                </p:nvSpPr>
                <p:spPr>
                  <a:xfrm>
                    <a:off x="8269271" y="439251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1C6D6"/>
                  </a:solidFill>
                  <a:ln w="2339"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6849034D-102C-BBFF-3889-EA6DF18ED95B}"/>
                      </a:ext>
                    </a:extLst>
                  </p:cNvPr>
                  <p:cNvSpPr/>
                  <p:nvPr userDrawn="1"/>
                </p:nvSpPr>
                <p:spPr>
                  <a:xfrm>
                    <a:off x="8268733" y="439237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1C7D7"/>
                  </a:solidFill>
                  <a:ln w="2339"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402FF4B4-C6DE-55A2-90B3-E17057BDE2E5}"/>
                      </a:ext>
                    </a:extLst>
                  </p:cNvPr>
                  <p:cNvSpPr/>
                  <p:nvPr userDrawn="1"/>
                </p:nvSpPr>
                <p:spPr>
                  <a:xfrm>
                    <a:off x="8268218" y="439221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7D7"/>
                  </a:solidFill>
                  <a:ln w="2339"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3B50DCAD-063F-24C7-8566-5F9FE4C5DFDF}"/>
                      </a:ext>
                    </a:extLst>
                  </p:cNvPr>
                  <p:cNvSpPr/>
                  <p:nvPr userDrawn="1"/>
                </p:nvSpPr>
                <p:spPr>
                  <a:xfrm>
                    <a:off x="8267680" y="439207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67"/>
                          <a:pt x="42097" y="21037"/>
                        </a:cubicBezTo>
                        <a:close/>
                      </a:path>
                    </a:pathLst>
                  </a:custGeom>
                  <a:solidFill>
                    <a:srgbClr val="C2C7D7"/>
                  </a:solidFill>
                  <a:ln w="2339"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455D7766-8F28-03FF-2A5A-7FEDE7918F43}"/>
                      </a:ext>
                    </a:extLst>
                  </p:cNvPr>
                  <p:cNvSpPr/>
                  <p:nvPr userDrawn="1"/>
                </p:nvSpPr>
                <p:spPr>
                  <a:xfrm>
                    <a:off x="8267165" y="439191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2C8D7"/>
                  </a:solidFill>
                  <a:ln w="2339"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7D1E659B-C3FC-FEA4-C003-FF201157437E}"/>
                      </a:ext>
                    </a:extLst>
                  </p:cNvPr>
                  <p:cNvSpPr/>
                  <p:nvPr userDrawn="1"/>
                </p:nvSpPr>
                <p:spPr>
                  <a:xfrm>
                    <a:off x="8266650" y="439177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2C8D7"/>
                  </a:solidFill>
                  <a:ln w="2339"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81B30F5E-0A9D-E430-34D7-9E8119F931B5}"/>
                      </a:ext>
                    </a:extLst>
                  </p:cNvPr>
                  <p:cNvSpPr/>
                  <p:nvPr userDrawn="1"/>
                </p:nvSpPr>
                <p:spPr>
                  <a:xfrm>
                    <a:off x="8266112" y="4391629"/>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90" y="42074"/>
                          <a:pt x="42097" y="32643"/>
                          <a:pt x="42097" y="21037"/>
                        </a:cubicBezTo>
                        <a:close/>
                      </a:path>
                    </a:pathLst>
                  </a:custGeom>
                  <a:solidFill>
                    <a:srgbClr val="C3C8D8"/>
                  </a:solidFill>
                  <a:ln w="2339"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2B2B6BA5-6C57-DBCA-34A6-2153CE2C659A}"/>
                      </a:ext>
                    </a:extLst>
                  </p:cNvPr>
                  <p:cNvSpPr/>
                  <p:nvPr userDrawn="1"/>
                </p:nvSpPr>
                <p:spPr>
                  <a:xfrm>
                    <a:off x="8265597" y="4391466"/>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3C8D8"/>
                  </a:solidFill>
                  <a:ln w="2339"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EE056D1E-BBC7-CE0A-FBDD-D1F8E34BD9F2}"/>
                      </a:ext>
                    </a:extLst>
                  </p:cNvPr>
                  <p:cNvSpPr/>
                  <p:nvPr userDrawn="1"/>
                </p:nvSpPr>
                <p:spPr>
                  <a:xfrm>
                    <a:off x="8265082" y="4391302"/>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3C9D8"/>
                  </a:solidFill>
                  <a:ln w="2339"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188700DB-EDC7-B2BB-EA0B-6AC2790ECA25}"/>
                      </a:ext>
                    </a:extLst>
                  </p:cNvPr>
                  <p:cNvSpPr/>
                  <p:nvPr userDrawn="1"/>
                </p:nvSpPr>
                <p:spPr>
                  <a:xfrm>
                    <a:off x="8264567" y="4391161"/>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4C9D8"/>
                  </a:solidFill>
                  <a:ln w="233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9F1F3101-56C6-C2B3-D599-1608AE5BC983}"/>
                      </a:ext>
                    </a:extLst>
                  </p:cNvPr>
                  <p:cNvSpPr/>
                  <p:nvPr userDrawn="1"/>
                </p:nvSpPr>
                <p:spPr>
                  <a:xfrm>
                    <a:off x="8264052" y="4390998"/>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9D8"/>
                  </a:solidFill>
                  <a:ln w="2339"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9636668D-E9CF-9742-27C3-501716595CB2}"/>
                      </a:ext>
                    </a:extLst>
                  </p:cNvPr>
                  <p:cNvSpPr/>
                  <p:nvPr userDrawn="1"/>
                </p:nvSpPr>
                <p:spPr>
                  <a:xfrm>
                    <a:off x="8263538" y="4390834"/>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97"/>
                          <a:pt x="42097" y="32667"/>
                          <a:pt x="42097" y="21037"/>
                        </a:cubicBezTo>
                        <a:close/>
                      </a:path>
                    </a:pathLst>
                  </a:custGeom>
                  <a:solidFill>
                    <a:srgbClr val="C4CAD9"/>
                  </a:solidFill>
                  <a:ln w="2339"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8C45112E-9A19-5812-1D44-AF758C5C8791}"/>
                      </a:ext>
                    </a:extLst>
                  </p:cNvPr>
                  <p:cNvSpPr/>
                  <p:nvPr userDrawn="1"/>
                </p:nvSpPr>
                <p:spPr>
                  <a:xfrm>
                    <a:off x="8263023" y="4390693"/>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43"/>
                          <a:pt x="42097" y="21037"/>
                        </a:cubicBezTo>
                        <a:close/>
                      </a:path>
                    </a:pathLst>
                  </a:custGeom>
                  <a:solidFill>
                    <a:srgbClr val="C5CAD9"/>
                  </a:solidFill>
                  <a:ln w="2339"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53BAB46-1C04-5E6E-0858-55EC07464F02}"/>
                      </a:ext>
                    </a:extLst>
                  </p:cNvPr>
                  <p:cNvSpPr/>
                  <p:nvPr userDrawn="1"/>
                </p:nvSpPr>
                <p:spPr>
                  <a:xfrm>
                    <a:off x="8262508" y="4390530"/>
                    <a:ext cx="42096" cy="42073"/>
                  </a:xfrm>
                  <a:custGeom>
                    <a:avLst/>
                    <a:gdLst>
                      <a:gd name="connsiteX0" fmla="*/ 42097 w 42096"/>
                      <a:gd name="connsiteY0" fmla="*/ 21037 h 42073"/>
                      <a:gd name="connsiteX1" fmla="*/ 21060 w 42096"/>
                      <a:gd name="connsiteY1" fmla="*/ 0 h 42073"/>
                      <a:gd name="connsiteX2" fmla="*/ 0 w 42096"/>
                      <a:gd name="connsiteY2" fmla="*/ 21037 h 42073"/>
                      <a:gd name="connsiteX3" fmla="*/ 21060 w 42096"/>
                      <a:gd name="connsiteY3" fmla="*/ 42074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9430"/>
                          <a:pt x="32667" y="0"/>
                          <a:pt x="21060" y="0"/>
                        </a:cubicBezTo>
                        <a:cubicBezTo>
                          <a:pt x="9430" y="0"/>
                          <a:pt x="0" y="9430"/>
                          <a:pt x="0" y="21037"/>
                        </a:cubicBezTo>
                        <a:cubicBezTo>
                          <a:pt x="0" y="32667"/>
                          <a:pt x="9430" y="42074"/>
                          <a:pt x="21060" y="42074"/>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66B1D75C-BEFC-F70C-7378-D8850C92DC5D}"/>
                      </a:ext>
                    </a:extLst>
                  </p:cNvPr>
                  <p:cNvSpPr/>
                  <p:nvPr userDrawn="1"/>
                </p:nvSpPr>
                <p:spPr>
                  <a:xfrm>
                    <a:off x="8261993" y="43903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AD9"/>
                  </a:solidFill>
                  <a:ln w="2339"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3172E871-A650-A111-0D7A-F9E5B51317FD}"/>
                      </a:ext>
                    </a:extLst>
                  </p:cNvPr>
                  <p:cNvSpPr/>
                  <p:nvPr userDrawn="1"/>
                </p:nvSpPr>
                <p:spPr>
                  <a:xfrm>
                    <a:off x="8261478" y="43902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5CBD9"/>
                  </a:solidFill>
                  <a:ln w="2339"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5C7AF20C-E447-F17C-C73F-85B65C31A13F}"/>
                      </a:ext>
                    </a:extLst>
                  </p:cNvPr>
                  <p:cNvSpPr/>
                  <p:nvPr userDrawn="1"/>
                </p:nvSpPr>
                <p:spPr>
                  <a:xfrm>
                    <a:off x="8260964" y="439003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6CBDA"/>
                  </a:solidFill>
                  <a:ln w="2339"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7E1495C9-DB5B-061E-868E-0FE1CEC3C89E}"/>
                      </a:ext>
                    </a:extLst>
                  </p:cNvPr>
                  <p:cNvSpPr/>
                  <p:nvPr userDrawn="1"/>
                </p:nvSpPr>
                <p:spPr>
                  <a:xfrm>
                    <a:off x="8260472" y="43898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6CBDA"/>
                  </a:solidFill>
                  <a:ln w="2339"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9DBB5C34-6BDF-EDB5-703F-5EA3B3529C09}"/>
                      </a:ext>
                    </a:extLst>
                  </p:cNvPr>
                  <p:cNvSpPr/>
                  <p:nvPr userDrawn="1"/>
                </p:nvSpPr>
                <p:spPr>
                  <a:xfrm>
                    <a:off x="8259957" y="438971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6CBDA"/>
                  </a:solidFill>
                  <a:ln w="2339"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06ED34C-9879-A40F-EF6A-577C9281E385}"/>
                      </a:ext>
                    </a:extLst>
                  </p:cNvPr>
                  <p:cNvSpPr/>
                  <p:nvPr userDrawn="1"/>
                </p:nvSpPr>
                <p:spPr>
                  <a:xfrm>
                    <a:off x="8259443" y="438954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7CCDA"/>
                  </a:solidFill>
                  <a:ln w="2339"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E3D1304D-726C-F70F-7EA2-6EBF7429C477}"/>
                      </a:ext>
                    </a:extLst>
                  </p:cNvPr>
                  <p:cNvSpPr/>
                  <p:nvPr userDrawn="1"/>
                </p:nvSpPr>
                <p:spPr>
                  <a:xfrm>
                    <a:off x="8258951" y="438938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7CCDA"/>
                  </a:solidFill>
                  <a:ln w="2339"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FF54C1F2-633F-9569-BDFE-3F9BF1F95A6A}"/>
                      </a:ext>
                    </a:extLst>
                  </p:cNvPr>
                  <p:cNvSpPr/>
                  <p:nvPr userDrawn="1"/>
                </p:nvSpPr>
                <p:spPr>
                  <a:xfrm>
                    <a:off x="8258436" y="43892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7CCDB"/>
                  </a:solidFill>
                  <a:ln w="2339"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89FF5A25-9475-E936-0401-4598B6F2ED60}"/>
                      </a:ext>
                    </a:extLst>
                  </p:cNvPr>
                  <p:cNvSpPr/>
                  <p:nvPr userDrawn="1"/>
                </p:nvSpPr>
                <p:spPr>
                  <a:xfrm>
                    <a:off x="8257945" y="43890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8CDDB"/>
                  </a:solidFill>
                  <a:ln w="2339"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4156AE-9CC4-A0BB-29E6-FF8F7EF8438B}"/>
                      </a:ext>
                    </a:extLst>
                  </p:cNvPr>
                  <p:cNvSpPr/>
                  <p:nvPr userDrawn="1"/>
                </p:nvSpPr>
                <p:spPr>
                  <a:xfrm>
                    <a:off x="8257430" y="438886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8CDDB"/>
                  </a:solidFill>
                  <a:ln w="2339"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91BB52-0EB7-AEA1-3CB2-CA6EF608CF63}"/>
                      </a:ext>
                    </a:extLst>
                  </p:cNvPr>
                  <p:cNvSpPr/>
                  <p:nvPr userDrawn="1"/>
                </p:nvSpPr>
                <p:spPr>
                  <a:xfrm>
                    <a:off x="8256939" y="43887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8CDDB"/>
                  </a:solidFill>
                  <a:ln w="2339"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8F15B7D0-4202-E5A9-D6D1-84C26373E4C3}"/>
                      </a:ext>
                    </a:extLst>
                  </p:cNvPr>
                  <p:cNvSpPr/>
                  <p:nvPr userDrawn="1"/>
                </p:nvSpPr>
                <p:spPr>
                  <a:xfrm>
                    <a:off x="8256447" y="438851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DDB"/>
                  </a:solidFill>
                  <a:ln w="2339"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B1C4A633-80F2-AD5D-E202-EE36B7FB4E3E}"/>
                      </a:ext>
                    </a:extLst>
                  </p:cNvPr>
                  <p:cNvSpPr/>
                  <p:nvPr userDrawn="1"/>
                </p:nvSpPr>
                <p:spPr>
                  <a:xfrm>
                    <a:off x="8255956" y="43883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9CEDC"/>
                  </a:solidFill>
                  <a:ln w="2339"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4DC88251-B9B4-EFFD-0EBB-CB09296CECBC}"/>
                      </a:ext>
                    </a:extLst>
                  </p:cNvPr>
                  <p:cNvSpPr/>
                  <p:nvPr userDrawn="1"/>
                </p:nvSpPr>
                <p:spPr>
                  <a:xfrm>
                    <a:off x="8255465" y="43881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9CEDC"/>
                  </a:solidFill>
                  <a:ln w="2339"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7DD8E78E-526B-E91C-6381-24D579B3807F}"/>
                      </a:ext>
                    </a:extLst>
                  </p:cNvPr>
                  <p:cNvSpPr/>
                  <p:nvPr userDrawn="1"/>
                </p:nvSpPr>
                <p:spPr>
                  <a:xfrm>
                    <a:off x="8254950" y="438800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9CEDC"/>
                  </a:solidFill>
                  <a:ln w="2339"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ADA26229-E89E-6513-A8E8-0726D80E8FB3}"/>
                      </a:ext>
                    </a:extLst>
                  </p:cNvPr>
                  <p:cNvSpPr/>
                  <p:nvPr userDrawn="1"/>
                </p:nvSpPr>
                <p:spPr>
                  <a:xfrm>
                    <a:off x="8254458" y="43878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ACFDC"/>
                  </a:solidFill>
                  <a:ln w="2339"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E19F32E2-F0A4-CF5B-A6AD-6AFC967A98E7}"/>
                      </a:ext>
                    </a:extLst>
                  </p:cNvPr>
                  <p:cNvSpPr/>
                  <p:nvPr userDrawn="1"/>
                </p:nvSpPr>
                <p:spPr>
                  <a:xfrm>
                    <a:off x="8253967" y="4387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CACFDC"/>
                  </a:solidFill>
                  <a:ln w="2339"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52FE1E2C-68AC-657F-5E67-326E4C9C064E}"/>
                      </a:ext>
                    </a:extLst>
                  </p:cNvPr>
                  <p:cNvSpPr/>
                  <p:nvPr userDrawn="1"/>
                </p:nvSpPr>
                <p:spPr>
                  <a:xfrm>
                    <a:off x="8253499" y="43874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ACFDD"/>
                  </a:solidFill>
                  <a:ln w="2339"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C9C3E0E9-1AA4-5F17-75AE-D7864AFC73F2}"/>
                      </a:ext>
                    </a:extLst>
                  </p:cNvPr>
                  <p:cNvSpPr/>
                  <p:nvPr userDrawn="1"/>
                </p:nvSpPr>
                <p:spPr>
                  <a:xfrm>
                    <a:off x="8253008" y="438730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BCFDD"/>
                  </a:solidFill>
                  <a:ln w="2339"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DA3DA573-A534-EFF2-D1B3-FBBEFEA9118E}"/>
                      </a:ext>
                    </a:extLst>
                  </p:cNvPr>
                  <p:cNvSpPr/>
                  <p:nvPr userDrawn="1"/>
                </p:nvSpPr>
                <p:spPr>
                  <a:xfrm>
                    <a:off x="8252516" y="43871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BD0DD"/>
                  </a:solidFill>
                  <a:ln w="2339"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D3620381-EC2E-F258-AE41-1258CBDEA4E8}"/>
                      </a:ext>
                    </a:extLst>
                  </p:cNvPr>
                  <p:cNvSpPr/>
                  <p:nvPr userDrawn="1"/>
                </p:nvSpPr>
                <p:spPr>
                  <a:xfrm>
                    <a:off x="8252025" y="43869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CBD0DD"/>
                  </a:solidFill>
                  <a:ln w="2339"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B8E2D03-A592-4BF0-1E38-A90A93AEFEC1}"/>
                      </a:ext>
                    </a:extLst>
                  </p:cNvPr>
                  <p:cNvSpPr/>
                  <p:nvPr userDrawn="1"/>
                </p:nvSpPr>
                <p:spPr>
                  <a:xfrm>
                    <a:off x="8251557" y="43867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D"/>
                  </a:solidFill>
                  <a:ln w="2339"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B395B38F-36B3-621A-128F-72C1AF190DFD}"/>
                      </a:ext>
                    </a:extLst>
                  </p:cNvPr>
                  <p:cNvSpPr/>
                  <p:nvPr userDrawn="1"/>
                </p:nvSpPr>
                <p:spPr>
                  <a:xfrm>
                    <a:off x="8251065" y="438655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CD0DE"/>
                  </a:solidFill>
                  <a:ln w="2339"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6D5F45F9-4B00-6D8D-5E86-C16921CDD972}"/>
                      </a:ext>
                    </a:extLst>
                  </p:cNvPr>
                  <p:cNvSpPr/>
                  <p:nvPr userDrawn="1"/>
                </p:nvSpPr>
                <p:spPr>
                  <a:xfrm>
                    <a:off x="8250574" y="4386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CD1DE"/>
                  </a:solidFill>
                  <a:ln w="2339"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7D43D512-3EE2-ADB5-F34C-23E811FFC186}"/>
                      </a:ext>
                    </a:extLst>
                  </p:cNvPr>
                  <p:cNvSpPr/>
                  <p:nvPr userDrawn="1"/>
                </p:nvSpPr>
                <p:spPr>
                  <a:xfrm>
                    <a:off x="8250106" y="43862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88B83B20-7320-3890-BB35-C0208A563498}"/>
                      </a:ext>
                    </a:extLst>
                  </p:cNvPr>
                  <p:cNvSpPr/>
                  <p:nvPr userDrawn="1"/>
                </p:nvSpPr>
                <p:spPr>
                  <a:xfrm>
                    <a:off x="8249638" y="438601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1DE"/>
                  </a:solidFill>
                  <a:ln w="2339"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4C34CC4E-DFE6-EE8A-F33F-D209F8EA17AB}"/>
                      </a:ext>
                    </a:extLst>
                  </p:cNvPr>
                  <p:cNvSpPr/>
                  <p:nvPr userDrawn="1"/>
                </p:nvSpPr>
                <p:spPr>
                  <a:xfrm>
                    <a:off x="8249147" y="43858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CDD2DE"/>
                  </a:solidFill>
                  <a:ln w="2339"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2BEBE90C-35D5-FCC7-A352-C82A8DFC9790}"/>
                      </a:ext>
                    </a:extLst>
                  </p:cNvPr>
                  <p:cNvSpPr/>
                  <p:nvPr userDrawn="1"/>
                </p:nvSpPr>
                <p:spPr>
                  <a:xfrm>
                    <a:off x="8248679" y="4385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DD2DF"/>
                  </a:solidFill>
                  <a:ln w="2339"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439E64F6-E32E-4F1B-38FA-7C610158E70E}"/>
                      </a:ext>
                    </a:extLst>
                  </p:cNvPr>
                  <p:cNvSpPr/>
                  <p:nvPr userDrawn="1"/>
                </p:nvSpPr>
                <p:spPr>
                  <a:xfrm>
                    <a:off x="8248211" y="43854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8CE1AF12-98B4-E5E6-20F2-0C2F40E9A42B}"/>
                      </a:ext>
                    </a:extLst>
                  </p:cNvPr>
                  <p:cNvSpPr/>
                  <p:nvPr userDrawn="1"/>
                </p:nvSpPr>
                <p:spPr>
                  <a:xfrm>
                    <a:off x="8247743" y="43852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2DF"/>
                  </a:solidFill>
                  <a:ln w="2339"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A752A530-54F0-DB07-6FF6-5D7BF59D4D7F}"/>
                      </a:ext>
                    </a:extLst>
                  </p:cNvPr>
                  <p:cNvSpPr/>
                  <p:nvPr userDrawn="1"/>
                </p:nvSpPr>
                <p:spPr>
                  <a:xfrm>
                    <a:off x="8247275" y="438505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ED3DF"/>
                  </a:solidFill>
                  <a:ln w="2339"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B996F33B-2B09-EA54-3885-AC4187A682AD}"/>
                      </a:ext>
                    </a:extLst>
                  </p:cNvPr>
                  <p:cNvSpPr/>
                  <p:nvPr userDrawn="1"/>
                </p:nvSpPr>
                <p:spPr>
                  <a:xfrm>
                    <a:off x="8246807" y="438486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CFD3DF"/>
                  </a:solidFill>
                  <a:ln w="2339"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1B202053-9904-90D5-E4AE-F77B50D647E3}"/>
                      </a:ext>
                    </a:extLst>
                  </p:cNvPr>
                  <p:cNvSpPr/>
                  <p:nvPr userDrawn="1"/>
                </p:nvSpPr>
                <p:spPr>
                  <a:xfrm>
                    <a:off x="8246339" y="43846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CFD3E0"/>
                  </a:solidFill>
                  <a:ln w="2339"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FC585E9-4BCC-9EAB-444A-3256CF155865}"/>
                      </a:ext>
                    </a:extLst>
                  </p:cNvPr>
                  <p:cNvSpPr/>
                  <p:nvPr userDrawn="1"/>
                </p:nvSpPr>
                <p:spPr>
                  <a:xfrm>
                    <a:off x="8245871" y="43844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CFD4E0"/>
                  </a:solidFill>
                  <a:ln w="2339"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D4D95733-D1CC-8A60-2AAD-AED90FF1DAB0}"/>
                      </a:ext>
                    </a:extLst>
                  </p:cNvPr>
                  <p:cNvSpPr/>
                  <p:nvPr userDrawn="1"/>
                </p:nvSpPr>
                <p:spPr>
                  <a:xfrm>
                    <a:off x="8245403" y="43842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0D4E0"/>
                  </a:solidFill>
                  <a:ln w="2339"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777683B3-DC6D-61C2-7B8B-6179356A7383}"/>
                      </a:ext>
                    </a:extLst>
                  </p:cNvPr>
                  <p:cNvSpPr/>
                  <p:nvPr userDrawn="1"/>
                </p:nvSpPr>
                <p:spPr>
                  <a:xfrm>
                    <a:off x="8244935" y="438409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0D4E0"/>
                  </a:solidFill>
                  <a:ln w="2339"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6EE9522D-1FA3-D256-0297-A4B2DEBCCF9E}"/>
                      </a:ext>
                    </a:extLst>
                  </p:cNvPr>
                  <p:cNvSpPr/>
                  <p:nvPr userDrawn="1"/>
                </p:nvSpPr>
                <p:spPr>
                  <a:xfrm>
                    <a:off x="8244490" y="43838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0D4E0"/>
                  </a:solidFill>
                  <a:ln w="2339"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4E8E1E33-6B67-5482-3108-8945AD1D0D9D}"/>
                      </a:ext>
                    </a:extLst>
                  </p:cNvPr>
                  <p:cNvSpPr/>
                  <p:nvPr userDrawn="1"/>
                </p:nvSpPr>
                <p:spPr>
                  <a:xfrm>
                    <a:off x="8244022" y="43836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F2CA6D24-78AF-C896-741F-94D568F4FDD6}"/>
                      </a:ext>
                    </a:extLst>
                  </p:cNvPr>
                  <p:cNvSpPr/>
                  <p:nvPr userDrawn="1"/>
                </p:nvSpPr>
                <p:spPr>
                  <a:xfrm>
                    <a:off x="8243577" y="43834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1D5E1"/>
                  </a:solidFill>
                  <a:ln w="2339"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620A47D3-00B8-8945-4DBA-472F87631E2B}"/>
                      </a:ext>
                    </a:extLst>
                  </p:cNvPr>
                  <p:cNvSpPr/>
                  <p:nvPr userDrawn="1"/>
                </p:nvSpPr>
                <p:spPr>
                  <a:xfrm>
                    <a:off x="8243109" y="438329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1D5E1"/>
                  </a:solidFill>
                  <a:ln w="2339"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0E1AAE15-2A0F-EACE-A547-D30DED052214}"/>
                      </a:ext>
                    </a:extLst>
                  </p:cNvPr>
                  <p:cNvSpPr/>
                  <p:nvPr userDrawn="1"/>
                </p:nvSpPr>
                <p:spPr>
                  <a:xfrm>
                    <a:off x="8242665" y="43830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1D6E1"/>
                  </a:solidFill>
                  <a:ln w="2339"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A5001617-2A5F-68ED-80E3-FF38020640A8}"/>
                      </a:ext>
                    </a:extLst>
                  </p:cNvPr>
                  <p:cNvSpPr/>
                  <p:nvPr userDrawn="1"/>
                </p:nvSpPr>
                <p:spPr>
                  <a:xfrm>
                    <a:off x="8242220" y="43828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2D6E1"/>
                  </a:solidFill>
                  <a:ln w="2339"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AE5E9859-CCE2-D799-7EA6-D9D7BBFFEEAD}"/>
                      </a:ext>
                    </a:extLst>
                  </p:cNvPr>
                  <p:cNvSpPr/>
                  <p:nvPr userDrawn="1"/>
                </p:nvSpPr>
                <p:spPr>
                  <a:xfrm>
                    <a:off x="8241776" y="43826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2D6E2"/>
                  </a:solidFill>
                  <a:ln w="2339"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23D8204E-C59A-18F4-C702-D7BB5D929FC4}"/>
                      </a:ext>
                    </a:extLst>
                  </p:cNvPr>
                  <p:cNvSpPr/>
                  <p:nvPr userDrawn="1"/>
                </p:nvSpPr>
                <p:spPr>
                  <a:xfrm>
                    <a:off x="8241308" y="43824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2D6E2"/>
                  </a:solidFill>
                  <a:ln w="2339"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2F76516-44F3-249D-D8B4-DD56DC93B769}"/>
                      </a:ext>
                    </a:extLst>
                  </p:cNvPr>
                  <p:cNvSpPr/>
                  <p:nvPr userDrawn="1"/>
                </p:nvSpPr>
                <p:spPr>
                  <a:xfrm>
                    <a:off x="8240863" y="438226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CA2FA66-4AE0-9F5E-1EB6-ED1B1915F11F}"/>
                      </a:ext>
                    </a:extLst>
                  </p:cNvPr>
                  <p:cNvSpPr/>
                  <p:nvPr userDrawn="1"/>
                </p:nvSpPr>
                <p:spPr>
                  <a:xfrm>
                    <a:off x="8240418" y="438205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3D7E2"/>
                  </a:solidFill>
                  <a:ln w="2339"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5877F0AF-54E4-70C2-AC61-A29DAF051328}"/>
                      </a:ext>
                    </a:extLst>
                  </p:cNvPr>
                  <p:cNvSpPr/>
                  <p:nvPr userDrawn="1"/>
                </p:nvSpPr>
                <p:spPr>
                  <a:xfrm>
                    <a:off x="8239997" y="438184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3D7E2"/>
                  </a:solidFill>
                  <a:ln w="2339"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06F0436B-A1AC-8BB0-B44D-4625D97487F9}"/>
                      </a:ext>
                    </a:extLst>
                  </p:cNvPr>
                  <p:cNvSpPr/>
                  <p:nvPr userDrawn="1"/>
                </p:nvSpPr>
                <p:spPr>
                  <a:xfrm>
                    <a:off x="8239552" y="43816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4D7E3"/>
                  </a:solidFill>
                  <a:ln w="2339"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0D150B3B-78E2-B2FE-FDB0-4E6D2C8ADA4F}"/>
                      </a:ext>
                    </a:extLst>
                  </p:cNvPr>
                  <p:cNvSpPr/>
                  <p:nvPr userDrawn="1"/>
                </p:nvSpPr>
                <p:spPr>
                  <a:xfrm>
                    <a:off x="8239108" y="438145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419BEA29-D264-B79B-B5E6-956EA7DC5538}"/>
                      </a:ext>
                    </a:extLst>
                  </p:cNvPr>
                  <p:cNvSpPr/>
                  <p:nvPr userDrawn="1"/>
                </p:nvSpPr>
                <p:spPr>
                  <a:xfrm>
                    <a:off x="8238663" y="43812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4D8E3"/>
                  </a:solidFill>
                  <a:ln w="2339"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A44BAA69-4A7A-45E9-7C1E-5B97C6CCC6B5}"/>
                      </a:ext>
                    </a:extLst>
                  </p:cNvPr>
                  <p:cNvSpPr/>
                  <p:nvPr userDrawn="1"/>
                </p:nvSpPr>
                <p:spPr>
                  <a:xfrm>
                    <a:off x="8238242" y="438102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4D8E3"/>
                  </a:solidFill>
                  <a:ln w="2339"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B0D670CD-BCDA-62AB-81ED-8F91C179F774}"/>
                      </a:ext>
                    </a:extLst>
                  </p:cNvPr>
                  <p:cNvSpPr/>
                  <p:nvPr userDrawn="1"/>
                </p:nvSpPr>
                <p:spPr>
                  <a:xfrm>
                    <a:off x="8237797" y="43808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5D9E3"/>
                  </a:solidFill>
                  <a:ln w="2339"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77FA1BB-2879-858A-A156-216DD2544C97}"/>
                      </a:ext>
                    </a:extLst>
                  </p:cNvPr>
                  <p:cNvSpPr/>
                  <p:nvPr userDrawn="1"/>
                </p:nvSpPr>
                <p:spPr>
                  <a:xfrm>
                    <a:off x="8237376" y="438060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5D9E4"/>
                  </a:solidFill>
                  <a:ln w="2339"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BD769A55-FC8A-F50F-29E0-7635893564A5}"/>
                      </a:ext>
                    </a:extLst>
                  </p:cNvPr>
                  <p:cNvSpPr/>
                  <p:nvPr userDrawn="1"/>
                </p:nvSpPr>
                <p:spPr>
                  <a:xfrm>
                    <a:off x="8236932" y="438037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5D9E4"/>
                  </a:solidFill>
                  <a:ln w="2339"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7515514C-C7E4-8829-416A-0848F599CF3E}"/>
                      </a:ext>
                    </a:extLst>
                  </p:cNvPr>
                  <p:cNvSpPr/>
                  <p:nvPr userDrawn="1"/>
                </p:nvSpPr>
                <p:spPr>
                  <a:xfrm>
                    <a:off x="8236510" y="43801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6D9E4"/>
                  </a:solidFill>
                  <a:ln w="2339"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495819BC-B58B-0677-CEA2-4DD85CB0C24C}"/>
                      </a:ext>
                    </a:extLst>
                  </p:cNvPr>
                  <p:cNvSpPr/>
                  <p:nvPr userDrawn="1"/>
                </p:nvSpPr>
                <p:spPr>
                  <a:xfrm>
                    <a:off x="8236089" y="43799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6DAE4"/>
                  </a:solidFill>
                  <a:ln w="2339"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87784435-C46D-7227-C85A-ECC41D0C582C}"/>
                      </a:ext>
                    </a:extLst>
                  </p:cNvPr>
                  <p:cNvSpPr/>
                  <p:nvPr userDrawn="1"/>
                </p:nvSpPr>
                <p:spPr>
                  <a:xfrm>
                    <a:off x="8235668" y="43797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6DAE4"/>
                  </a:solidFill>
                  <a:ln w="2339"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67F594C7-6829-1693-5E71-866989326841}"/>
                      </a:ext>
                    </a:extLst>
                  </p:cNvPr>
                  <p:cNvSpPr/>
                  <p:nvPr userDrawn="1"/>
                </p:nvSpPr>
                <p:spPr>
                  <a:xfrm>
                    <a:off x="8235247" y="43795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7DAE5"/>
                  </a:solidFill>
                  <a:ln w="2339"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17BA0A2-9006-F78B-F5C2-0319B68183A9}"/>
                      </a:ext>
                    </a:extLst>
                  </p:cNvPr>
                  <p:cNvSpPr/>
                  <p:nvPr userDrawn="1"/>
                </p:nvSpPr>
                <p:spPr>
                  <a:xfrm>
                    <a:off x="8234826" y="43792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7DBE5"/>
                  </a:solidFill>
                  <a:ln w="2339"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00C0FE3-DD2E-EA35-80AB-EF60480DBB15}"/>
                      </a:ext>
                    </a:extLst>
                  </p:cNvPr>
                  <p:cNvSpPr/>
                  <p:nvPr userDrawn="1"/>
                </p:nvSpPr>
                <p:spPr>
                  <a:xfrm>
                    <a:off x="8234404" y="43790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7DBE5"/>
                  </a:solidFill>
                  <a:ln w="2339"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808D7DB1-F591-3542-7C46-05CA0C769351}"/>
                      </a:ext>
                    </a:extLst>
                  </p:cNvPr>
                  <p:cNvSpPr/>
                  <p:nvPr userDrawn="1"/>
                </p:nvSpPr>
                <p:spPr>
                  <a:xfrm>
                    <a:off x="8233983" y="43788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8DBE5"/>
                  </a:solidFill>
                  <a:ln w="2339"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3CB1170E-E1B6-3760-2873-648163861A50}"/>
                      </a:ext>
                    </a:extLst>
                  </p:cNvPr>
                  <p:cNvSpPr/>
                  <p:nvPr userDrawn="1"/>
                </p:nvSpPr>
                <p:spPr>
                  <a:xfrm>
                    <a:off x="8233585" y="43786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BE5"/>
                  </a:solidFill>
                  <a:ln w="2339"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8480305D-FE5F-12F0-A5BC-1F44071DB6E3}"/>
                      </a:ext>
                    </a:extLst>
                  </p:cNvPr>
                  <p:cNvSpPr/>
                  <p:nvPr userDrawn="1"/>
                </p:nvSpPr>
                <p:spPr>
                  <a:xfrm>
                    <a:off x="8233164" y="437843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8DCE6"/>
                  </a:solidFill>
                  <a:ln w="2339"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BDEF1486-2565-0B8F-E281-784B980A14F0}"/>
                      </a:ext>
                    </a:extLst>
                  </p:cNvPr>
                  <p:cNvSpPr/>
                  <p:nvPr userDrawn="1"/>
                </p:nvSpPr>
                <p:spPr>
                  <a:xfrm>
                    <a:off x="8232766" y="437819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8DCE6"/>
                  </a:solidFill>
                  <a:ln w="2339"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CE207E22-82EA-ED77-04B8-C4885FC677A1}"/>
                      </a:ext>
                    </a:extLst>
                  </p:cNvPr>
                  <p:cNvSpPr/>
                  <p:nvPr userDrawn="1"/>
                </p:nvSpPr>
                <p:spPr>
                  <a:xfrm>
                    <a:off x="8232345" y="43779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D9DCE6"/>
                  </a:solidFill>
                  <a:ln w="2339"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C41EA700-35E1-0D7D-86DD-A48E27EBDDE4}"/>
                      </a:ext>
                    </a:extLst>
                  </p:cNvPr>
                  <p:cNvSpPr/>
                  <p:nvPr userDrawn="1"/>
                </p:nvSpPr>
                <p:spPr>
                  <a:xfrm>
                    <a:off x="8231947" y="437775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CE6"/>
                  </a:solidFill>
                  <a:ln w="2339"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FEA4C86F-776E-F10B-830A-84F68885E1A0}"/>
                      </a:ext>
                    </a:extLst>
                  </p:cNvPr>
                  <p:cNvSpPr/>
                  <p:nvPr userDrawn="1"/>
                </p:nvSpPr>
                <p:spPr>
                  <a:xfrm>
                    <a:off x="8231550" y="437751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9DDE6"/>
                  </a:solidFill>
                  <a:ln w="2339"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98151E9C-021E-FA4E-0EC1-B9233B7763B2}"/>
                      </a:ext>
                    </a:extLst>
                  </p:cNvPr>
                  <p:cNvSpPr/>
                  <p:nvPr userDrawn="1"/>
                </p:nvSpPr>
                <p:spPr>
                  <a:xfrm>
                    <a:off x="8231152" y="43773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ADDE7"/>
                  </a:solidFill>
                  <a:ln w="2339"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6CA67D08-5F86-D5A9-6B78-BC2A5D3B8036}"/>
                      </a:ext>
                    </a:extLst>
                  </p:cNvPr>
                  <p:cNvSpPr/>
                  <p:nvPr userDrawn="1"/>
                </p:nvSpPr>
                <p:spPr>
                  <a:xfrm>
                    <a:off x="8230731" y="437707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DE7"/>
                  </a:solidFill>
                  <a:ln w="2339"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81063E14-E4F3-D809-0231-DE75BCE6D21A}"/>
                      </a:ext>
                    </a:extLst>
                  </p:cNvPr>
                  <p:cNvSpPr/>
                  <p:nvPr userDrawn="1"/>
                </p:nvSpPr>
                <p:spPr>
                  <a:xfrm>
                    <a:off x="8230333" y="437684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ADEE7"/>
                  </a:solidFill>
                  <a:ln w="2339"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0F507248-E028-64F6-13A3-BA06DD8D3E4F}"/>
                      </a:ext>
                    </a:extLst>
                  </p:cNvPr>
                  <p:cNvSpPr/>
                  <p:nvPr userDrawn="1"/>
                </p:nvSpPr>
                <p:spPr>
                  <a:xfrm>
                    <a:off x="8229958" y="43766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BDEE7"/>
                  </a:solidFill>
                  <a:ln w="2339"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D19C53DF-0AC2-C406-B017-C0FF7352C6A4}"/>
                      </a:ext>
                    </a:extLst>
                  </p:cNvPr>
                  <p:cNvSpPr/>
                  <p:nvPr userDrawn="1"/>
                </p:nvSpPr>
                <p:spPr>
                  <a:xfrm>
                    <a:off x="8229561" y="43763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BDEE7"/>
                  </a:solidFill>
                  <a:ln w="2339"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3BA99382-6C7E-0B4E-EDA8-F0DBEF3232E8}"/>
                      </a:ext>
                    </a:extLst>
                  </p:cNvPr>
                  <p:cNvSpPr/>
                  <p:nvPr userDrawn="1"/>
                </p:nvSpPr>
                <p:spPr>
                  <a:xfrm>
                    <a:off x="8229163" y="437616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BDEE8"/>
                  </a:solidFill>
                  <a:ln w="2339"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A5EEC98-A485-9DB4-0CCE-E7B4A1247DFA}"/>
                      </a:ext>
                    </a:extLst>
                  </p:cNvPr>
                  <p:cNvSpPr/>
                  <p:nvPr userDrawn="1"/>
                </p:nvSpPr>
                <p:spPr>
                  <a:xfrm>
                    <a:off x="8228765" y="437592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40F31ED3-CFBE-2814-633B-1C9C21D7F067}"/>
                      </a:ext>
                    </a:extLst>
                  </p:cNvPr>
                  <p:cNvSpPr/>
                  <p:nvPr userDrawn="1"/>
                </p:nvSpPr>
                <p:spPr>
                  <a:xfrm>
                    <a:off x="8228391" y="437569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CDFE8"/>
                  </a:solidFill>
                  <a:ln w="2339"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844BC83D-5F4B-CF30-DDB3-2D83B30C4423}"/>
                      </a:ext>
                    </a:extLst>
                  </p:cNvPr>
                  <p:cNvSpPr/>
                  <p:nvPr userDrawn="1"/>
                </p:nvSpPr>
                <p:spPr>
                  <a:xfrm>
                    <a:off x="8227993" y="437546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DFE8"/>
                  </a:solidFill>
                  <a:ln w="2339"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C4003866-A337-63A8-65EB-FBD807EC2472}"/>
                      </a:ext>
                    </a:extLst>
                  </p:cNvPr>
                  <p:cNvSpPr/>
                  <p:nvPr userDrawn="1"/>
                </p:nvSpPr>
                <p:spPr>
                  <a:xfrm>
                    <a:off x="8227618" y="43752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CE0E8"/>
                  </a:solidFill>
                  <a:ln w="2339"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1F41DB75-7D85-2863-8B24-0D00C15DAA68}"/>
                      </a:ext>
                    </a:extLst>
                  </p:cNvPr>
                  <p:cNvSpPr/>
                  <p:nvPr userDrawn="1"/>
                </p:nvSpPr>
                <p:spPr>
                  <a:xfrm>
                    <a:off x="8227244" y="437499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A20D138F-CB75-673E-C0C1-AC4D78C17C14}"/>
                      </a:ext>
                    </a:extLst>
                  </p:cNvPr>
                  <p:cNvSpPr/>
                  <p:nvPr userDrawn="1"/>
                </p:nvSpPr>
                <p:spPr>
                  <a:xfrm>
                    <a:off x="8226870" y="437475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9670DE8B-A8F9-ED5F-2B7B-BC430AD1DA9C}"/>
                      </a:ext>
                    </a:extLst>
                  </p:cNvPr>
                  <p:cNvSpPr/>
                  <p:nvPr userDrawn="1"/>
                </p:nvSpPr>
                <p:spPr>
                  <a:xfrm>
                    <a:off x="8226495" y="43745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DE0E9"/>
                  </a:solidFill>
                  <a:ln w="2339"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3ABF72E1-B8BC-572A-E5CE-CBDC6B3D1A0C}"/>
                      </a:ext>
                    </a:extLst>
                  </p:cNvPr>
                  <p:cNvSpPr/>
                  <p:nvPr userDrawn="1"/>
                </p:nvSpPr>
                <p:spPr>
                  <a:xfrm>
                    <a:off x="8226121" y="437429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EE1E9"/>
                  </a:solidFill>
                  <a:ln w="2339"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87319E8-0B85-479A-AFA0-4DC818AEE7EF}"/>
                      </a:ext>
                    </a:extLst>
                  </p:cNvPr>
                  <p:cNvSpPr/>
                  <p:nvPr userDrawn="1"/>
                </p:nvSpPr>
                <p:spPr>
                  <a:xfrm>
                    <a:off x="8225746" y="437405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DEE1E9"/>
                  </a:solidFill>
                  <a:ln w="2339"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3AB330C-F48F-82A7-473B-A84887B6C780}"/>
                      </a:ext>
                    </a:extLst>
                  </p:cNvPr>
                  <p:cNvSpPr/>
                  <p:nvPr userDrawn="1"/>
                </p:nvSpPr>
                <p:spPr>
                  <a:xfrm>
                    <a:off x="8225372" y="43738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43"/>
                          <a:pt x="42097" y="21037"/>
                        </a:cubicBezTo>
                        <a:close/>
                      </a:path>
                    </a:pathLst>
                  </a:custGeom>
                  <a:solidFill>
                    <a:srgbClr val="DEE1EA"/>
                  </a:solidFill>
                  <a:ln w="2339"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84D913E4-D106-D7B9-FD5A-446AA3E9582C}"/>
                      </a:ext>
                    </a:extLst>
                  </p:cNvPr>
                  <p:cNvSpPr/>
                  <p:nvPr userDrawn="1"/>
                </p:nvSpPr>
                <p:spPr>
                  <a:xfrm>
                    <a:off x="8224998" y="43735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DFE1EA"/>
                  </a:solidFill>
                  <a:ln w="2339"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1C3436EB-F631-080D-AE60-97C34CF1D292}"/>
                      </a:ext>
                    </a:extLst>
                  </p:cNvPr>
                  <p:cNvSpPr/>
                  <p:nvPr userDrawn="1"/>
                </p:nvSpPr>
                <p:spPr>
                  <a:xfrm>
                    <a:off x="8224647" y="43733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9035355C-2440-3976-9064-54B88D4AFA4A}"/>
                      </a:ext>
                    </a:extLst>
                  </p:cNvPr>
                  <p:cNvSpPr/>
                  <p:nvPr userDrawn="1"/>
                </p:nvSpPr>
                <p:spPr>
                  <a:xfrm>
                    <a:off x="8224272" y="437309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DFE2EA"/>
                  </a:solidFill>
                  <a:ln w="2339"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5C1BFD18-292B-9ADA-8F5E-CAA8EF07B031}"/>
                      </a:ext>
                    </a:extLst>
                  </p:cNvPr>
                  <p:cNvSpPr/>
                  <p:nvPr userDrawn="1"/>
                </p:nvSpPr>
                <p:spPr>
                  <a:xfrm>
                    <a:off x="8223921" y="43728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DFE2EA"/>
                  </a:solidFill>
                  <a:ln w="2339"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FE87D75E-9617-9D98-91C0-D86317E5A35A}"/>
                      </a:ext>
                    </a:extLst>
                  </p:cNvPr>
                  <p:cNvSpPr/>
                  <p:nvPr userDrawn="1"/>
                </p:nvSpPr>
                <p:spPr>
                  <a:xfrm>
                    <a:off x="8223570" y="43726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0E3EB"/>
                  </a:solidFill>
                  <a:ln w="2339"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F7ABC2D-5EF3-443A-0BD1-70659F64919A}"/>
                      </a:ext>
                    </a:extLst>
                  </p:cNvPr>
                  <p:cNvSpPr/>
                  <p:nvPr userDrawn="1"/>
                </p:nvSpPr>
                <p:spPr>
                  <a:xfrm>
                    <a:off x="8223196" y="437237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0E3EB"/>
                  </a:solidFill>
                  <a:ln w="2339"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96E23D1C-29E4-CE9E-DE65-3DAB5D9616EC}"/>
                      </a:ext>
                    </a:extLst>
                  </p:cNvPr>
                  <p:cNvSpPr/>
                  <p:nvPr userDrawn="1"/>
                </p:nvSpPr>
                <p:spPr>
                  <a:xfrm>
                    <a:off x="8222845" y="437211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0E3EB"/>
                  </a:solidFill>
                  <a:ln w="2339"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F0AA9324-1A9E-1338-739C-BE4D78515728}"/>
                      </a:ext>
                    </a:extLst>
                  </p:cNvPr>
                  <p:cNvSpPr/>
                  <p:nvPr userDrawn="1"/>
                </p:nvSpPr>
                <p:spPr>
                  <a:xfrm>
                    <a:off x="8222494" y="437188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1E3EB"/>
                  </a:solidFill>
                  <a:ln w="2339"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B863D5E8-335B-BD6E-8204-311169B21058}"/>
                      </a:ext>
                    </a:extLst>
                  </p:cNvPr>
                  <p:cNvSpPr/>
                  <p:nvPr userDrawn="1"/>
                </p:nvSpPr>
                <p:spPr>
                  <a:xfrm>
                    <a:off x="8222166" y="43716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1E4EB"/>
                  </a:solidFill>
                  <a:ln w="2339"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71D338DC-9071-0D71-3F25-A5B7AB1DDB30}"/>
                      </a:ext>
                    </a:extLst>
                  </p:cNvPr>
                  <p:cNvSpPr/>
                  <p:nvPr userDrawn="1"/>
                </p:nvSpPr>
                <p:spPr>
                  <a:xfrm>
                    <a:off x="8221815" y="437138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1E4EC"/>
                  </a:solidFill>
                  <a:ln w="2339"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92707191-62AE-AD21-971C-DC8CA385992D}"/>
                      </a:ext>
                    </a:extLst>
                  </p:cNvPr>
                  <p:cNvSpPr/>
                  <p:nvPr userDrawn="1"/>
                </p:nvSpPr>
                <p:spPr>
                  <a:xfrm>
                    <a:off x="8221464" y="437113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2E4EC"/>
                  </a:solidFill>
                  <a:ln w="2339"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1B617B35-FF8C-E300-0116-356310A7E4EA}"/>
                      </a:ext>
                    </a:extLst>
                  </p:cNvPr>
                  <p:cNvSpPr/>
                  <p:nvPr userDrawn="1"/>
                </p:nvSpPr>
                <p:spPr>
                  <a:xfrm>
                    <a:off x="8221113" y="437087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2E5EC"/>
                  </a:solidFill>
                  <a:ln w="2339"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9BFE5C7C-AC67-92BB-EEAD-640798643463}"/>
                      </a:ext>
                    </a:extLst>
                  </p:cNvPr>
                  <p:cNvSpPr/>
                  <p:nvPr userDrawn="1"/>
                </p:nvSpPr>
                <p:spPr>
                  <a:xfrm>
                    <a:off x="8220786" y="437063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2E5EC"/>
                  </a:solidFill>
                  <a:ln w="2339"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9783952E-BEEF-34D0-924D-A711F48C425B}"/>
                      </a:ext>
                    </a:extLst>
                  </p:cNvPr>
                  <p:cNvSpPr/>
                  <p:nvPr userDrawn="1"/>
                </p:nvSpPr>
                <p:spPr>
                  <a:xfrm>
                    <a:off x="8220458" y="43703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5EC"/>
                  </a:solidFill>
                  <a:ln w="2339"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B5145C2A-3054-EB61-55D6-DD6C794CDB5E}"/>
                      </a:ext>
                    </a:extLst>
                  </p:cNvPr>
                  <p:cNvSpPr/>
                  <p:nvPr userDrawn="1"/>
                </p:nvSpPr>
                <p:spPr>
                  <a:xfrm>
                    <a:off x="8220107" y="43701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3E5ED"/>
                  </a:solidFill>
                  <a:ln w="2339"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311582B4-5621-E96E-E2DE-B0F8F6B75660}"/>
                      </a:ext>
                    </a:extLst>
                  </p:cNvPr>
                  <p:cNvSpPr/>
                  <p:nvPr userDrawn="1"/>
                </p:nvSpPr>
                <p:spPr>
                  <a:xfrm>
                    <a:off x="8219779" y="436989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3E6ED"/>
                  </a:solidFill>
                  <a:ln w="2339"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907EEBB1-0D59-5398-9AB0-BD7DFE3D83B8}"/>
                      </a:ext>
                    </a:extLst>
                  </p:cNvPr>
                  <p:cNvSpPr/>
                  <p:nvPr userDrawn="1"/>
                </p:nvSpPr>
                <p:spPr>
                  <a:xfrm>
                    <a:off x="8219452" y="436963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3E6ED"/>
                  </a:solidFill>
                  <a:ln w="2339"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2D7898C0-09D8-CB01-B5EE-85CA003A096C}"/>
                      </a:ext>
                    </a:extLst>
                  </p:cNvPr>
                  <p:cNvSpPr/>
                  <p:nvPr userDrawn="1"/>
                </p:nvSpPr>
                <p:spPr>
                  <a:xfrm>
                    <a:off x="8219124" y="43693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97C8B81D-CD63-28E2-F270-1500C80B9E12}"/>
                      </a:ext>
                    </a:extLst>
                  </p:cNvPr>
                  <p:cNvSpPr/>
                  <p:nvPr userDrawn="1"/>
                </p:nvSpPr>
                <p:spPr>
                  <a:xfrm>
                    <a:off x="8218797" y="43691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4E6ED"/>
                  </a:solidFill>
                  <a:ln w="2339"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30F52B53-F890-D934-237C-6D95E719F5BB}"/>
                      </a:ext>
                    </a:extLst>
                  </p:cNvPr>
                  <p:cNvSpPr/>
                  <p:nvPr userDrawn="1"/>
                </p:nvSpPr>
                <p:spPr>
                  <a:xfrm>
                    <a:off x="8218492" y="43688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4E7EE"/>
                  </a:solidFill>
                  <a:ln w="2339"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CC37D068-731E-9857-D164-3799FD2B3DCD}"/>
                      </a:ext>
                    </a:extLst>
                  </p:cNvPr>
                  <p:cNvSpPr/>
                  <p:nvPr userDrawn="1"/>
                </p:nvSpPr>
                <p:spPr>
                  <a:xfrm>
                    <a:off x="8218165" y="43686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5E7EE"/>
                  </a:solidFill>
                  <a:ln w="2339"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0E76261B-9291-19B5-7514-B566106761EE}"/>
                      </a:ext>
                    </a:extLst>
                  </p:cNvPr>
                  <p:cNvSpPr/>
                  <p:nvPr userDrawn="1"/>
                </p:nvSpPr>
                <p:spPr>
                  <a:xfrm>
                    <a:off x="8217837" y="436837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43"/>
                          <a:pt x="42097" y="21037"/>
                        </a:cubicBezTo>
                        <a:close/>
                      </a:path>
                    </a:pathLst>
                  </a:custGeom>
                  <a:solidFill>
                    <a:srgbClr val="E5E7EE"/>
                  </a:solidFill>
                  <a:ln w="2339"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8A2E7B2E-F920-ED98-481A-5783630473E3}"/>
                      </a:ext>
                    </a:extLst>
                  </p:cNvPr>
                  <p:cNvSpPr/>
                  <p:nvPr userDrawn="1"/>
                </p:nvSpPr>
                <p:spPr>
                  <a:xfrm>
                    <a:off x="8217533" y="436811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5E8EE"/>
                  </a:solidFill>
                  <a:ln w="2339"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A8FC33E9-2605-F156-4141-EFF7F3FF7095}"/>
                      </a:ext>
                    </a:extLst>
                  </p:cNvPr>
                  <p:cNvSpPr/>
                  <p:nvPr userDrawn="1"/>
                </p:nvSpPr>
                <p:spPr>
                  <a:xfrm>
                    <a:off x="8217112" y="43677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6E8EE"/>
                  </a:solidFill>
                  <a:ln w="2339"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C90425BA-76EE-7357-6C76-8175D43282A2}"/>
                      </a:ext>
                    </a:extLst>
                  </p:cNvPr>
                  <p:cNvSpPr/>
                  <p:nvPr userDrawn="1"/>
                </p:nvSpPr>
                <p:spPr>
                  <a:xfrm>
                    <a:off x="8216620" y="436736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6E8EF"/>
                  </a:solidFill>
                  <a:ln w="2339"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297D6FC5-F4A7-539B-3EDB-48260EE2C718}"/>
                      </a:ext>
                    </a:extLst>
                  </p:cNvPr>
                  <p:cNvSpPr/>
                  <p:nvPr userDrawn="1"/>
                </p:nvSpPr>
                <p:spPr>
                  <a:xfrm>
                    <a:off x="8216152" y="436694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6E8EF"/>
                  </a:solidFill>
                  <a:ln w="2339"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584BECDA-2CC1-91F0-9B86-2C201C247E0E}"/>
                      </a:ext>
                    </a:extLst>
                  </p:cNvPr>
                  <p:cNvSpPr/>
                  <p:nvPr userDrawn="1"/>
                </p:nvSpPr>
                <p:spPr>
                  <a:xfrm>
                    <a:off x="8215684" y="436654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7E9EF"/>
                  </a:solidFill>
                  <a:ln w="2339"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A03BC760-34FF-049E-E103-EA744CCC3F0D}"/>
                      </a:ext>
                    </a:extLst>
                  </p:cNvPr>
                  <p:cNvSpPr/>
                  <p:nvPr userDrawn="1"/>
                </p:nvSpPr>
                <p:spPr>
                  <a:xfrm>
                    <a:off x="8215193" y="436612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7E9EF"/>
                  </a:solidFill>
                  <a:ln w="2339"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9A773DAB-E4C4-25F6-7C2A-DE7F8D72F018}"/>
                      </a:ext>
                    </a:extLst>
                  </p:cNvPr>
                  <p:cNvSpPr/>
                  <p:nvPr userDrawn="1"/>
                </p:nvSpPr>
                <p:spPr>
                  <a:xfrm>
                    <a:off x="8214725" y="436572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7E9EF"/>
                  </a:solidFill>
                  <a:ln w="2339"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0F8EEB04-AAC2-8EC8-940F-B9975ED1E89A}"/>
                      </a:ext>
                    </a:extLst>
                  </p:cNvPr>
                  <p:cNvSpPr/>
                  <p:nvPr userDrawn="1"/>
                </p:nvSpPr>
                <p:spPr>
                  <a:xfrm>
                    <a:off x="8214280" y="436530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7EAF0"/>
                  </a:solidFill>
                  <a:ln w="2339"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5DB8C716-8C4B-1781-E6EB-47D3BAE63BF2}"/>
                      </a:ext>
                    </a:extLst>
                  </p:cNvPr>
                  <p:cNvSpPr/>
                  <p:nvPr userDrawn="1"/>
                </p:nvSpPr>
                <p:spPr>
                  <a:xfrm>
                    <a:off x="8213812" y="436490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8EAF0"/>
                  </a:solidFill>
                  <a:ln w="2339"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FA496C79-8547-3397-0EF3-4A4C2DB044B9}"/>
                      </a:ext>
                    </a:extLst>
                  </p:cNvPr>
                  <p:cNvSpPr/>
                  <p:nvPr userDrawn="1"/>
                </p:nvSpPr>
                <p:spPr>
                  <a:xfrm>
                    <a:off x="8213368" y="436448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4027AAA9-BDBA-27C1-6096-785756C7C144}"/>
                      </a:ext>
                    </a:extLst>
                  </p:cNvPr>
                  <p:cNvSpPr/>
                  <p:nvPr userDrawn="1"/>
                </p:nvSpPr>
                <p:spPr>
                  <a:xfrm>
                    <a:off x="8212923" y="436406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8EAF0"/>
                  </a:solidFill>
                  <a:ln w="2339"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512E5A57-4A86-D215-76BE-10D131F50540}"/>
                      </a:ext>
                    </a:extLst>
                  </p:cNvPr>
                  <p:cNvSpPr/>
                  <p:nvPr userDrawn="1"/>
                </p:nvSpPr>
                <p:spPr>
                  <a:xfrm>
                    <a:off x="8212478" y="43636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9EBF0"/>
                  </a:solidFill>
                  <a:ln w="2339"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2F392DD5-17CA-4438-8C44-30B9B6E0FDE2}"/>
                      </a:ext>
                    </a:extLst>
                  </p:cNvPr>
                  <p:cNvSpPr/>
                  <p:nvPr userDrawn="1"/>
                </p:nvSpPr>
                <p:spPr>
                  <a:xfrm>
                    <a:off x="8212057" y="43632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9EBF1"/>
                  </a:solidFill>
                  <a:ln w="2339"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40B3C471-F804-75D2-5298-0D54AA29D113}"/>
                      </a:ext>
                    </a:extLst>
                  </p:cNvPr>
                  <p:cNvSpPr/>
                  <p:nvPr userDrawn="1"/>
                </p:nvSpPr>
                <p:spPr>
                  <a:xfrm>
                    <a:off x="8211613" y="43628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9EBF1"/>
                  </a:solidFill>
                  <a:ln w="2339"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C47EC5E4-7842-ED96-627B-6206BB0E0631}"/>
                      </a:ext>
                    </a:extLst>
                  </p:cNvPr>
                  <p:cNvSpPr/>
                  <p:nvPr userDrawn="1"/>
                </p:nvSpPr>
                <p:spPr>
                  <a:xfrm>
                    <a:off x="8211191" y="436242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AECF1"/>
                  </a:solidFill>
                  <a:ln w="2339"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79000186-2802-51FF-516F-3B5BFC3A9396}"/>
                      </a:ext>
                    </a:extLst>
                  </p:cNvPr>
                  <p:cNvSpPr/>
                  <p:nvPr userDrawn="1"/>
                </p:nvSpPr>
                <p:spPr>
                  <a:xfrm>
                    <a:off x="8210770" y="436200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AECF1"/>
                  </a:solidFill>
                  <a:ln w="2339"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89630B95-28DF-129F-07A2-E2CACDA26C9F}"/>
                      </a:ext>
                    </a:extLst>
                  </p:cNvPr>
                  <p:cNvSpPr/>
                  <p:nvPr userDrawn="1"/>
                </p:nvSpPr>
                <p:spPr>
                  <a:xfrm>
                    <a:off x="8210372" y="436158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AECF1"/>
                  </a:solidFill>
                  <a:ln w="2339"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53D4FBAE-846A-C453-41B0-A5E21033C9AC}"/>
                      </a:ext>
                    </a:extLst>
                  </p:cNvPr>
                  <p:cNvSpPr/>
                  <p:nvPr userDrawn="1"/>
                </p:nvSpPr>
                <p:spPr>
                  <a:xfrm>
                    <a:off x="8209951" y="436118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BECF2"/>
                  </a:solidFill>
                  <a:ln w="2339"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632DE907-3EC4-6A47-E6E6-370AF0FFDF30}"/>
                      </a:ext>
                    </a:extLst>
                  </p:cNvPr>
                  <p:cNvSpPr/>
                  <p:nvPr userDrawn="1"/>
                </p:nvSpPr>
                <p:spPr>
                  <a:xfrm>
                    <a:off x="8209553" y="436076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6F757FDE-78D8-8973-99A9-85801E8DB22B}"/>
                      </a:ext>
                    </a:extLst>
                  </p:cNvPr>
                  <p:cNvSpPr/>
                  <p:nvPr userDrawn="1"/>
                </p:nvSpPr>
                <p:spPr>
                  <a:xfrm>
                    <a:off x="8209156" y="436034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BEDF2"/>
                  </a:solidFill>
                  <a:ln w="2339"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FA7941B0-917A-02E3-243B-F2049D2920EF}"/>
                      </a:ext>
                    </a:extLst>
                  </p:cNvPr>
                  <p:cNvSpPr/>
                  <p:nvPr userDrawn="1"/>
                </p:nvSpPr>
                <p:spPr>
                  <a:xfrm>
                    <a:off x="8208758" y="435992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BEDF2"/>
                  </a:solidFill>
                  <a:ln w="2339"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39E03FA3-FFF5-F8F0-8084-AD4A7DAB8661}"/>
                      </a:ext>
                    </a:extLst>
                  </p:cNvPr>
                  <p:cNvSpPr/>
                  <p:nvPr userDrawn="1"/>
                </p:nvSpPr>
                <p:spPr>
                  <a:xfrm>
                    <a:off x="8208383" y="435950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CEDF2"/>
                  </a:solidFill>
                  <a:ln w="2339"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3D6FD4D8-9016-2E9C-EB72-B0C35B9B074C}"/>
                      </a:ext>
                    </a:extLst>
                  </p:cNvPr>
                  <p:cNvSpPr/>
                  <p:nvPr userDrawn="1"/>
                </p:nvSpPr>
                <p:spPr>
                  <a:xfrm>
                    <a:off x="8207986" y="43591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C4B3CB2E-6447-ACA4-2E16-246A0D7DF0CF}"/>
                      </a:ext>
                    </a:extLst>
                  </p:cNvPr>
                  <p:cNvSpPr/>
                  <p:nvPr userDrawn="1"/>
                </p:nvSpPr>
                <p:spPr>
                  <a:xfrm>
                    <a:off x="8207611" y="435868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CEEF3"/>
                  </a:solidFill>
                  <a:ln w="2339"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C6632025-BD52-FD35-8077-C3EE8951FC60}"/>
                      </a:ext>
                    </a:extLst>
                  </p:cNvPr>
                  <p:cNvSpPr/>
                  <p:nvPr userDrawn="1"/>
                </p:nvSpPr>
                <p:spPr>
                  <a:xfrm>
                    <a:off x="8207237" y="435826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EF3"/>
                  </a:solidFill>
                  <a:ln w="2339"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41EDDA1B-D83D-C5BD-12C9-CE720754D3CA}"/>
                      </a:ext>
                    </a:extLst>
                  </p:cNvPr>
                  <p:cNvSpPr/>
                  <p:nvPr userDrawn="1"/>
                </p:nvSpPr>
                <p:spPr>
                  <a:xfrm>
                    <a:off x="8206886" y="435784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DEFF3"/>
                  </a:solidFill>
                  <a:ln w="2339"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28AA38E2-87DD-66CB-ED8F-2E462E1050C6}"/>
                      </a:ext>
                    </a:extLst>
                  </p:cNvPr>
                  <p:cNvSpPr/>
                  <p:nvPr userDrawn="1"/>
                </p:nvSpPr>
                <p:spPr>
                  <a:xfrm>
                    <a:off x="8206511" y="435741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DEFF3"/>
                  </a:solidFill>
                  <a:ln w="2339"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9A83A45A-2B1C-9250-7E46-47F5233691EB}"/>
                      </a:ext>
                    </a:extLst>
                  </p:cNvPr>
                  <p:cNvSpPr/>
                  <p:nvPr userDrawn="1"/>
                </p:nvSpPr>
                <p:spPr>
                  <a:xfrm>
                    <a:off x="8206160" y="435699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14FB0618-7593-9A71-0A49-4F211D42A201}"/>
                      </a:ext>
                    </a:extLst>
                  </p:cNvPr>
                  <p:cNvSpPr/>
                  <p:nvPr userDrawn="1"/>
                </p:nvSpPr>
                <p:spPr>
                  <a:xfrm>
                    <a:off x="8205809" y="435657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EEEFF4"/>
                  </a:solidFill>
                  <a:ln w="2339"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807BDEA3-19FD-2D27-F0E0-3C4586788802}"/>
                      </a:ext>
                    </a:extLst>
                  </p:cNvPr>
                  <p:cNvSpPr/>
                  <p:nvPr userDrawn="1"/>
                </p:nvSpPr>
                <p:spPr>
                  <a:xfrm>
                    <a:off x="8205458" y="4356178"/>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74"/>
                          <a:pt x="42097" y="32667"/>
                          <a:pt x="42097" y="21037"/>
                        </a:cubicBezTo>
                        <a:close/>
                      </a:path>
                    </a:pathLst>
                  </a:custGeom>
                  <a:solidFill>
                    <a:srgbClr val="EEF0F4"/>
                  </a:solidFill>
                  <a:ln w="2339"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C85191A9-829C-4957-0426-7615ADD28D1E}"/>
                      </a:ext>
                    </a:extLst>
                  </p:cNvPr>
                  <p:cNvSpPr/>
                  <p:nvPr userDrawn="1"/>
                </p:nvSpPr>
                <p:spPr>
                  <a:xfrm>
                    <a:off x="8205131" y="435575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EF0F4"/>
                  </a:solidFill>
                  <a:ln w="2339"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11D8A396-7953-702A-C43F-3A90C8185F61}"/>
                      </a:ext>
                    </a:extLst>
                  </p:cNvPr>
                  <p:cNvSpPr/>
                  <p:nvPr userDrawn="1"/>
                </p:nvSpPr>
                <p:spPr>
                  <a:xfrm>
                    <a:off x="8204803" y="435533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0F4"/>
                  </a:solidFill>
                  <a:ln w="2339"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B4740FEA-873F-1EB3-BA15-5A09995D7192}"/>
                      </a:ext>
                    </a:extLst>
                  </p:cNvPr>
                  <p:cNvSpPr/>
                  <p:nvPr userDrawn="1"/>
                </p:nvSpPr>
                <p:spPr>
                  <a:xfrm>
                    <a:off x="8204476" y="435491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74"/>
                          <a:pt x="42097" y="32667"/>
                          <a:pt x="42097" y="21037"/>
                        </a:cubicBezTo>
                        <a:close/>
                      </a:path>
                    </a:pathLst>
                  </a:custGeom>
                  <a:solidFill>
                    <a:srgbClr val="EFF1F5"/>
                  </a:solidFill>
                  <a:ln w="2339"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E952A3B0-207D-DDA7-CC7F-44387D54912D}"/>
                      </a:ext>
                    </a:extLst>
                  </p:cNvPr>
                  <p:cNvSpPr/>
                  <p:nvPr userDrawn="1"/>
                </p:nvSpPr>
                <p:spPr>
                  <a:xfrm>
                    <a:off x="8204148" y="435449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EFF1F5"/>
                  </a:solidFill>
                  <a:ln w="2339"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9642865E-2FB1-DBF8-1A13-A8D344B94458}"/>
                      </a:ext>
                    </a:extLst>
                  </p:cNvPr>
                  <p:cNvSpPr/>
                  <p:nvPr userDrawn="1"/>
                </p:nvSpPr>
                <p:spPr>
                  <a:xfrm>
                    <a:off x="8203820" y="4354072"/>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0F1F5"/>
                  </a:solidFill>
                  <a:ln w="2339"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4F61961-47E0-908B-A234-E4872D5E3DA7}"/>
                      </a:ext>
                    </a:extLst>
                  </p:cNvPr>
                  <p:cNvSpPr/>
                  <p:nvPr userDrawn="1"/>
                </p:nvSpPr>
                <p:spPr>
                  <a:xfrm>
                    <a:off x="8203516" y="435365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1F5"/>
                  </a:solidFill>
                  <a:ln w="2339"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AAA1C27A-859E-792F-D2FD-29D3DA0BCFDE}"/>
                      </a:ext>
                    </a:extLst>
                  </p:cNvPr>
                  <p:cNvSpPr/>
                  <p:nvPr userDrawn="1"/>
                </p:nvSpPr>
                <p:spPr>
                  <a:xfrm>
                    <a:off x="8203212" y="4353230"/>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0F2F5"/>
                  </a:solidFill>
                  <a:ln w="2339"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3A86E0FA-7EF6-1454-9478-7622E69F6B45}"/>
                      </a:ext>
                    </a:extLst>
                  </p:cNvPr>
                  <p:cNvSpPr/>
                  <p:nvPr userDrawn="1"/>
                </p:nvSpPr>
                <p:spPr>
                  <a:xfrm>
                    <a:off x="8202908" y="4352809"/>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6DB267B9-79BA-4E72-205A-EA0D4414F342}"/>
                      </a:ext>
                    </a:extLst>
                  </p:cNvPr>
                  <p:cNvSpPr/>
                  <p:nvPr userDrawn="1"/>
                </p:nvSpPr>
                <p:spPr>
                  <a:xfrm>
                    <a:off x="8202604" y="4352387"/>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1F2F6"/>
                  </a:solidFill>
                  <a:ln w="2339"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4B1826F7-5DD8-5DDD-2BC1-2DCD690567C3}"/>
                      </a:ext>
                    </a:extLst>
                  </p:cNvPr>
                  <p:cNvSpPr/>
                  <p:nvPr userDrawn="1"/>
                </p:nvSpPr>
                <p:spPr>
                  <a:xfrm>
                    <a:off x="8202323" y="4351966"/>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1F2F6"/>
                  </a:solidFill>
                  <a:ln w="2339"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010EE647-FE59-3BAF-C5B4-15DA25357DE5}"/>
                      </a:ext>
                    </a:extLst>
                  </p:cNvPr>
                  <p:cNvSpPr/>
                  <p:nvPr userDrawn="1"/>
                </p:nvSpPr>
                <p:spPr>
                  <a:xfrm>
                    <a:off x="8202042" y="4351545"/>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2631769D-5AE2-54DC-E855-94107678B1C2}"/>
                      </a:ext>
                    </a:extLst>
                  </p:cNvPr>
                  <p:cNvSpPr/>
                  <p:nvPr userDrawn="1"/>
                </p:nvSpPr>
                <p:spPr>
                  <a:xfrm>
                    <a:off x="8201761" y="4351124"/>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3F6"/>
                  </a:solidFill>
                  <a:ln w="2339"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77788780-55EE-3E26-821B-05DBFC7B4A72}"/>
                      </a:ext>
                    </a:extLst>
                  </p:cNvPr>
                  <p:cNvSpPr/>
                  <p:nvPr userDrawn="1"/>
                </p:nvSpPr>
                <p:spPr>
                  <a:xfrm>
                    <a:off x="8201480" y="4350703"/>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90" y="42097"/>
                          <a:pt x="42097" y="32667"/>
                          <a:pt x="42097" y="21037"/>
                        </a:cubicBezTo>
                        <a:close/>
                      </a:path>
                    </a:pathLst>
                  </a:custGeom>
                  <a:solidFill>
                    <a:srgbClr val="F2F3F7"/>
                  </a:solidFill>
                  <a:ln w="2339"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0AED1328-53C2-67D3-D288-45C63E07903A}"/>
                      </a:ext>
                    </a:extLst>
                  </p:cNvPr>
                  <p:cNvSpPr/>
                  <p:nvPr userDrawn="1"/>
                </p:nvSpPr>
                <p:spPr>
                  <a:xfrm>
                    <a:off x="8201223" y="4350281"/>
                    <a:ext cx="42096" cy="42096"/>
                  </a:xfrm>
                  <a:custGeom>
                    <a:avLst/>
                    <a:gdLst>
                      <a:gd name="connsiteX0" fmla="*/ 42097 w 42096"/>
                      <a:gd name="connsiteY0" fmla="*/ 21037 h 42096"/>
                      <a:gd name="connsiteX1" fmla="*/ 21060 w 42096"/>
                      <a:gd name="connsiteY1" fmla="*/ 0 h 42096"/>
                      <a:gd name="connsiteX2" fmla="*/ 0 w 42096"/>
                      <a:gd name="connsiteY2" fmla="*/ 21037 h 42096"/>
                      <a:gd name="connsiteX3" fmla="*/ 21060 w 42096"/>
                      <a:gd name="connsiteY3" fmla="*/ 42097 h 42096"/>
                      <a:gd name="connsiteX4" fmla="*/ 42097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37"/>
                        </a:moveTo>
                        <a:cubicBezTo>
                          <a:pt x="42097" y="9430"/>
                          <a:pt x="32667" y="0"/>
                          <a:pt x="21060" y="0"/>
                        </a:cubicBezTo>
                        <a:cubicBezTo>
                          <a:pt x="9430" y="0"/>
                          <a:pt x="0" y="9430"/>
                          <a:pt x="0" y="21037"/>
                        </a:cubicBezTo>
                        <a:cubicBezTo>
                          <a:pt x="0" y="32667"/>
                          <a:pt x="9430" y="42097"/>
                          <a:pt x="21060" y="42097"/>
                        </a:cubicBezTo>
                        <a:cubicBezTo>
                          <a:pt x="32667" y="42097"/>
                          <a:pt x="42097" y="32667"/>
                          <a:pt x="42097" y="21037"/>
                        </a:cubicBezTo>
                        <a:close/>
                      </a:path>
                    </a:pathLst>
                  </a:custGeom>
                  <a:solidFill>
                    <a:srgbClr val="F2F4F7"/>
                  </a:solidFill>
                  <a:ln w="2339"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1DAEF082-46B4-AE1B-199E-1D600E4EF175}"/>
                      </a:ext>
                    </a:extLst>
                  </p:cNvPr>
                  <p:cNvSpPr/>
                  <p:nvPr userDrawn="1"/>
                </p:nvSpPr>
                <p:spPr>
                  <a:xfrm>
                    <a:off x="8200966" y="43498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1EC83FBE-9C47-DB1F-23F5-5EABC4399715}"/>
                      </a:ext>
                    </a:extLst>
                  </p:cNvPr>
                  <p:cNvSpPr/>
                  <p:nvPr userDrawn="1"/>
                </p:nvSpPr>
                <p:spPr>
                  <a:xfrm>
                    <a:off x="8200708" y="43494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3F4F7"/>
                  </a:solidFill>
                  <a:ln w="2339"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CB0E754A-4C7A-FDFC-B37D-0D6B59C3A6E3}"/>
                      </a:ext>
                    </a:extLst>
                  </p:cNvPr>
                  <p:cNvSpPr/>
                  <p:nvPr userDrawn="1"/>
                </p:nvSpPr>
                <p:spPr>
                  <a:xfrm>
                    <a:off x="8200474" y="434901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3F4F7"/>
                  </a:solidFill>
                  <a:ln w="2339"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BD81FC2F-043D-DC83-1360-9687EE87C326}"/>
                      </a:ext>
                    </a:extLst>
                  </p:cNvPr>
                  <p:cNvSpPr/>
                  <p:nvPr userDrawn="1"/>
                </p:nvSpPr>
                <p:spPr>
                  <a:xfrm>
                    <a:off x="8200217" y="434859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4F5F8"/>
                  </a:solidFill>
                  <a:ln w="2339"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CCD4F35B-2C25-024F-6B9B-E8E315A45AD7}"/>
                      </a:ext>
                    </a:extLst>
                  </p:cNvPr>
                  <p:cNvSpPr/>
                  <p:nvPr userDrawn="1"/>
                </p:nvSpPr>
                <p:spPr>
                  <a:xfrm>
                    <a:off x="8199983" y="434817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B968BCFA-437E-D4CD-CF5C-FDD73F023781}"/>
                      </a:ext>
                    </a:extLst>
                  </p:cNvPr>
                  <p:cNvSpPr/>
                  <p:nvPr userDrawn="1"/>
                </p:nvSpPr>
                <p:spPr>
                  <a:xfrm>
                    <a:off x="8199749" y="434775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4F5F8"/>
                  </a:solidFill>
                  <a:ln w="2339"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805978F9-417A-E28D-DAD3-C5EADA76697A}"/>
                      </a:ext>
                    </a:extLst>
                  </p:cNvPr>
                  <p:cNvSpPr/>
                  <p:nvPr userDrawn="1"/>
                </p:nvSpPr>
                <p:spPr>
                  <a:xfrm>
                    <a:off x="8199515" y="4347356"/>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8"/>
                  </a:solidFill>
                  <a:ln w="2339"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DF054F90-9004-F945-286A-FD126AE367AA}"/>
                      </a:ext>
                    </a:extLst>
                  </p:cNvPr>
                  <p:cNvSpPr/>
                  <p:nvPr userDrawn="1"/>
                </p:nvSpPr>
                <p:spPr>
                  <a:xfrm>
                    <a:off x="8199281" y="434693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5F6F8"/>
                  </a:solidFill>
                  <a:ln w="2339"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1143852B-E3EB-E1D4-4C15-D4195AB6B301}"/>
                      </a:ext>
                    </a:extLst>
                  </p:cNvPr>
                  <p:cNvSpPr/>
                  <p:nvPr userDrawn="1"/>
                </p:nvSpPr>
                <p:spPr>
                  <a:xfrm>
                    <a:off x="8199070" y="434651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5F6F9"/>
                  </a:solidFill>
                  <a:ln w="2339"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33B04E21-B2D9-7DCF-B37D-2C5AD78F1C24}"/>
                      </a:ext>
                    </a:extLst>
                  </p:cNvPr>
                  <p:cNvSpPr/>
                  <p:nvPr userDrawn="1"/>
                </p:nvSpPr>
                <p:spPr>
                  <a:xfrm>
                    <a:off x="8198860" y="434609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6F9"/>
                  </a:solidFill>
                  <a:ln w="2339"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02EA62B5-52EA-20D1-6DA1-809524EE9A41}"/>
                      </a:ext>
                    </a:extLst>
                  </p:cNvPr>
                  <p:cNvSpPr/>
                  <p:nvPr userDrawn="1"/>
                </p:nvSpPr>
                <p:spPr>
                  <a:xfrm>
                    <a:off x="8198649" y="434567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6F7F9"/>
                  </a:solidFill>
                  <a:ln w="2339"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C1674430-4CF7-6AA0-AB65-7B3AB942FD23}"/>
                      </a:ext>
                    </a:extLst>
                  </p:cNvPr>
                  <p:cNvSpPr/>
                  <p:nvPr userDrawn="1"/>
                </p:nvSpPr>
                <p:spPr>
                  <a:xfrm>
                    <a:off x="8198438" y="434525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6F7F9"/>
                  </a:solidFill>
                  <a:ln w="2339"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EFE846FB-C562-0B02-3187-A7EA8B2944C5}"/>
                      </a:ext>
                    </a:extLst>
                  </p:cNvPr>
                  <p:cNvSpPr/>
                  <p:nvPr userDrawn="1"/>
                </p:nvSpPr>
                <p:spPr>
                  <a:xfrm>
                    <a:off x="8198251" y="434482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6F7F9"/>
                  </a:solidFill>
                  <a:ln w="2339"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05D606C2-8759-B074-F21E-8333172A619A}"/>
                      </a:ext>
                    </a:extLst>
                  </p:cNvPr>
                  <p:cNvSpPr/>
                  <p:nvPr userDrawn="1"/>
                </p:nvSpPr>
                <p:spPr>
                  <a:xfrm>
                    <a:off x="8198064" y="4344408"/>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7FA"/>
                  </a:solidFill>
                  <a:ln w="2339"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4227ABE0-21E9-A5CF-F95F-3CF513FC9A3D}"/>
                      </a:ext>
                    </a:extLst>
                  </p:cNvPr>
                  <p:cNvSpPr/>
                  <p:nvPr userDrawn="1"/>
                </p:nvSpPr>
                <p:spPr>
                  <a:xfrm>
                    <a:off x="8197877" y="4343987"/>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7F8FA"/>
                  </a:solidFill>
                  <a:ln w="2339"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93D289CC-C8BC-3EE0-1B24-57BD23F62A12}"/>
                      </a:ext>
                    </a:extLst>
                  </p:cNvPr>
                  <p:cNvSpPr/>
                  <p:nvPr userDrawn="1"/>
                </p:nvSpPr>
                <p:spPr>
                  <a:xfrm>
                    <a:off x="8197690" y="434356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7F8FA"/>
                  </a:solidFill>
                  <a:ln w="2339"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0DD0CEDF-41A7-4EA0-A311-D47D86F924CE}"/>
                      </a:ext>
                    </a:extLst>
                  </p:cNvPr>
                  <p:cNvSpPr/>
                  <p:nvPr userDrawn="1"/>
                </p:nvSpPr>
                <p:spPr>
                  <a:xfrm>
                    <a:off x="8197526" y="43431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8F8FA"/>
                  </a:solidFill>
                  <a:ln w="2339"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B834FF05-5F71-1317-5AE4-105D1C39123C}"/>
                      </a:ext>
                    </a:extLst>
                  </p:cNvPr>
                  <p:cNvSpPr/>
                  <p:nvPr userDrawn="1"/>
                </p:nvSpPr>
                <p:spPr>
                  <a:xfrm>
                    <a:off x="8197362" y="43427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90"/>
                          <a:pt x="42074" y="21037"/>
                        </a:cubicBezTo>
                        <a:close/>
                      </a:path>
                    </a:pathLst>
                  </a:custGeom>
                  <a:solidFill>
                    <a:srgbClr val="F8F9FA"/>
                  </a:solidFill>
                  <a:ln w="2339"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B3CA0CF5-176D-1E7F-4F7C-E0FCA0791F0D}"/>
                      </a:ext>
                    </a:extLst>
                  </p:cNvPr>
                  <p:cNvSpPr/>
                  <p:nvPr userDrawn="1"/>
                </p:nvSpPr>
                <p:spPr>
                  <a:xfrm>
                    <a:off x="8197198" y="4342325"/>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8F9FB"/>
                  </a:solidFill>
                  <a:ln w="2339"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B3A090FC-4D13-4729-C4F4-C8641E7DB2E5}"/>
                      </a:ext>
                    </a:extLst>
                  </p:cNvPr>
                  <p:cNvSpPr/>
                  <p:nvPr userDrawn="1"/>
                </p:nvSpPr>
                <p:spPr>
                  <a:xfrm>
                    <a:off x="8197034" y="434190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9F9FB"/>
                  </a:solidFill>
                  <a:ln w="2339"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879171E9-17BF-EBD5-067B-E21A9B097118}"/>
                      </a:ext>
                    </a:extLst>
                  </p:cNvPr>
                  <p:cNvSpPr/>
                  <p:nvPr userDrawn="1"/>
                </p:nvSpPr>
                <p:spPr>
                  <a:xfrm>
                    <a:off x="8196871" y="434148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9FB"/>
                  </a:solidFill>
                  <a:ln w="2339"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5F29C9B3-5747-4339-02DA-F0064B83C22B}"/>
                      </a:ext>
                    </a:extLst>
                  </p:cNvPr>
                  <p:cNvSpPr/>
                  <p:nvPr userDrawn="1"/>
                </p:nvSpPr>
                <p:spPr>
                  <a:xfrm>
                    <a:off x="8196730" y="434106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86652CBE-7ACB-AE46-D71E-46B11AA52BDA}"/>
                      </a:ext>
                    </a:extLst>
                  </p:cNvPr>
                  <p:cNvSpPr/>
                  <p:nvPr userDrawn="1"/>
                </p:nvSpPr>
                <p:spPr>
                  <a:xfrm>
                    <a:off x="8196590" y="434064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9FAFB"/>
                  </a:solidFill>
                  <a:ln w="2339"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5DCA820A-2C22-DB9A-D97A-D576023D8F1D}"/>
                      </a:ext>
                    </a:extLst>
                  </p:cNvPr>
                  <p:cNvSpPr/>
                  <p:nvPr userDrawn="1"/>
                </p:nvSpPr>
                <p:spPr>
                  <a:xfrm>
                    <a:off x="8196449" y="434024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AFAFC"/>
                  </a:solidFill>
                  <a:ln w="2339"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60A84E2B-9C2A-CB1D-F492-A37930B5978D}"/>
                      </a:ext>
                    </a:extLst>
                  </p:cNvPr>
                  <p:cNvSpPr/>
                  <p:nvPr userDrawn="1"/>
                </p:nvSpPr>
                <p:spPr>
                  <a:xfrm>
                    <a:off x="8196332" y="433982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F919F7CE-4550-2031-5DE2-21624437F66B}"/>
                      </a:ext>
                    </a:extLst>
                  </p:cNvPr>
                  <p:cNvSpPr/>
                  <p:nvPr userDrawn="1"/>
                </p:nvSpPr>
                <p:spPr>
                  <a:xfrm>
                    <a:off x="8196215" y="433940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AFBFC"/>
                  </a:solidFill>
                  <a:ln w="2339"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72212B73-74F2-59A9-EBA9-B07FC11FA9E3}"/>
                      </a:ext>
                    </a:extLst>
                  </p:cNvPr>
                  <p:cNvSpPr/>
                  <p:nvPr userDrawn="1"/>
                </p:nvSpPr>
                <p:spPr>
                  <a:xfrm>
                    <a:off x="8196098" y="433897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BFBFC"/>
                  </a:solidFill>
                  <a:ln w="2339"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6A3672C8-9F7E-20E7-45A3-A1F2BEFCEA71}"/>
                      </a:ext>
                    </a:extLst>
                  </p:cNvPr>
                  <p:cNvSpPr/>
                  <p:nvPr userDrawn="1"/>
                </p:nvSpPr>
                <p:spPr>
                  <a:xfrm>
                    <a:off x="8195981" y="433858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BFBFC"/>
                  </a:solidFill>
                  <a:ln w="2339"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71489268-5EF8-692C-4518-4E7DECCD5419}"/>
                      </a:ext>
                    </a:extLst>
                  </p:cNvPr>
                  <p:cNvSpPr/>
                  <p:nvPr userDrawn="1"/>
                </p:nvSpPr>
                <p:spPr>
                  <a:xfrm>
                    <a:off x="8195864" y="433816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BFCFD"/>
                  </a:solidFill>
                  <a:ln w="2339"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E8BBA3EC-571D-D368-325F-B87E56B1504F}"/>
                      </a:ext>
                    </a:extLst>
                  </p:cNvPr>
                  <p:cNvSpPr/>
                  <p:nvPr userDrawn="1"/>
                </p:nvSpPr>
                <p:spPr>
                  <a:xfrm>
                    <a:off x="8195771" y="433773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F95CA3AC-281D-F499-EDD3-0CED97345081}"/>
                      </a:ext>
                    </a:extLst>
                  </p:cNvPr>
                  <p:cNvSpPr/>
                  <p:nvPr userDrawn="1"/>
                </p:nvSpPr>
                <p:spPr>
                  <a:xfrm>
                    <a:off x="8195677" y="433734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74"/>
                          <a:pt x="42074" y="32667"/>
                          <a:pt x="42074" y="21037"/>
                        </a:cubicBezTo>
                        <a:close/>
                      </a:path>
                    </a:pathLst>
                  </a:custGeom>
                  <a:solidFill>
                    <a:srgbClr val="FCFCFD"/>
                  </a:solidFill>
                  <a:ln w="2339"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13315A20-9445-5503-05A1-7E81CE34491A}"/>
                      </a:ext>
                    </a:extLst>
                  </p:cNvPr>
                  <p:cNvSpPr/>
                  <p:nvPr userDrawn="1"/>
                </p:nvSpPr>
                <p:spPr>
                  <a:xfrm>
                    <a:off x="8195584" y="433692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CFCFD"/>
                  </a:solidFill>
                  <a:ln w="2339"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7AC2FB25-7CBB-1BB8-041B-EC0795882B84}"/>
                      </a:ext>
                    </a:extLst>
                  </p:cNvPr>
                  <p:cNvSpPr/>
                  <p:nvPr userDrawn="1"/>
                </p:nvSpPr>
                <p:spPr>
                  <a:xfrm>
                    <a:off x="8195490" y="4336499"/>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DFDFD"/>
                  </a:solidFill>
                  <a:ln w="2339"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BFB5427D-BEA7-6E90-D85C-7CE4588176A3}"/>
                      </a:ext>
                    </a:extLst>
                  </p:cNvPr>
                  <p:cNvSpPr/>
                  <p:nvPr userDrawn="1"/>
                </p:nvSpPr>
                <p:spPr>
                  <a:xfrm>
                    <a:off x="8195420" y="433610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DFE"/>
                  </a:solidFill>
                  <a:ln w="2339"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7AA5D70E-45CA-0ECF-5059-584875FC178B}"/>
                      </a:ext>
                    </a:extLst>
                  </p:cNvPr>
                  <p:cNvSpPr/>
                  <p:nvPr userDrawn="1"/>
                </p:nvSpPr>
                <p:spPr>
                  <a:xfrm>
                    <a:off x="8195350" y="4335680"/>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DFDFE"/>
                  </a:solidFill>
                  <a:ln w="2339"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068E562C-610C-3532-7EA5-9EC4041ACE66}"/>
                      </a:ext>
                    </a:extLst>
                  </p:cNvPr>
                  <p:cNvSpPr/>
                  <p:nvPr userDrawn="1"/>
                </p:nvSpPr>
                <p:spPr>
                  <a:xfrm>
                    <a:off x="8195279" y="433528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DFEFE"/>
                  </a:solidFill>
                  <a:ln w="2339"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1E2BEF22-909C-736B-94B2-1F83D5F6EAB5}"/>
                      </a:ext>
                    </a:extLst>
                  </p:cNvPr>
                  <p:cNvSpPr/>
                  <p:nvPr userDrawn="1"/>
                </p:nvSpPr>
                <p:spPr>
                  <a:xfrm>
                    <a:off x="8195233" y="4334861"/>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EFEFE"/>
                  </a:solidFill>
                  <a:ln w="2339"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FB4A7BB1-8D6A-EE1B-F046-8B7055F4F3A2}"/>
                      </a:ext>
                    </a:extLst>
                  </p:cNvPr>
                  <p:cNvSpPr/>
                  <p:nvPr userDrawn="1"/>
                </p:nvSpPr>
                <p:spPr>
                  <a:xfrm>
                    <a:off x="8195162" y="433446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EFEFE"/>
                  </a:solidFill>
                  <a:ln w="2339"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9CB41E50-B55A-5EEA-51AC-B46AF42B8767}"/>
                      </a:ext>
                    </a:extLst>
                  </p:cNvPr>
                  <p:cNvSpPr/>
                  <p:nvPr userDrawn="1"/>
                </p:nvSpPr>
                <p:spPr>
                  <a:xfrm>
                    <a:off x="8195116" y="4334042"/>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97"/>
                          <a:pt x="42074" y="32667"/>
                          <a:pt x="42074" y="21037"/>
                        </a:cubicBezTo>
                        <a:close/>
                      </a:path>
                    </a:pathLst>
                  </a:custGeom>
                  <a:solidFill>
                    <a:srgbClr val="FEFEFF"/>
                  </a:solidFill>
                  <a:ln w="2339"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2A7B4462-BC98-934B-8CAE-C5C5655BB824}"/>
                      </a:ext>
                    </a:extLst>
                  </p:cNvPr>
                  <p:cNvSpPr/>
                  <p:nvPr userDrawn="1"/>
                </p:nvSpPr>
                <p:spPr>
                  <a:xfrm>
                    <a:off x="8195069" y="4333644"/>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67" y="42074"/>
                          <a:pt x="42074" y="32667"/>
                          <a:pt x="42074" y="21037"/>
                        </a:cubicBezTo>
                        <a:close/>
                      </a:path>
                    </a:pathLst>
                  </a:custGeom>
                  <a:solidFill>
                    <a:srgbClr val="FFFFFF"/>
                  </a:solidFill>
                  <a:ln w="2339"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F59EC5E6-E91C-C4B1-88F1-82697EB3233D}"/>
                      </a:ext>
                    </a:extLst>
                  </p:cNvPr>
                  <p:cNvSpPr/>
                  <p:nvPr userDrawn="1"/>
                </p:nvSpPr>
                <p:spPr>
                  <a:xfrm>
                    <a:off x="8195045" y="4333223"/>
                    <a:ext cx="42073" cy="42096"/>
                  </a:xfrm>
                  <a:custGeom>
                    <a:avLst/>
                    <a:gdLst>
                      <a:gd name="connsiteX0" fmla="*/ 42074 w 42073"/>
                      <a:gd name="connsiteY0" fmla="*/ 21037 h 42096"/>
                      <a:gd name="connsiteX1" fmla="*/ 21037 w 42073"/>
                      <a:gd name="connsiteY1" fmla="*/ 0 h 42096"/>
                      <a:gd name="connsiteX2" fmla="*/ 0 w 42073"/>
                      <a:gd name="connsiteY2" fmla="*/ 21037 h 42096"/>
                      <a:gd name="connsiteX3" fmla="*/ 21037 w 42073"/>
                      <a:gd name="connsiteY3" fmla="*/ 42097 h 42096"/>
                      <a:gd name="connsiteX4" fmla="*/ 42074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37"/>
                        </a:moveTo>
                        <a:cubicBezTo>
                          <a:pt x="42074" y="9430"/>
                          <a:pt x="32643" y="0"/>
                          <a:pt x="21037" y="0"/>
                        </a:cubicBezTo>
                        <a:cubicBezTo>
                          <a:pt x="9407" y="0"/>
                          <a:pt x="0" y="9430"/>
                          <a:pt x="0" y="21037"/>
                        </a:cubicBezTo>
                        <a:cubicBezTo>
                          <a:pt x="0" y="32667"/>
                          <a:pt x="9430" y="42097"/>
                          <a:pt x="21037" y="42097"/>
                        </a:cubicBezTo>
                        <a:cubicBezTo>
                          <a:pt x="32643" y="42097"/>
                          <a:pt x="42074" y="32667"/>
                          <a:pt x="42074" y="21037"/>
                        </a:cubicBezTo>
                        <a:close/>
                      </a:path>
                    </a:pathLst>
                  </a:custGeom>
                  <a:solidFill>
                    <a:srgbClr val="FFFFFF"/>
                  </a:solidFill>
                  <a:ln w="2339" cap="flat">
                    <a:noFill/>
                    <a:prstDash val="solid"/>
                    <a:miter/>
                  </a:ln>
                </p:spPr>
                <p:txBody>
                  <a:bodyPr rtlCol="0" anchor="ctr"/>
                  <a:lstStyle/>
                  <a:p>
                    <a:endParaRPr lang="en-US"/>
                  </a:p>
                </p:txBody>
              </p:sp>
            </p:grpSp>
            <p:grpSp>
              <p:nvGrpSpPr>
                <p:cNvPr id="283" name="Graphic 4">
                  <a:extLst>
                    <a:ext uri="{FF2B5EF4-FFF2-40B4-BE49-F238E27FC236}">
                      <a16:creationId xmlns:a16="http://schemas.microsoft.com/office/drawing/2014/main" id="{B85C0367-B953-932B-189B-15278C301AD0}"/>
                    </a:ext>
                  </a:extLst>
                </p:cNvPr>
                <p:cNvGrpSpPr/>
                <p:nvPr userDrawn="1"/>
              </p:nvGrpSpPr>
              <p:grpSpPr>
                <a:xfrm>
                  <a:off x="8382317" y="4333223"/>
                  <a:ext cx="144917" cy="107360"/>
                  <a:chOff x="8382317" y="4333223"/>
                  <a:chExt cx="144917" cy="107359"/>
                </a:xfrm>
              </p:grpSpPr>
              <p:sp>
                <p:nvSpPr>
                  <p:cNvPr id="284" name="Freeform: Shape 283">
                    <a:extLst>
                      <a:ext uri="{FF2B5EF4-FFF2-40B4-BE49-F238E27FC236}">
                        <a16:creationId xmlns:a16="http://schemas.microsoft.com/office/drawing/2014/main" id="{59C558CF-6F7C-6A62-B850-55D22DE95BE1}"/>
                      </a:ext>
                    </a:extLst>
                  </p:cNvPr>
                  <p:cNvSpPr/>
                  <p:nvPr userDrawn="1"/>
                </p:nvSpPr>
                <p:spPr>
                  <a:xfrm>
                    <a:off x="8382317" y="439850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1B8CC"/>
                  </a:solidFill>
                  <a:ln w="2339"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E8CE9AF9-43BB-BB8F-59F4-487BA072C3E8}"/>
                      </a:ext>
                    </a:extLst>
                  </p:cNvPr>
                  <p:cNvSpPr/>
                  <p:nvPr userDrawn="1"/>
                </p:nvSpPr>
                <p:spPr>
                  <a:xfrm>
                    <a:off x="8382902" y="439843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1B8CC"/>
                  </a:solidFill>
                  <a:ln w="2339"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D38BD378-E4C9-102F-E881-43DD1B0A50CD}"/>
                      </a:ext>
                    </a:extLst>
                  </p:cNvPr>
                  <p:cNvSpPr/>
                  <p:nvPr userDrawn="1"/>
                </p:nvSpPr>
                <p:spPr>
                  <a:xfrm>
                    <a:off x="8383464" y="439834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2B9CC"/>
                  </a:solidFill>
                  <a:ln w="2339"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41782DF0-C4B6-5766-B20A-C1BF64125B59}"/>
                      </a:ext>
                    </a:extLst>
                  </p:cNvPr>
                  <p:cNvSpPr/>
                  <p:nvPr userDrawn="1"/>
                </p:nvSpPr>
                <p:spPr>
                  <a:xfrm>
                    <a:off x="8384025" y="43982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2B9CD"/>
                  </a:solidFill>
                  <a:ln w="2339"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B8B49F8F-7B45-BA22-553B-4ABD5881CE12}"/>
                      </a:ext>
                    </a:extLst>
                  </p:cNvPr>
                  <p:cNvSpPr/>
                  <p:nvPr userDrawn="1"/>
                </p:nvSpPr>
                <p:spPr>
                  <a:xfrm>
                    <a:off x="8384587" y="439818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2B9CD"/>
                  </a:solidFill>
                  <a:ln w="2339"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F3AB1B7D-DE3A-CB5E-7BAD-37F21DEE17F1}"/>
                      </a:ext>
                    </a:extLst>
                  </p:cNvPr>
                  <p:cNvSpPr/>
                  <p:nvPr userDrawn="1"/>
                </p:nvSpPr>
                <p:spPr>
                  <a:xfrm>
                    <a:off x="8385148" y="439808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3B9CD"/>
                  </a:solidFill>
                  <a:ln w="2339"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9DAF8641-969C-7C39-1C26-BECBFD3DAFDF}"/>
                      </a:ext>
                    </a:extLst>
                  </p:cNvPr>
                  <p:cNvSpPr/>
                  <p:nvPr userDrawn="1"/>
                </p:nvSpPr>
                <p:spPr>
                  <a:xfrm>
                    <a:off x="8385710" y="439799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39D51C1B-DF4F-1C56-BD42-7ACF58D80C2C}"/>
                      </a:ext>
                    </a:extLst>
                  </p:cNvPr>
                  <p:cNvSpPr/>
                  <p:nvPr userDrawn="1"/>
                </p:nvSpPr>
                <p:spPr>
                  <a:xfrm>
                    <a:off x="8386272" y="43979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D"/>
                  </a:solidFill>
                  <a:ln w="2339"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CEB1BD3A-1C40-C857-8663-3EBE05B6870C}"/>
                      </a:ext>
                    </a:extLst>
                  </p:cNvPr>
                  <p:cNvSpPr/>
                  <p:nvPr userDrawn="1"/>
                </p:nvSpPr>
                <p:spPr>
                  <a:xfrm>
                    <a:off x="8386833" y="43978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3BACE"/>
                  </a:solidFill>
                  <a:ln w="2339"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DFFB522F-0600-AED8-AE62-C16AB58C0B04}"/>
                      </a:ext>
                    </a:extLst>
                  </p:cNvPr>
                  <p:cNvSpPr/>
                  <p:nvPr userDrawn="1"/>
                </p:nvSpPr>
                <p:spPr>
                  <a:xfrm>
                    <a:off x="8387395" y="439771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28BEC592-FF48-4D60-7DE1-3924FB3E9C96}"/>
                      </a:ext>
                    </a:extLst>
                  </p:cNvPr>
                  <p:cNvSpPr/>
                  <p:nvPr userDrawn="1"/>
                </p:nvSpPr>
                <p:spPr>
                  <a:xfrm>
                    <a:off x="8387956" y="43976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4BBCE"/>
                  </a:solidFill>
                  <a:ln w="2339"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DCC07CA6-02A3-FF6A-D951-534901303A33}"/>
                      </a:ext>
                    </a:extLst>
                  </p:cNvPr>
                  <p:cNvSpPr/>
                  <p:nvPr userDrawn="1"/>
                </p:nvSpPr>
                <p:spPr>
                  <a:xfrm>
                    <a:off x="8388518" y="439752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4BBCE"/>
                  </a:solidFill>
                  <a:ln w="2339"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35C931B7-8431-35FB-7130-9C496C9B568E}"/>
                      </a:ext>
                    </a:extLst>
                  </p:cNvPr>
                  <p:cNvSpPr/>
                  <p:nvPr userDrawn="1"/>
                </p:nvSpPr>
                <p:spPr>
                  <a:xfrm>
                    <a:off x="8389080" y="439743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5BBCE"/>
                  </a:solidFill>
                  <a:ln w="2339"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3534FEE9-AD4A-ACFA-3A9B-C893E0443D30}"/>
                      </a:ext>
                    </a:extLst>
                  </p:cNvPr>
                  <p:cNvSpPr/>
                  <p:nvPr userDrawn="1"/>
                </p:nvSpPr>
                <p:spPr>
                  <a:xfrm>
                    <a:off x="8389641" y="439731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5BCCF"/>
                  </a:solidFill>
                  <a:ln w="2339"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EE1E83C5-DFBF-5630-C341-60781762E260}"/>
                      </a:ext>
                    </a:extLst>
                  </p:cNvPr>
                  <p:cNvSpPr/>
                  <p:nvPr userDrawn="1"/>
                </p:nvSpPr>
                <p:spPr>
                  <a:xfrm>
                    <a:off x="8390203" y="439722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5BCCF"/>
                  </a:solidFill>
                  <a:ln w="2339"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6742C993-3B0B-DF7C-AF40-B1542C341CA0}"/>
                      </a:ext>
                    </a:extLst>
                  </p:cNvPr>
                  <p:cNvSpPr/>
                  <p:nvPr userDrawn="1"/>
                </p:nvSpPr>
                <p:spPr>
                  <a:xfrm>
                    <a:off x="8390764" y="439712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6BCCF"/>
                  </a:solidFill>
                  <a:ln w="2339"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9FCE8BEC-C445-2865-28EC-D7C14A0849EC}"/>
                      </a:ext>
                    </a:extLst>
                  </p:cNvPr>
                  <p:cNvSpPr/>
                  <p:nvPr userDrawn="1"/>
                </p:nvSpPr>
                <p:spPr>
                  <a:xfrm>
                    <a:off x="8391326" y="439701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6BCCF"/>
                  </a:solidFill>
                  <a:ln w="2339"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556146A0-BE39-8D4D-82B7-DB45080F30D4}"/>
                      </a:ext>
                    </a:extLst>
                  </p:cNvPr>
                  <p:cNvSpPr/>
                  <p:nvPr userDrawn="1"/>
                </p:nvSpPr>
                <p:spPr>
                  <a:xfrm>
                    <a:off x="8391888" y="439691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6BDCF"/>
                  </a:solidFill>
                  <a:ln w="2339"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1C851EE6-3565-BC07-C89F-20C434EE83DF}"/>
                      </a:ext>
                    </a:extLst>
                  </p:cNvPr>
                  <p:cNvSpPr/>
                  <p:nvPr userDrawn="1"/>
                </p:nvSpPr>
                <p:spPr>
                  <a:xfrm>
                    <a:off x="8392449" y="43968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7BDD0"/>
                  </a:solidFill>
                  <a:ln w="2339"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DDCFC538-364C-C92B-FC87-663143564EDB}"/>
                      </a:ext>
                    </a:extLst>
                  </p:cNvPr>
                  <p:cNvSpPr/>
                  <p:nvPr userDrawn="1"/>
                </p:nvSpPr>
                <p:spPr>
                  <a:xfrm>
                    <a:off x="8392987" y="439670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7BDD0"/>
                  </a:solidFill>
                  <a:ln w="2339"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69E9B8ED-22A4-27FE-7373-713620B6E445}"/>
                      </a:ext>
                    </a:extLst>
                  </p:cNvPr>
                  <p:cNvSpPr/>
                  <p:nvPr userDrawn="1"/>
                </p:nvSpPr>
                <p:spPr>
                  <a:xfrm>
                    <a:off x="8393549" y="439659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3BDAEBD6-5FE5-A928-8F40-37BB73A5E0B9}"/>
                      </a:ext>
                    </a:extLst>
                  </p:cNvPr>
                  <p:cNvSpPr/>
                  <p:nvPr userDrawn="1"/>
                </p:nvSpPr>
                <p:spPr>
                  <a:xfrm>
                    <a:off x="8394111" y="439647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7BED0"/>
                  </a:solidFill>
                  <a:ln w="2339"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67AC3052-5D7C-A9A8-C035-A31C7CCD3F40}"/>
                      </a:ext>
                    </a:extLst>
                  </p:cNvPr>
                  <p:cNvSpPr/>
                  <p:nvPr userDrawn="1"/>
                </p:nvSpPr>
                <p:spPr>
                  <a:xfrm>
                    <a:off x="8394672" y="43963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8BED0"/>
                  </a:solidFill>
                  <a:ln w="2339"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96F05156-CC63-E7AE-5D1F-A8166A088464}"/>
                      </a:ext>
                    </a:extLst>
                  </p:cNvPr>
                  <p:cNvSpPr/>
                  <p:nvPr userDrawn="1"/>
                </p:nvSpPr>
                <p:spPr>
                  <a:xfrm>
                    <a:off x="8395210" y="439626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8BED1"/>
                  </a:solidFill>
                  <a:ln w="2339"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DE248BF9-A088-0C45-229A-C9BE2D394BF4}"/>
                      </a:ext>
                    </a:extLst>
                  </p:cNvPr>
                  <p:cNvSpPr/>
                  <p:nvPr userDrawn="1"/>
                </p:nvSpPr>
                <p:spPr>
                  <a:xfrm>
                    <a:off x="8395772" y="439614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8BFD1"/>
                  </a:solidFill>
                  <a:ln w="2339"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A260C83D-4F3C-F1FC-CCE2-5AA5F27F131E}"/>
                      </a:ext>
                    </a:extLst>
                  </p:cNvPr>
                  <p:cNvSpPr/>
                  <p:nvPr userDrawn="1"/>
                </p:nvSpPr>
                <p:spPr>
                  <a:xfrm>
                    <a:off x="8396310" y="43960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9939232B-C94F-58F4-12F0-88CA333A4466}"/>
                      </a:ext>
                    </a:extLst>
                  </p:cNvPr>
                  <p:cNvSpPr/>
                  <p:nvPr userDrawn="1"/>
                </p:nvSpPr>
                <p:spPr>
                  <a:xfrm>
                    <a:off x="8396872" y="439591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9BFD1"/>
                  </a:solidFill>
                  <a:ln w="2339"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AFCA68CF-A6A6-674E-C1B8-F1F0E34972B5}"/>
                      </a:ext>
                    </a:extLst>
                  </p:cNvPr>
                  <p:cNvSpPr/>
                  <p:nvPr userDrawn="1"/>
                </p:nvSpPr>
                <p:spPr>
                  <a:xfrm>
                    <a:off x="8397433" y="43957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9C0D1"/>
                  </a:solidFill>
                  <a:ln w="2339"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B3AE7595-A535-6BFB-7361-8EFADFD17B4A}"/>
                      </a:ext>
                    </a:extLst>
                  </p:cNvPr>
                  <p:cNvSpPr/>
                  <p:nvPr userDrawn="1"/>
                </p:nvSpPr>
                <p:spPr>
                  <a:xfrm>
                    <a:off x="8397972" y="43956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2C94D8FC-CFF4-A285-7BEF-9D7328D0F9D0}"/>
                      </a:ext>
                    </a:extLst>
                  </p:cNvPr>
                  <p:cNvSpPr/>
                  <p:nvPr userDrawn="1"/>
                </p:nvSpPr>
                <p:spPr>
                  <a:xfrm>
                    <a:off x="8398510" y="43955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97AFC678-9209-B912-72A5-9B58D7A2E216}"/>
                      </a:ext>
                    </a:extLst>
                  </p:cNvPr>
                  <p:cNvSpPr/>
                  <p:nvPr userDrawn="1"/>
                </p:nvSpPr>
                <p:spPr>
                  <a:xfrm>
                    <a:off x="8399071" y="439544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AC0D2"/>
                  </a:solidFill>
                  <a:ln w="2339"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69E1E69B-1612-36DC-3431-70D8D2D872B7}"/>
                      </a:ext>
                    </a:extLst>
                  </p:cNvPr>
                  <p:cNvSpPr/>
                  <p:nvPr userDrawn="1"/>
                </p:nvSpPr>
                <p:spPr>
                  <a:xfrm>
                    <a:off x="8399610" y="439532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AC1D2"/>
                  </a:solidFill>
                  <a:ln w="2339"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4A724DC5-1D71-6CF3-984A-74AD93E5AA47}"/>
                      </a:ext>
                    </a:extLst>
                  </p:cNvPr>
                  <p:cNvSpPr/>
                  <p:nvPr userDrawn="1"/>
                </p:nvSpPr>
                <p:spPr>
                  <a:xfrm>
                    <a:off x="8400171" y="43952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43"/>
                          <a:pt x="0" y="21037"/>
                        </a:cubicBezTo>
                        <a:close/>
                      </a:path>
                    </a:pathLst>
                  </a:custGeom>
                  <a:solidFill>
                    <a:srgbClr val="BBC1D2"/>
                  </a:solidFill>
                  <a:ln w="2339"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B1CE94A7-5DC0-4C75-25F2-AB496C20F173}"/>
                      </a:ext>
                    </a:extLst>
                  </p:cNvPr>
                  <p:cNvSpPr/>
                  <p:nvPr userDrawn="1"/>
                </p:nvSpPr>
                <p:spPr>
                  <a:xfrm>
                    <a:off x="8400710" y="439506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2D9E30FC-AB4A-4DA7-371B-714B3F57A275}"/>
                      </a:ext>
                    </a:extLst>
                  </p:cNvPr>
                  <p:cNvSpPr/>
                  <p:nvPr userDrawn="1"/>
                </p:nvSpPr>
                <p:spPr>
                  <a:xfrm>
                    <a:off x="8401248" y="439495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BC1D3"/>
                  </a:solidFill>
                  <a:ln w="2339"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32A4B276-6F73-2757-ABF7-09B28C2CBD74}"/>
                      </a:ext>
                    </a:extLst>
                  </p:cNvPr>
                  <p:cNvSpPr/>
                  <p:nvPr userDrawn="1"/>
                </p:nvSpPr>
                <p:spPr>
                  <a:xfrm>
                    <a:off x="8401809" y="439483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BCC2D3"/>
                  </a:solidFill>
                  <a:ln w="2339"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2DBE3DA1-B226-0A24-40A7-44AE30D309F6}"/>
                      </a:ext>
                    </a:extLst>
                  </p:cNvPr>
                  <p:cNvSpPr/>
                  <p:nvPr userDrawn="1"/>
                </p:nvSpPr>
                <p:spPr>
                  <a:xfrm>
                    <a:off x="8402348" y="4394695"/>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CC2D3"/>
                  </a:solidFill>
                  <a:ln w="2339"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00E34CEF-AFE8-3C2E-760E-2A7DF036E25B}"/>
                      </a:ext>
                    </a:extLst>
                  </p:cNvPr>
                  <p:cNvSpPr/>
                  <p:nvPr userDrawn="1"/>
                </p:nvSpPr>
                <p:spPr>
                  <a:xfrm>
                    <a:off x="8402886" y="43945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CC2D3"/>
                  </a:solidFill>
                  <a:ln w="2339"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92E0AED2-BF75-2E78-FC40-80BB5C1C4611}"/>
                      </a:ext>
                    </a:extLst>
                  </p:cNvPr>
                  <p:cNvSpPr/>
                  <p:nvPr userDrawn="1"/>
                </p:nvSpPr>
                <p:spPr>
                  <a:xfrm>
                    <a:off x="8403424" y="4394437"/>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1F2EA07B-67A0-5655-B838-F7C3413B02F3}"/>
                      </a:ext>
                    </a:extLst>
                  </p:cNvPr>
                  <p:cNvSpPr/>
                  <p:nvPr userDrawn="1"/>
                </p:nvSpPr>
                <p:spPr>
                  <a:xfrm>
                    <a:off x="8403962" y="439432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DC3D4"/>
                  </a:solidFill>
                  <a:ln w="2339"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A1C4DC74-5F1E-F7B4-C409-8EBB76CA8CDB}"/>
                      </a:ext>
                    </a:extLst>
                  </p:cNvPr>
                  <p:cNvSpPr/>
                  <p:nvPr userDrawn="1"/>
                </p:nvSpPr>
                <p:spPr>
                  <a:xfrm>
                    <a:off x="8404500" y="43941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DC3D4"/>
                  </a:solidFill>
                  <a:ln w="2339"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8A38DCE1-0D0B-25E9-F4B0-6C051325B7FB}"/>
                      </a:ext>
                    </a:extLst>
                  </p:cNvPr>
                  <p:cNvSpPr/>
                  <p:nvPr userDrawn="1"/>
                </p:nvSpPr>
                <p:spPr>
                  <a:xfrm>
                    <a:off x="8405039" y="43940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3D4"/>
                  </a:solidFill>
                  <a:ln w="2339"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37C976AD-A969-4873-5AF7-48C8B032513B}"/>
                      </a:ext>
                    </a:extLst>
                  </p:cNvPr>
                  <p:cNvSpPr/>
                  <p:nvPr userDrawn="1"/>
                </p:nvSpPr>
                <p:spPr>
                  <a:xfrm>
                    <a:off x="8405577" y="439392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BEC4D4"/>
                  </a:solidFill>
                  <a:ln w="2339"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5929F8C2-BE75-7540-872B-3D58356C9DE4}"/>
                      </a:ext>
                    </a:extLst>
                  </p:cNvPr>
                  <p:cNvSpPr/>
                  <p:nvPr userDrawn="1"/>
                </p:nvSpPr>
                <p:spPr>
                  <a:xfrm>
                    <a:off x="8406115" y="439378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BEC4D5"/>
                  </a:solidFill>
                  <a:ln w="2339"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B18F891F-7209-1C92-2B0B-0FB4DE5804BD}"/>
                      </a:ext>
                    </a:extLst>
                  </p:cNvPr>
                  <p:cNvSpPr/>
                  <p:nvPr userDrawn="1"/>
                </p:nvSpPr>
                <p:spPr>
                  <a:xfrm>
                    <a:off x="8406653" y="439364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EC4D5"/>
                  </a:solidFill>
                  <a:ln w="2339"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EE1C0AA4-8515-4FEF-0275-79C3A7F8DE31}"/>
                      </a:ext>
                    </a:extLst>
                  </p:cNvPr>
                  <p:cNvSpPr/>
                  <p:nvPr userDrawn="1"/>
                </p:nvSpPr>
                <p:spPr>
                  <a:xfrm>
                    <a:off x="8407191" y="439350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DA1D6DAB-6F5D-911F-69CA-4CEF2A591126}"/>
                      </a:ext>
                    </a:extLst>
                  </p:cNvPr>
                  <p:cNvSpPr/>
                  <p:nvPr userDrawn="1"/>
                </p:nvSpPr>
                <p:spPr>
                  <a:xfrm>
                    <a:off x="8407730" y="43933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BFC5D5"/>
                  </a:solidFill>
                  <a:ln w="2339"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0AB76237-89DE-9135-8690-985B4DEB70F3}"/>
                      </a:ext>
                    </a:extLst>
                  </p:cNvPr>
                  <p:cNvSpPr/>
                  <p:nvPr userDrawn="1"/>
                </p:nvSpPr>
                <p:spPr>
                  <a:xfrm>
                    <a:off x="8408268" y="439322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BFC5D5"/>
                  </a:solidFill>
                  <a:ln w="2339"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9B383ED3-164A-89C9-36CC-2AF377911D2B}"/>
                      </a:ext>
                    </a:extLst>
                  </p:cNvPr>
                  <p:cNvSpPr/>
                  <p:nvPr userDrawn="1"/>
                </p:nvSpPr>
                <p:spPr>
                  <a:xfrm>
                    <a:off x="8408783" y="439308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5D6"/>
                  </a:solidFill>
                  <a:ln w="2339"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236A5C22-144D-BE95-F8D9-064C508E5691}"/>
                      </a:ext>
                    </a:extLst>
                  </p:cNvPr>
                  <p:cNvSpPr/>
                  <p:nvPr userDrawn="1"/>
                </p:nvSpPr>
                <p:spPr>
                  <a:xfrm>
                    <a:off x="8409321" y="439294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0C6D6"/>
                  </a:solidFill>
                  <a:ln w="2339"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BF4A8413-475A-5488-23A6-82368920D274}"/>
                      </a:ext>
                    </a:extLst>
                  </p:cNvPr>
                  <p:cNvSpPr/>
                  <p:nvPr userDrawn="1"/>
                </p:nvSpPr>
                <p:spPr>
                  <a:xfrm>
                    <a:off x="8409859" y="439279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0C6D6"/>
                  </a:solidFill>
                  <a:ln w="2339"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01465BCA-6E2D-6B13-4745-841B8BC3EBFE}"/>
                      </a:ext>
                    </a:extLst>
                  </p:cNvPr>
                  <p:cNvSpPr/>
                  <p:nvPr userDrawn="1"/>
                </p:nvSpPr>
                <p:spPr>
                  <a:xfrm>
                    <a:off x="8410374" y="439265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FB1D64CE-B457-2EDE-719A-74D144A7151E}"/>
                      </a:ext>
                    </a:extLst>
                  </p:cNvPr>
                  <p:cNvSpPr/>
                  <p:nvPr userDrawn="1"/>
                </p:nvSpPr>
                <p:spPr>
                  <a:xfrm>
                    <a:off x="8410912" y="439251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1C6D6"/>
                  </a:solidFill>
                  <a:ln w="2339"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5368474E-C7DD-B5BF-142A-BA49D226E862}"/>
                      </a:ext>
                    </a:extLst>
                  </p:cNvPr>
                  <p:cNvSpPr/>
                  <p:nvPr userDrawn="1"/>
                </p:nvSpPr>
                <p:spPr>
                  <a:xfrm>
                    <a:off x="8411427" y="439237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1C7D7"/>
                  </a:solidFill>
                  <a:ln w="2339"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F295AFD4-253A-68BE-53A8-D78DC089CA28}"/>
                      </a:ext>
                    </a:extLst>
                  </p:cNvPr>
                  <p:cNvSpPr/>
                  <p:nvPr userDrawn="1"/>
                </p:nvSpPr>
                <p:spPr>
                  <a:xfrm>
                    <a:off x="8411965" y="439221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2C7D7"/>
                  </a:solidFill>
                  <a:ln w="2339"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868423E6-7B0A-4474-2BD2-63DDEDBAE1AA}"/>
                      </a:ext>
                    </a:extLst>
                  </p:cNvPr>
                  <p:cNvSpPr/>
                  <p:nvPr userDrawn="1"/>
                </p:nvSpPr>
                <p:spPr>
                  <a:xfrm>
                    <a:off x="8412480" y="439207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7D7"/>
                  </a:solidFill>
                  <a:ln w="2339"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303C6F54-701B-C41D-E199-E1FE6D355FC9}"/>
                      </a:ext>
                    </a:extLst>
                  </p:cNvPr>
                  <p:cNvSpPr/>
                  <p:nvPr userDrawn="1"/>
                </p:nvSpPr>
                <p:spPr>
                  <a:xfrm>
                    <a:off x="8413018" y="439191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2C8D7"/>
                  </a:solidFill>
                  <a:ln w="2339"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57F04E31-F3B7-3A1D-4F15-191739FB351B}"/>
                      </a:ext>
                    </a:extLst>
                  </p:cNvPr>
                  <p:cNvSpPr/>
                  <p:nvPr userDrawn="1"/>
                </p:nvSpPr>
                <p:spPr>
                  <a:xfrm>
                    <a:off x="8413533" y="439177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2C8D7"/>
                  </a:solidFill>
                  <a:ln w="2339"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4E993F20-7E7F-881A-8550-7D0B7A7F40D4}"/>
                      </a:ext>
                    </a:extLst>
                  </p:cNvPr>
                  <p:cNvSpPr/>
                  <p:nvPr userDrawn="1"/>
                </p:nvSpPr>
                <p:spPr>
                  <a:xfrm>
                    <a:off x="8414048" y="4391629"/>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3C8D8"/>
                  </a:solidFill>
                  <a:ln w="2339"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72A8E494-3657-543E-7136-5020B67FBEC7}"/>
                      </a:ext>
                    </a:extLst>
                  </p:cNvPr>
                  <p:cNvSpPr/>
                  <p:nvPr userDrawn="1"/>
                </p:nvSpPr>
                <p:spPr>
                  <a:xfrm>
                    <a:off x="8414586" y="4391466"/>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74"/>
                          <a:pt x="0" y="32667"/>
                          <a:pt x="0" y="21037"/>
                        </a:cubicBezTo>
                        <a:close/>
                      </a:path>
                    </a:pathLst>
                  </a:custGeom>
                  <a:solidFill>
                    <a:srgbClr val="C3C8D8"/>
                  </a:solidFill>
                  <a:ln w="2339"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E502BC6F-1B1F-CF2D-5851-404A60A16E46}"/>
                      </a:ext>
                    </a:extLst>
                  </p:cNvPr>
                  <p:cNvSpPr/>
                  <p:nvPr userDrawn="1"/>
                </p:nvSpPr>
                <p:spPr>
                  <a:xfrm>
                    <a:off x="8415101" y="4391302"/>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07" y="42097"/>
                          <a:pt x="0" y="32667"/>
                          <a:pt x="0" y="21037"/>
                        </a:cubicBezTo>
                        <a:close/>
                      </a:path>
                    </a:pathLst>
                  </a:custGeom>
                  <a:solidFill>
                    <a:srgbClr val="C3C9D8"/>
                  </a:solidFill>
                  <a:ln w="2339"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59988F96-3431-0F62-843A-D2C3C21D26FB}"/>
                      </a:ext>
                    </a:extLst>
                  </p:cNvPr>
                  <p:cNvSpPr/>
                  <p:nvPr userDrawn="1"/>
                </p:nvSpPr>
                <p:spPr>
                  <a:xfrm>
                    <a:off x="8415615" y="4391161"/>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4C9D8"/>
                  </a:solidFill>
                  <a:ln w="2339"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D75DBA2F-C36E-D7D4-315A-7080A91B9912}"/>
                      </a:ext>
                    </a:extLst>
                  </p:cNvPr>
                  <p:cNvSpPr/>
                  <p:nvPr userDrawn="1"/>
                </p:nvSpPr>
                <p:spPr>
                  <a:xfrm>
                    <a:off x="8416130" y="4390998"/>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9D8"/>
                  </a:solidFill>
                  <a:ln w="2339"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2D5A2DE2-5C1A-9EA2-5170-94A6CFB56291}"/>
                      </a:ext>
                    </a:extLst>
                  </p:cNvPr>
                  <p:cNvSpPr/>
                  <p:nvPr userDrawn="1"/>
                </p:nvSpPr>
                <p:spPr>
                  <a:xfrm>
                    <a:off x="8416645" y="4390834"/>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97"/>
                          <a:pt x="0" y="32667"/>
                          <a:pt x="0" y="21037"/>
                        </a:cubicBezTo>
                        <a:close/>
                      </a:path>
                    </a:pathLst>
                  </a:custGeom>
                  <a:solidFill>
                    <a:srgbClr val="C4CAD9"/>
                  </a:solidFill>
                  <a:ln w="2339"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16AA86D9-A0E8-0299-A7FC-1A55DD7C6BDA}"/>
                      </a:ext>
                    </a:extLst>
                  </p:cNvPr>
                  <p:cNvSpPr/>
                  <p:nvPr userDrawn="1"/>
                </p:nvSpPr>
                <p:spPr>
                  <a:xfrm>
                    <a:off x="8417160" y="4390693"/>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43"/>
                          <a:pt x="0" y="21037"/>
                        </a:cubicBezTo>
                        <a:close/>
                      </a:path>
                    </a:pathLst>
                  </a:custGeom>
                  <a:solidFill>
                    <a:srgbClr val="C5CAD9"/>
                  </a:solidFill>
                  <a:ln w="2339"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24DAF25C-020D-F648-7297-2E5B1125160A}"/>
                      </a:ext>
                    </a:extLst>
                  </p:cNvPr>
                  <p:cNvSpPr/>
                  <p:nvPr userDrawn="1"/>
                </p:nvSpPr>
                <p:spPr>
                  <a:xfrm>
                    <a:off x="8417675" y="4390530"/>
                    <a:ext cx="42096" cy="42073"/>
                  </a:xfrm>
                  <a:custGeom>
                    <a:avLst/>
                    <a:gdLst>
                      <a:gd name="connsiteX0" fmla="*/ 0 w 42096"/>
                      <a:gd name="connsiteY0" fmla="*/ 21037 h 42073"/>
                      <a:gd name="connsiteX1" fmla="*/ 21037 w 42096"/>
                      <a:gd name="connsiteY1" fmla="*/ 0 h 42073"/>
                      <a:gd name="connsiteX2" fmla="*/ 42097 w 42096"/>
                      <a:gd name="connsiteY2" fmla="*/ 21037 h 42073"/>
                      <a:gd name="connsiteX3" fmla="*/ 21037 w 42096"/>
                      <a:gd name="connsiteY3" fmla="*/ 42074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9430"/>
                          <a:pt x="9430" y="0"/>
                          <a:pt x="21037" y="0"/>
                        </a:cubicBezTo>
                        <a:cubicBezTo>
                          <a:pt x="32667" y="0"/>
                          <a:pt x="42097" y="9430"/>
                          <a:pt x="42097" y="21037"/>
                        </a:cubicBezTo>
                        <a:cubicBezTo>
                          <a:pt x="42097" y="32667"/>
                          <a:pt x="32667" y="42074"/>
                          <a:pt x="21037" y="42074"/>
                        </a:cubicBezTo>
                        <a:cubicBezTo>
                          <a:pt x="9430" y="42074"/>
                          <a:pt x="0" y="32667"/>
                          <a:pt x="0" y="21037"/>
                        </a:cubicBezTo>
                        <a:close/>
                      </a:path>
                    </a:pathLst>
                  </a:custGeom>
                  <a:solidFill>
                    <a:srgbClr val="C5CAD9"/>
                  </a:solidFill>
                  <a:ln w="2339"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60220BBB-DE5E-B6B0-60F0-6BFE4E2E4AFC}"/>
                      </a:ext>
                    </a:extLst>
                  </p:cNvPr>
                  <p:cNvSpPr/>
                  <p:nvPr userDrawn="1"/>
                </p:nvSpPr>
                <p:spPr>
                  <a:xfrm>
                    <a:off x="8418189" y="43903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AD9"/>
                  </a:solidFill>
                  <a:ln w="2339"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7B8C5855-97FA-4B89-FAC7-50891AD35A50}"/>
                      </a:ext>
                    </a:extLst>
                  </p:cNvPr>
                  <p:cNvSpPr/>
                  <p:nvPr userDrawn="1"/>
                </p:nvSpPr>
                <p:spPr>
                  <a:xfrm>
                    <a:off x="8418704" y="43902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5CBD9"/>
                  </a:solidFill>
                  <a:ln w="2339"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E346958C-F38F-0A2E-8079-E689CB3473CF}"/>
                      </a:ext>
                    </a:extLst>
                  </p:cNvPr>
                  <p:cNvSpPr/>
                  <p:nvPr userDrawn="1"/>
                </p:nvSpPr>
                <p:spPr>
                  <a:xfrm>
                    <a:off x="8419196" y="439003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F939E530-1521-4637-30DA-CFF7C1C93BBE}"/>
                      </a:ext>
                    </a:extLst>
                  </p:cNvPr>
                  <p:cNvSpPr/>
                  <p:nvPr userDrawn="1"/>
                </p:nvSpPr>
                <p:spPr>
                  <a:xfrm>
                    <a:off x="8419710" y="43898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6CBDA"/>
                  </a:solidFill>
                  <a:ln w="2339"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734D8566-83C5-1912-B6DE-77625C6A2F45}"/>
                      </a:ext>
                    </a:extLst>
                  </p:cNvPr>
                  <p:cNvSpPr/>
                  <p:nvPr userDrawn="1"/>
                </p:nvSpPr>
                <p:spPr>
                  <a:xfrm>
                    <a:off x="8420225" y="438971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6CBDA"/>
                  </a:solidFill>
                  <a:ln w="2339"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E7C56A60-7707-B636-E82A-6E9B0DB4589B}"/>
                      </a:ext>
                    </a:extLst>
                  </p:cNvPr>
                  <p:cNvSpPr/>
                  <p:nvPr userDrawn="1"/>
                </p:nvSpPr>
                <p:spPr>
                  <a:xfrm>
                    <a:off x="8420717" y="438954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AFEC5015-926D-6338-BBED-3A1D38BE7E8E}"/>
                      </a:ext>
                    </a:extLst>
                  </p:cNvPr>
                  <p:cNvSpPr/>
                  <p:nvPr userDrawn="1"/>
                </p:nvSpPr>
                <p:spPr>
                  <a:xfrm>
                    <a:off x="8421231" y="438938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7CCDA"/>
                  </a:solidFill>
                  <a:ln w="2339"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2DE302CC-0918-C919-53C4-6DFB39063D24}"/>
                      </a:ext>
                    </a:extLst>
                  </p:cNvPr>
                  <p:cNvSpPr/>
                  <p:nvPr userDrawn="1"/>
                </p:nvSpPr>
                <p:spPr>
                  <a:xfrm>
                    <a:off x="8421723" y="43892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7CCDB"/>
                  </a:solidFill>
                  <a:ln w="2339"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CC9093CB-6DED-902A-CECC-4890B431ABC2}"/>
                      </a:ext>
                    </a:extLst>
                  </p:cNvPr>
                  <p:cNvSpPr/>
                  <p:nvPr userDrawn="1"/>
                </p:nvSpPr>
                <p:spPr>
                  <a:xfrm>
                    <a:off x="8422238" y="43890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9E52D8C0-CFD9-8AE1-F1C3-A77ABB77F6CE}"/>
                      </a:ext>
                    </a:extLst>
                  </p:cNvPr>
                  <p:cNvSpPr/>
                  <p:nvPr userDrawn="1"/>
                </p:nvSpPr>
                <p:spPr>
                  <a:xfrm>
                    <a:off x="8422729" y="438886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8CDDB"/>
                  </a:solidFill>
                  <a:ln w="2339"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1F0A4EA7-2F6F-9923-D07D-4607C518B918}"/>
                      </a:ext>
                    </a:extLst>
                  </p:cNvPr>
                  <p:cNvSpPr/>
                  <p:nvPr userDrawn="1"/>
                </p:nvSpPr>
                <p:spPr>
                  <a:xfrm>
                    <a:off x="8423244" y="43887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8CDDB"/>
                  </a:solidFill>
                  <a:ln w="2339"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572E3919-D174-F391-1464-898B77C4E410}"/>
                      </a:ext>
                    </a:extLst>
                  </p:cNvPr>
                  <p:cNvSpPr/>
                  <p:nvPr userDrawn="1"/>
                </p:nvSpPr>
                <p:spPr>
                  <a:xfrm>
                    <a:off x="8423735" y="438851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9CDDB"/>
                  </a:solidFill>
                  <a:ln w="2339"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176FD044-A17F-A0EE-9DBF-6DE7934874CB}"/>
                      </a:ext>
                    </a:extLst>
                  </p:cNvPr>
                  <p:cNvSpPr/>
                  <p:nvPr userDrawn="1"/>
                </p:nvSpPr>
                <p:spPr>
                  <a:xfrm>
                    <a:off x="8424227" y="43883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60804BC0-B81C-74DE-A434-33BF7B20EEEE}"/>
                      </a:ext>
                    </a:extLst>
                  </p:cNvPr>
                  <p:cNvSpPr/>
                  <p:nvPr userDrawn="1"/>
                </p:nvSpPr>
                <p:spPr>
                  <a:xfrm>
                    <a:off x="8424718" y="43881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9CEDC"/>
                  </a:solidFill>
                  <a:ln w="2339"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137C3F88-E2F6-39D6-C290-AC54C3486115}"/>
                      </a:ext>
                    </a:extLst>
                  </p:cNvPr>
                  <p:cNvSpPr/>
                  <p:nvPr userDrawn="1"/>
                </p:nvSpPr>
                <p:spPr>
                  <a:xfrm>
                    <a:off x="8425209" y="438800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9CEDC"/>
                  </a:solidFill>
                  <a:ln w="2339"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0D1208E3-5E81-DC53-45DA-B40DF0FB91F6}"/>
                      </a:ext>
                    </a:extLst>
                  </p:cNvPr>
                  <p:cNvSpPr/>
                  <p:nvPr userDrawn="1"/>
                </p:nvSpPr>
                <p:spPr>
                  <a:xfrm>
                    <a:off x="8425701" y="43878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C"/>
                  </a:solidFill>
                  <a:ln w="2339"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6B7516E3-B712-F9D5-4DB6-7E6512A885C6}"/>
                      </a:ext>
                    </a:extLst>
                  </p:cNvPr>
                  <p:cNvSpPr/>
                  <p:nvPr userDrawn="1"/>
                </p:nvSpPr>
                <p:spPr>
                  <a:xfrm>
                    <a:off x="8426192" y="4387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ACFDC"/>
                  </a:solidFill>
                  <a:ln w="2339"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F8C25286-6BC7-3268-17FD-EA9798001F01}"/>
                      </a:ext>
                    </a:extLst>
                  </p:cNvPr>
                  <p:cNvSpPr/>
                  <p:nvPr userDrawn="1"/>
                </p:nvSpPr>
                <p:spPr>
                  <a:xfrm>
                    <a:off x="8426684" y="43874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ACFDD"/>
                  </a:solidFill>
                  <a:ln w="2339"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64372DE9-C994-25C0-A7E6-EEDAEC78F82C}"/>
                      </a:ext>
                    </a:extLst>
                  </p:cNvPr>
                  <p:cNvSpPr/>
                  <p:nvPr userDrawn="1"/>
                </p:nvSpPr>
                <p:spPr>
                  <a:xfrm>
                    <a:off x="8427175" y="438730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BCFDD"/>
                  </a:solidFill>
                  <a:ln w="2339"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45A59E0A-F915-DEE7-0EB4-524D00393CEC}"/>
                      </a:ext>
                    </a:extLst>
                  </p:cNvPr>
                  <p:cNvSpPr/>
                  <p:nvPr userDrawn="1"/>
                </p:nvSpPr>
                <p:spPr>
                  <a:xfrm>
                    <a:off x="8427666" y="43871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CBD0DD"/>
                  </a:solidFill>
                  <a:ln w="2339"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2FCAD4A7-0ABF-3B45-4430-8406BB8829DA}"/>
                      </a:ext>
                    </a:extLst>
                  </p:cNvPr>
                  <p:cNvSpPr/>
                  <p:nvPr userDrawn="1"/>
                </p:nvSpPr>
                <p:spPr>
                  <a:xfrm>
                    <a:off x="8428135" y="43869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BD0DD"/>
                  </a:solidFill>
                  <a:ln w="2339"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48BDD046-CC80-CF9A-E4E9-8853D32AEC2A}"/>
                      </a:ext>
                    </a:extLst>
                  </p:cNvPr>
                  <p:cNvSpPr/>
                  <p:nvPr userDrawn="1"/>
                </p:nvSpPr>
                <p:spPr>
                  <a:xfrm>
                    <a:off x="8428626" y="43867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CD0DD"/>
                  </a:solidFill>
                  <a:ln w="2339"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6BDECC4C-19DE-16DD-8421-AC80765077AF}"/>
                      </a:ext>
                    </a:extLst>
                  </p:cNvPr>
                  <p:cNvSpPr/>
                  <p:nvPr userDrawn="1"/>
                </p:nvSpPr>
                <p:spPr>
                  <a:xfrm>
                    <a:off x="8429117" y="438655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CD0DE"/>
                  </a:solidFill>
                  <a:ln w="2339"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DD08563D-0AEB-64CD-82AF-507B2470C41C}"/>
                      </a:ext>
                    </a:extLst>
                  </p:cNvPr>
                  <p:cNvSpPr/>
                  <p:nvPr userDrawn="1"/>
                </p:nvSpPr>
                <p:spPr>
                  <a:xfrm>
                    <a:off x="8429585" y="4386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CD1DE"/>
                  </a:solidFill>
                  <a:ln w="2339"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1795E0F4-2AE3-F852-2E57-37A5E2601765}"/>
                      </a:ext>
                    </a:extLst>
                  </p:cNvPr>
                  <p:cNvSpPr/>
                  <p:nvPr userDrawn="1"/>
                </p:nvSpPr>
                <p:spPr>
                  <a:xfrm>
                    <a:off x="8430077" y="43862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1DE"/>
                  </a:solidFill>
                  <a:ln w="2339"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324A5045-0EA9-A447-46CB-DEDC3E9FE1BE}"/>
                      </a:ext>
                    </a:extLst>
                  </p:cNvPr>
                  <p:cNvSpPr/>
                  <p:nvPr userDrawn="1"/>
                </p:nvSpPr>
                <p:spPr>
                  <a:xfrm>
                    <a:off x="8430545" y="438601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1DE"/>
                  </a:solidFill>
                  <a:ln w="2339"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6CB39175-7478-BA68-6C26-5444F358FC79}"/>
                      </a:ext>
                    </a:extLst>
                  </p:cNvPr>
                  <p:cNvSpPr/>
                  <p:nvPr userDrawn="1"/>
                </p:nvSpPr>
                <p:spPr>
                  <a:xfrm>
                    <a:off x="8431013" y="43858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DD2DE"/>
                  </a:solidFill>
                  <a:ln w="2339"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3C43FD3E-580D-4D97-929E-EB3E61E8FA7F}"/>
                      </a:ext>
                    </a:extLst>
                  </p:cNvPr>
                  <p:cNvSpPr/>
                  <p:nvPr userDrawn="1"/>
                </p:nvSpPr>
                <p:spPr>
                  <a:xfrm>
                    <a:off x="8431504" y="4385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CDD2DF"/>
                  </a:solidFill>
                  <a:ln w="2339"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B28A74D4-7510-7E0E-1C3A-85F74C84443E}"/>
                      </a:ext>
                    </a:extLst>
                  </p:cNvPr>
                  <p:cNvSpPr/>
                  <p:nvPr userDrawn="1"/>
                </p:nvSpPr>
                <p:spPr>
                  <a:xfrm>
                    <a:off x="8431972" y="43854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1A38C5B8-407C-8E56-D703-88721853398D}"/>
                      </a:ext>
                    </a:extLst>
                  </p:cNvPr>
                  <p:cNvSpPr/>
                  <p:nvPr userDrawn="1"/>
                </p:nvSpPr>
                <p:spPr>
                  <a:xfrm>
                    <a:off x="8432440" y="43852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2DF"/>
                  </a:solidFill>
                  <a:ln w="2339"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7FBC0DAD-BCCC-24B0-68D4-CB99205C7856}"/>
                      </a:ext>
                    </a:extLst>
                  </p:cNvPr>
                  <p:cNvSpPr/>
                  <p:nvPr userDrawn="1"/>
                </p:nvSpPr>
                <p:spPr>
                  <a:xfrm>
                    <a:off x="8432908" y="438505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CED3DF"/>
                  </a:solidFill>
                  <a:ln w="2339"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594AAFCC-CFD4-4707-2276-2549C38554FF}"/>
                      </a:ext>
                    </a:extLst>
                  </p:cNvPr>
                  <p:cNvSpPr/>
                  <p:nvPr userDrawn="1"/>
                </p:nvSpPr>
                <p:spPr>
                  <a:xfrm>
                    <a:off x="8433376" y="438486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CFD3DF"/>
                  </a:solidFill>
                  <a:ln w="2339"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ED6069CC-95C0-3A5D-1345-36BBA48E650E}"/>
                      </a:ext>
                    </a:extLst>
                  </p:cNvPr>
                  <p:cNvSpPr/>
                  <p:nvPr userDrawn="1"/>
                </p:nvSpPr>
                <p:spPr>
                  <a:xfrm>
                    <a:off x="8433844" y="43846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CFD3E0"/>
                  </a:solidFill>
                  <a:ln w="2339"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A825F7D3-3965-5989-947B-C4ACB18D7D13}"/>
                      </a:ext>
                    </a:extLst>
                  </p:cNvPr>
                  <p:cNvSpPr/>
                  <p:nvPr userDrawn="1"/>
                </p:nvSpPr>
                <p:spPr>
                  <a:xfrm>
                    <a:off x="8434312" y="43844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CFD4E0"/>
                  </a:solidFill>
                  <a:ln w="2339"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1B8986A1-1476-A89B-0F2E-876451C01E64}"/>
                      </a:ext>
                    </a:extLst>
                  </p:cNvPr>
                  <p:cNvSpPr/>
                  <p:nvPr userDrawn="1"/>
                </p:nvSpPr>
                <p:spPr>
                  <a:xfrm>
                    <a:off x="8434780" y="43842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0D4E0"/>
                  </a:solidFill>
                  <a:ln w="2339" cap="flat">
                    <a:no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C73B4115-5F4A-B557-F4BA-A57BB1418590}"/>
                      </a:ext>
                    </a:extLst>
                  </p:cNvPr>
                  <p:cNvSpPr/>
                  <p:nvPr userDrawn="1"/>
                </p:nvSpPr>
                <p:spPr>
                  <a:xfrm>
                    <a:off x="8435225" y="438409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0D4E0"/>
                  </a:solidFill>
                  <a:ln w="2339"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B6B91C9E-8D52-F3E0-71EB-9D419FB46B14}"/>
                      </a:ext>
                    </a:extLst>
                  </p:cNvPr>
                  <p:cNvSpPr/>
                  <p:nvPr userDrawn="1"/>
                </p:nvSpPr>
                <p:spPr>
                  <a:xfrm>
                    <a:off x="8435693" y="43838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0D4E0"/>
                  </a:solidFill>
                  <a:ln w="2339"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60D9B1D8-BD52-8288-CF1B-5DDA726C3322}"/>
                      </a:ext>
                    </a:extLst>
                  </p:cNvPr>
                  <p:cNvSpPr/>
                  <p:nvPr userDrawn="1"/>
                </p:nvSpPr>
                <p:spPr>
                  <a:xfrm>
                    <a:off x="8436137" y="43836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DB2BA04F-24FE-2F94-A737-F712D93E274D}"/>
                      </a:ext>
                    </a:extLst>
                  </p:cNvPr>
                  <p:cNvSpPr/>
                  <p:nvPr userDrawn="1"/>
                </p:nvSpPr>
                <p:spPr>
                  <a:xfrm>
                    <a:off x="8436605" y="43834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1D5E1"/>
                  </a:solidFill>
                  <a:ln w="2339"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F79752B7-C4DC-4AAC-EDA5-DAA94DB832DF}"/>
                      </a:ext>
                    </a:extLst>
                  </p:cNvPr>
                  <p:cNvSpPr/>
                  <p:nvPr userDrawn="1"/>
                </p:nvSpPr>
                <p:spPr>
                  <a:xfrm>
                    <a:off x="8437050" y="438329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1D5E1"/>
                  </a:solidFill>
                  <a:ln w="2339"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7CDAF092-8EA5-BA98-B01B-219CE81AFFD1}"/>
                      </a:ext>
                    </a:extLst>
                  </p:cNvPr>
                  <p:cNvSpPr/>
                  <p:nvPr userDrawn="1"/>
                </p:nvSpPr>
                <p:spPr>
                  <a:xfrm>
                    <a:off x="8437518" y="43830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1D6E1"/>
                  </a:solidFill>
                  <a:ln w="2339"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710B3214-7A4A-D0AC-6940-3EE433CA5E25}"/>
                      </a:ext>
                    </a:extLst>
                  </p:cNvPr>
                  <p:cNvSpPr/>
                  <p:nvPr userDrawn="1"/>
                </p:nvSpPr>
                <p:spPr>
                  <a:xfrm>
                    <a:off x="8437963" y="43828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2D6E1"/>
                  </a:solidFill>
                  <a:ln w="2339"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3003BED7-3B7B-72DA-9511-7D640052D103}"/>
                      </a:ext>
                    </a:extLst>
                  </p:cNvPr>
                  <p:cNvSpPr/>
                  <p:nvPr userDrawn="1"/>
                </p:nvSpPr>
                <p:spPr>
                  <a:xfrm>
                    <a:off x="8438407" y="43826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2D6E2"/>
                  </a:solidFill>
                  <a:ln w="2339"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1A8C4ACB-9A1B-EFFA-4158-6FC8A1E7BE10}"/>
                      </a:ext>
                    </a:extLst>
                  </p:cNvPr>
                  <p:cNvSpPr/>
                  <p:nvPr userDrawn="1"/>
                </p:nvSpPr>
                <p:spPr>
                  <a:xfrm>
                    <a:off x="8438852" y="43824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2D6E2"/>
                  </a:solidFill>
                  <a:ln w="2339" cap="flat">
                    <a:no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12F860E9-81E1-C994-10AA-B87870E85DA5}"/>
                      </a:ext>
                    </a:extLst>
                  </p:cNvPr>
                  <p:cNvSpPr/>
                  <p:nvPr userDrawn="1"/>
                </p:nvSpPr>
                <p:spPr>
                  <a:xfrm>
                    <a:off x="8439296" y="438226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C86B665D-8AFC-0405-4446-6956961C76CD}"/>
                      </a:ext>
                    </a:extLst>
                  </p:cNvPr>
                  <p:cNvSpPr/>
                  <p:nvPr userDrawn="1"/>
                </p:nvSpPr>
                <p:spPr>
                  <a:xfrm>
                    <a:off x="8439741" y="438205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97E3603F-B402-923D-B4FF-81A25C5027E6}"/>
                      </a:ext>
                    </a:extLst>
                  </p:cNvPr>
                  <p:cNvSpPr/>
                  <p:nvPr userDrawn="1"/>
                </p:nvSpPr>
                <p:spPr>
                  <a:xfrm>
                    <a:off x="8440186" y="438184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3D7E2"/>
                  </a:solidFill>
                  <a:ln w="2339"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A5C663A0-C499-8827-60D8-19FD35DAAAF2}"/>
                      </a:ext>
                    </a:extLst>
                  </p:cNvPr>
                  <p:cNvSpPr/>
                  <p:nvPr userDrawn="1"/>
                </p:nvSpPr>
                <p:spPr>
                  <a:xfrm>
                    <a:off x="8440630" y="43816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4D7E3"/>
                  </a:solidFill>
                  <a:ln w="2339"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CAC7F53E-153C-EB60-5F4C-70CC9CDB86FF}"/>
                      </a:ext>
                    </a:extLst>
                  </p:cNvPr>
                  <p:cNvSpPr/>
                  <p:nvPr userDrawn="1"/>
                </p:nvSpPr>
                <p:spPr>
                  <a:xfrm>
                    <a:off x="8441075" y="438145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4D8E3"/>
                  </a:solidFill>
                  <a:ln w="2339"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E238312C-2E33-122D-D2BA-86FB5514ED5B}"/>
                      </a:ext>
                    </a:extLst>
                  </p:cNvPr>
                  <p:cNvSpPr/>
                  <p:nvPr userDrawn="1"/>
                </p:nvSpPr>
                <p:spPr>
                  <a:xfrm>
                    <a:off x="8441496" y="43812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F7C63CCE-3D04-B1B7-6B99-C1B54E3A3C17}"/>
                      </a:ext>
                    </a:extLst>
                  </p:cNvPr>
                  <p:cNvSpPr/>
                  <p:nvPr userDrawn="1"/>
                </p:nvSpPr>
                <p:spPr>
                  <a:xfrm>
                    <a:off x="8441941" y="438102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4D8E3"/>
                  </a:solidFill>
                  <a:ln w="2339"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C05D2F79-48C2-8A83-0204-9F52DD199D45}"/>
                      </a:ext>
                    </a:extLst>
                  </p:cNvPr>
                  <p:cNvSpPr/>
                  <p:nvPr userDrawn="1"/>
                </p:nvSpPr>
                <p:spPr>
                  <a:xfrm>
                    <a:off x="8442362" y="43808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5D9E3"/>
                  </a:solidFill>
                  <a:ln w="2339"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9197AA2D-5807-B5BE-4247-1FB104A6E083}"/>
                      </a:ext>
                    </a:extLst>
                  </p:cNvPr>
                  <p:cNvSpPr/>
                  <p:nvPr userDrawn="1"/>
                </p:nvSpPr>
                <p:spPr>
                  <a:xfrm>
                    <a:off x="8442806" y="438060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5D9E4"/>
                  </a:solidFill>
                  <a:ln w="2339"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9CFD8C9E-2181-9658-84C9-A3018DFBBA4A}"/>
                      </a:ext>
                    </a:extLst>
                  </p:cNvPr>
                  <p:cNvSpPr/>
                  <p:nvPr userDrawn="1"/>
                </p:nvSpPr>
                <p:spPr>
                  <a:xfrm>
                    <a:off x="8443228" y="438037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5D9E4"/>
                  </a:solidFill>
                  <a:ln w="2339"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E3374B48-FE84-DEAC-A4DF-1317A263AFE3}"/>
                      </a:ext>
                    </a:extLst>
                  </p:cNvPr>
                  <p:cNvSpPr/>
                  <p:nvPr userDrawn="1"/>
                </p:nvSpPr>
                <p:spPr>
                  <a:xfrm>
                    <a:off x="8443649" y="43801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6D9E4"/>
                  </a:solidFill>
                  <a:ln w="2339" cap="flat">
                    <a:no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3A0AD63E-FB47-C5E3-770B-5D1F3ABDD389}"/>
                      </a:ext>
                    </a:extLst>
                  </p:cNvPr>
                  <p:cNvSpPr/>
                  <p:nvPr userDrawn="1"/>
                </p:nvSpPr>
                <p:spPr>
                  <a:xfrm>
                    <a:off x="8444093" y="43799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6DAE4"/>
                  </a:solidFill>
                  <a:ln w="2339" cap="flat">
                    <a:no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C09CBE37-2297-76C7-71AA-9D69F15C95A4}"/>
                      </a:ext>
                    </a:extLst>
                  </p:cNvPr>
                  <p:cNvSpPr/>
                  <p:nvPr userDrawn="1"/>
                </p:nvSpPr>
                <p:spPr>
                  <a:xfrm>
                    <a:off x="8444515" y="43797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6DAE4"/>
                  </a:solidFill>
                  <a:ln w="2339" cap="flat">
                    <a:no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8D90156C-52DD-C1A2-9E21-4C21FB341933}"/>
                      </a:ext>
                    </a:extLst>
                  </p:cNvPr>
                  <p:cNvSpPr/>
                  <p:nvPr userDrawn="1"/>
                </p:nvSpPr>
                <p:spPr>
                  <a:xfrm>
                    <a:off x="8444936" y="43795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7DAE5"/>
                  </a:solidFill>
                  <a:ln w="2339"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62333208-0D17-E50A-573E-AD4BD02AAE0C}"/>
                      </a:ext>
                    </a:extLst>
                  </p:cNvPr>
                  <p:cNvSpPr/>
                  <p:nvPr userDrawn="1"/>
                </p:nvSpPr>
                <p:spPr>
                  <a:xfrm>
                    <a:off x="8445357" y="43792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D8E2826F-1419-81EF-4988-7FD590160E92}"/>
                      </a:ext>
                    </a:extLst>
                  </p:cNvPr>
                  <p:cNvSpPr/>
                  <p:nvPr userDrawn="1"/>
                </p:nvSpPr>
                <p:spPr>
                  <a:xfrm>
                    <a:off x="8445778" y="43790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7DBE5"/>
                  </a:solidFill>
                  <a:ln w="2339"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BA4D808E-F7E6-B366-C5F5-318E1CB6B629}"/>
                      </a:ext>
                    </a:extLst>
                  </p:cNvPr>
                  <p:cNvSpPr/>
                  <p:nvPr userDrawn="1"/>
                </p:nvSpPr>
                <p:spPr>
                  <a:xfrm>
                    <a:off x="8446176" y="43788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8DBE5"/>
                  </a:solidFill>
                  <a:ln w="2339"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3805DE3E-43E4-6301-9826-2BCFA53FD0A9}"/>
                      </a:ext>
                    </a:extLst>
                  </p:cNvPr>
                  <p:cNvSpPr/>
                  <p:nvPr userDrawn="1"/>
                </p:nvSpPr>
                <p:spPr>
                  <a:xfrm>
                    <a:off x="8446597" y="43786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BE5"/>
                  </a:solidFill>
                  <a:ln w="2339"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6A06AA9E-2ADC-3A8B-3AE2-378CB96769C7}"/>
                      </a:ext>
                    </a:extLst>
                  </p:cNvPr>
                  <p:cNvSpPr/>
                  <p:nvPr userDrawn="1"/>
                </p:nvSpPr>
                <p:spPr>
                  <a:xfrm>
                    <a:off x="8447018" y="437843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8DCE6"/>
                  </a:solidFill>
                  <a:ln w="2339"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5AFB8B8F-E3C0-79C6-456D-D1CCFC9A153B}"/>
                      </a:ext>
                    </a:extLst>
                  </p:cNvPr>
                  <p:cNvSpPr/>
                  <p:nvPr userDrawn="1"/>
                </p:nvSpPr>
                <p:spPr>
                  <a:xfrm>
                    <a:off x="8447416" y="437819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8DCE6"/>
                  </a:solidFill>
                  <a:ln w="2339"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1831B771-94DB-7407-44CC-ECC59FF3484F}"/>
                      </a:ext>
                    </a:extLst>
                  </p:cNvPr>
                  <p:cNvSpPr/>
                  <p:nvPr userDrawn="1"/>
                </p:nvSpPr>
                <p:spPr>
                  <a:xfrm>
                    <a:off x="8447814" y="43779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9DCE6"/>
                  </a:solidFill>
                  <a:ln w="2339" cap="flat">
                    <a:no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D5AE51A5-B741-CC5B-EF75-8B1C6F3910CA}"/>
                      </a:ext>
                    </a:extLst>
                  </p:cNvPr>
                  <p:cNvSpPr/>
                  <p:nvPr userDrawn="1"/>
                </p:nvSpPr>
                <p:spPr>
                  <a:xfrm>
                    <a:off x="8448235" y="437775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9DCE6"/>
                  </a:solidFill>
                  <a:ln w="2339"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53AF27A3-FE2E-6066-A009-841B3CD848A0}"/>
                      </a:ext>
                    </a:extLst>
                  </p:cNvPr>
                  <p:cNvSpPr/>
                  <p:nvPr userDrawn="1"/>
                </p:nvSpPr>
                <p:spPr>
                  <a:xfrm>
                    <a:off x="8448633" y="437751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9DDE6"/>
                  </a:solidFill>
                  <a:ln w="2339"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EA52C698-021B-FC68-82B8-D471F9E39E46}"/>
                      </a:ext>
                    </a:extLst>
                  </p:cNvPr>
                  <p:cNvSpPr/>
                  <p:nvPr userDrawn="1"/>
                </p:nvSpPr>
                <p:spPr>
                  <a:xfrm>
                    <a:off x="8449031" y="43773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ADDE7"/>
                  </a:solidFill>
                  <a:ln w="2339" cap="flat">
                    <a:no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EAE2B3AE-D5EB-B78E-96B6-D9E135B31601}"/>
                      </a:ext>
                    </a:extLst>
                  </p:cNvPr>
                  <p:cNvSpPr/>
                  <p:nvPr userDrawn="1"/>
                </p:nvSpPr>
                <p:spPr>
                  <a:xfrm>
                    <a:off x="8449429" y="437707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DE7"/>
                  </a:solidFill>
                  <a:ln w="2339"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6C548EF1-F4EC-AFB1-C456-F2B3FB6F0845}"/>
                      </a:ext>
                    </a:extLst>
                  </p:cNvPr>
                  <p:cNvSpPr/>
                  <p:nvPr userDrawn="1"/>
                </p:nvSpPr>
                <p:spPr>
                  <a:xfrm>
                    <a:off x="8449826" y="437684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ADEE7"/>
                  </a:solidFill>
                  <a:ln w="2339"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B985A7AE-4B40-F9FF-5E56-C227D6A8D191}"/>
                      </a:ext>
                    </a:extLst>
                  </p:cNvPr>
                  <p:cNvSpPr/>
                  <p:nvPr userDrawn="1"/>
                </p:nvSpPr>
                <p:spPr>
                  <a:xfrm>
                    <a:off x="8450224" y="43766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DBDEE7"/>
                  </a:solidFill>
                  <a:ln w="2339"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91A4414E-69D5-2C9D-3AED-6794E5E064CE}"/>
                      </a:ext>
                    </a:extLst>
                  </p:cNvPr>
                  <p:cNvSpPr/>
                  <p:nvPr userDrawn="1"/>
                </p:nvSpPr>
                <p:spPr>
                  <a:xfrm>
                    <a:off x="8450622" y="43763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BDEE7"/>
                  </a:solidFill>
                  <a:ln w="2339"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443D24D2-6D8C-7F52-9ED6-9125D9B14E31}"/>
                      </a:ext>
                    </a:extLst>
                  </p:cNvPr>
                  <p:cNvSpPr/>
                  <p:nvPr userDrawn="1"/>
                </p:nvSpPr>
                <p:spPr>
                  <a:xfrm>
                    <a:off x="8451020" y="437616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BDEE8"/>
                  </a:solidFill>
                  <a:ln w="2339"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7096ADD3-B728-1020-1603-43FD95A89C36}"/>
                      </a:ext>
                    </a:extLst>
                  </p:cNvPr>
                  <p:cNvSpPr/>
                  <p:nvPr userDrawn="1"/>
                </p:nvSpPr>
                <p:spPr>
                  <a:xfrm>
                    <a:off x="8451394" y="437592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61E4B92F-3812-AA11-42E4-F8D9DFC0F97A}"/>
                      </a:ext>
                    </a:extLst>
                  </p:cNvPr>
                  <p:cNvSpPr/>
                  <p:nvPr userDrawn="1"/>
                </p:nvSpPr>
                <p:spPr>
                  <a:xfrm>
                    <a:off x="8451792" y="437569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DFE8"/>
                  </a:solidFill>
                  <a:ln w="2339"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3AAF5499-D8B0-B713-6161-051600628070}"/>
                      </a:ext>
                    </a:extLst>
                  </p:cNvPr>
                  <p:cNvSpPr/>
                  <p:nvPr userDrawn="1"/>
                </p:nvSpPr>
                <p:spPr>
                  <a:xfrm>
                    <a:off x="8452166" y="437546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CDFE8"/>
                  </a:solidFill>
                  <a:ln w="2339"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97738CDB-6206-BCFE-22C6-45D59D19FC9A}"/>
                      </a:ext>
                    </a:extLst>
                  </p:cNvPr>
                  <p:cNvSpPr/>
                  <p:nvPr userDrawn="1"/>
                </p:nvSpPr>
                <p:spPr>
                  <a:xfrm>
                    <a:off x="8452564" y="43752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CE0E8"/>
                  </a:solidFill>
                  <a:ln w="2339" cap="flat">
                    <a:no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815F15DD-70E6-BE5C-8C64-860EA20FCEB7}"/>
                      </a:ext>
                    </a:extLst>
                  </p:cNvPr>
                  <p:cNvSpPr/>
                  <p:nvPr userDrawn="1"/>
                </p:nvSpPr>
                <p:spPr>
                  <a:xfrm>
                    <a:off x="8452939" y="437499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DE0E9"/>
                  </a:solidFill>
                  <a:ln w="2339"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F5169089-D066-7519-E149-66D3B8DFE78B}"/>
                      </a:ext>
                    </a:extLst>
                  </p:cNvPr>
                  <p:cNvSpPr/>
                  <p:nvPr userDrawn="1"/>
                </p:nvSpPr>
                <p:spPr>
                  <a:xfrm>
                    <a:off x="8453313" y="437475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799D473F-5110-FA61-69BC-9E00B460B1BD}"/>
                      </a:ext>
                    </a:extLst>
                  </p:cNvPr>
                  <p:cNvSpPr/>
                  <p:nvPr userDrawn="1"/>
                </p:nvSpPr>
                <p:spPr>
                  <a:xfrm>
                    <a:off x="8453688" y="43745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DE0E9"/>
                  </a:solidFill>
                  <a:ln w="2339" cap="flat">
                    <a:no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489C8F4F-0E33-E02C-E076-BF13C149201E}"/>
                      </a:ext>
                    </a:extLst>
                  </p:cNvPr>
                  <p:cNvSpPr/>
                  <p:nvPr userDrawn="1"/>
                </p:nvSpPr>
                <p:spPr>
                  <a:xfrm>
                    <a:off x="8454062" y="437429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EE1E9"/>
                  </a:solidFill>
                  <a:ln w="2339"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DB2BDFA5-124E-D9D4-6A8E-5FED53715F28}"/>
                      </a:ext>
                    </a:extLst>
                  </p:cNvPr>
                  <p:cNvSpPr/>
                  <p:nvPr userDrawn="1"/>
                </p:nvSpPr>
                <p:spPr>
                  <a:xfrm>
                    <a:off x="8454436" y="437405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DEE1E9"/>
                  </a:solidFill>
                  <a:ln w="2339"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05779979-19EC-BC54-3314-9D8DADA04609}"/>
                      </a:ext>
                    </a:extLst>
                  </p:cNvPr>
                  <p:cNvSpPr/>
                  <p:nvPr userDrawn="1"/>
                </p:nvSpPr>
                <p:spPr>
                  <a:xfrm>
                    <a:off x="8454811" y="43738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43"/>
                          <a:pt x="0" y="21037"/>
                        </a:cubicBezTo>
                        <a:close/>
                      </a:path>
                    </a:pathLst>
                  </a:custGeom>
                  <a:solidFill>
                    <a:srgbClr val="DEE1EA"/>
                  </a:solidFill>
                  <a:ln w="2339" cap="flat">
                    <a:noFill/>
                    <a:prstDash val="solid"/>
                    <a:miter/>
                  </a:ln>
                </p:spPr>
                <p:txBody>
                  <a:bodyPr rtlCol="0" anchor="ctr"/>
                  <a:lstStyle/>
                  <a:p>
                    <a:endParaRPr lang="en-US"/>
                  </a:p>
                </p:txBody>
              </p:sp>
              <p:sp>
                <p:nvSpPr>
                  <p:cNvPr id="433" name="Freeform: Shape 432">
                    <a:extLst>
                      <a:ext uri="{FF2B5EF4-FFF2-40B4-BE49-F238E27FC236}">
                        <a16:creationId xmlns:a16="http://schemas.microsoft.com/office/drawing/2014/main" id="{C315D509-7B4D-4C3D-B75F-06372E91E82E}"/>
                      </a:ext>
                    </a:extLst>
                  </p:cNvPr>
                  <p:cNvSpPr/>
                  <p:nvPr userDrawn="1"/>
                </p:nvSpPr>
                <p:spPr>
                  <a:xfrm>
                    <a:off x="8455162" y="43735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DFE1EA"/>
                  </a:solidFill>
                  <a:ln w="2339" cap="flat">
                    <a:no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69075510-B360-2D2E-1FA4-6023F71398BA}"/>
                      </a:ext>
                    </a:extLst>
                  </p:cNvPr>
                  <p:cNvSpPr/>
                  <p:nvPr userDrawn="1"/>
                </p:nvSpPr>
                <p:spPr>
                  <a:xfrm>
                    <a:off x="8455536" y="43733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96E378DC-F8C7-0469-1926-7788D55B7524}"/>
                      </a:ext>
                    </a:extLst>
                  </p:cNvPr>
                  <p:cNvSpPr/>
                  <p:nvPr userDrawn="1"/>
                </p:nvSpPr>
                <p:spPr>
                  <a:xfrm>
                    <a:off x="8455887" y="437309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DFE2EA"/>
                  </a:solidFill>
                  <a:ln w="2339" cap="flat">
                    <a:no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2CF97E13-FFE4-272A-011B-4319892E8DE0}"/>
                      </a:ext>
                    </a:extLst>
                  </p:cNvPr>
                  <p:cNvSpPr/>
                  <p:nvPr userDrawn="1"/>
                </p:nvSpPr>
                <p:spPr>
                  <a:xfrm>
                    <a:off x="8456262" y="43728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DFE2EA"/>
                  </a:solidFill>
                  <a:ln w="2339"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8E389127-7521-FD94-5EFA-4039F80929F1}"/>
                      </a:ext>
                    </a:extLst>
                  </p:cNvPr>
                  <p:cNvSpPr/>
                  <p:nvPr userDrawn="1"/>
                </p:nvSpPr>
                <p:spPr>
                  <a:xfrm>
                    <a:off x="8456613" y="43726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8320630F-8EFD-777B-F064-0EFCA7902DC6}"/>
                      </a:ext>
                    </a:extLst>
                  </p:cNvPr>
                  <p:cNvSpPr/>
                  <p:nvPr userDrawn="1"/>
                </p:nvSpPr>
                <p:spPr>
                  <a:xfrm>
                    <a:off x="8456964" y="437237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0E3EB"/>
                  </a:solidFill>
                  <a:ln w="2339"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21787EDC-BD08-3873-4228-70986C3A0BB5}"/>
                      </a:ext>
                    </a:extLst>
                  </p:cNvPr>
                  <p:cNvSpPr/>
                  <p:nvPr userDrawn="1"/>
                </p:nvSpPr>
                <p:spPr>
                  <a:xfrm>
                    <a:off x="8457315" y="437211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0E3EB"/>
                  </a:solidFill>
                  <a:ln w="2339" cap="flat">
                    <a:no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983F7EDB-E105-D5ED-C189-3F672E326838}"/>
                      </a:ext>
                    </a:extLst>
                  </p:cNvPr>
                  <p:cNvSpPr/>
                  <p:nvPr userDrawn="1"/>
                </p:nvSpPr>
                <p:spPr>
                  <a:xfrm>
                    <a:off x="8457666" y="437188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3EB"/>
                  </a:solidFill>
                  <a:ln w="2339" cap="flat">
                    <a:no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4942D738-D357-735B-F858-760BD17D8CCB}"/>
                      </a:ext>
                    </a:extLst>
                  </p:cNvPr>
                  <p:cNvSpPr/>
                  <p:nvPr userDrawn="1"/>
                </p:nvSpPr>
                <p:spPr>
                  <a:xfrm>
                    <a:off x="8458017" y="43716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1E4EB"/>
                  </a:solidFill>
                  <a:ln w="2339" cap="flat">
                    <a:no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B30D68BE-867F-A03C-29F3-BA31AA45AAFB}"/>
                      </a:ext>
                    </a:extLst>
                  </p:cNvPr>
                  <p:cNvSpPr/>
                  <p:nvPr userDrawn="1"/>
                </p:nvSpPr>
                <p:spPr>
                  <a:xfrm>
                    <a:off x="8458368" y="437138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1E4EC"/>
                  </a:solidFill>
                  <a:ln w="2339" cap="flat">
                    <a:no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6EBA6CEA-6B5D-0778-C7C2-6152B1FB771F}"/>
                      </a:ext>
                    </a:extLst>
                  </p:cNvPr>
                  <p:cNvSpPr/>
                  <p:nvPr userDrawn="1"/>
                </p:nvSpPr>
                <p:spPr>
                  <a:xfrm>
                    <a:off x="8458719" y="437113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2E4EC"/>
                  </a:solidFill>
                  <a:ln w="2339" cap="flat">
                    <a:no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7CEC4550-6D3C-8EAA-7F63-7CF26396B92B}"/>
                      </a:ext>
                    </a:extLst>
                  </p:cNvPr>
                  <p:cNvSpPr/>
                  <p:nvPr userDrawn="1"/>
                </p:nvSpPr>
                <p:spPr>
                  <a:xfrm>
                    <a:off x="8459046" y="437087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2E5EC"/>
                  </a:solidFill>
                  <a:ln w="2339" cap="flat">
                    <a:no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FAB69673-4A6A-27A2-2B8B-0E244446591F}"/>
                      </a:ext>
                    </a:extLst>
                  </p:cNvPr>
                  <p:cNvSpPr/>
                  <p:nvPr userDrawn="1"/>
                </p:nvSpPr>
                <p:spPr>
                  <a:xfrm>
                    <a:off x="8459397" y="437063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2E5EC"/>
                  </a:solidFill>
                  <a:ln w="2339" cap="flat">
                    <a:no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06732E06-0D9D-E393-24D3-D5AB21E1B94A}"/>
                      </a:ext>
                    </a:extLst>
                  </p:cNvPr>
                  <p:cNvSpPr/>
                  <p:nvPr userDrawn="1"/>
                </p:nvSpPr>
                <p:spPr>
                  <a:xfrm>
                    <a:off x="8459725" y="43703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C"/>
                  </a:solidFill>
                  <a:ln w="2339" cap="flat">
                    <a:no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E88E1CEA-D3B8-D17E-6DAC-468D6A63C864}"/>
                      </a:ext>
                    </a:extLst>
                  </p:cNvPr>
                  <p:cNvSpPr/>
                  <p:nvPr userDrawn="1"/>
                </p:nvSpPr>
                <p:spPr>
                  <a:xfrm>
                    <a:off x="8460052" y="43701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3E5ED"/>
                  </a:solidFill>
                  <a:ln w="2339" cap="flat">
                    <a:no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77E78768-6D16-AFD5-1701-736A40206771}"/>
                      </a:ext>
                    </a:extLst>
                  </p:cNvPr>
                  <p:cNvSpPr/>
                  <p:nvPr userDrawn="1"/>
                </p:nvSpPr>
                <p:spPr>
                  <a:xfrm>
                    <a:off x="8460403" y="436989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3E6ED"/>
                  </a:solidFill>
                  <a:ln w="2339" cap="flat">
                    <a:no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119F834C-A698-0802-FA4B-4FAF6B62985F}"/>
                      </a:ext>
                    </a:extLst>
                  </p:cNvPr>
                  <p:cNvSpPr/>
                  <p:nvPr userDrawn="1"/>
                </p:nvSpPr>
                <p:spPr>
                  <a:xfrm>
                    <a:off x="8460731" y="436963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3E6ED"/>
                  </a:solidFill>
                  <a:ln w="2339" cap="flat">
                    <a:no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31CB67B3-F60A-6556-5261-113685E2B506}"/>
                      </a:ext>
                    </a:extLst>
                  </p:cNvPr>
                  <p:cNvSpPr/>
                  <p:nvPr userDrawn="1"/>
                </p:nvSpPr>
                <p:spPr>
                  <a:xfrm>
                    <a:off x="8461059" y="43693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4E6ED"/>
                  </a:solidFill>
                  <a:ln w="2339"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7440B663-6638-66F2-C019-57E3016BF97D}"/>
                      </a:ext>
                    </a:extLst>
                  </p:cNvPr>
                  <p:cNvSpPr/>
                  <p:nvPr userDrawn="1"/>
                </p:nvSpPr>
                <p:spPr>
                  <a:xfrm>
                    <a:off x="8461363" y="43691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6ED"/>
                  </a:solidFill>
                  <a:ln w="2339" cap="flat">
                    <a:no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FD7677C8-F4E8-AA9B-C4AA-FB76F9277AB4}"/>
                      </a:ext>
                    </a:extLst>
                  </p:cNvPr>
                  <p:cNvSpPr/>
                  <p:nvPr userDrawn="1"/>
                </p:nvSpPr>
                <p:spPr>
                  <a:xfrm>
                    <a:off x="8461690" y="43688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4E7EE"/>
                  </a:solidFill>
                  <a:ln w="2339" cap="flat">
                    <a:no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74BB0F45-8444-8456-5A5D-39FF4D09F7B0}"/>
                      </a:ext>
                    </a:extLst>
                  </p:cNvPr>
                  <p:cNvSpPr/>
                  <p:nvPr userDrawn="1"/>
                </p:nvSpPr>
                <p:spPr>
                  <a:xfrm>
                    <a:off x="8462018" y="43686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5E7EE"/>
                  </a:solidFill>
                  <a:ln w="2339" cap="flat">
                    <a:no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4E7DA1EA-B15B-0ACD-69BB-658274D9A48F}"/>
                      </a:ext>
                    </a:extLst>
                  </p:cNvPr>
                  <p:cNvSpPr/>
                  <p:nvPr userDrawn="1"/>
                </p:nvSpPr>
                <p:spPr>
                  <a:xfrm>
                    <a:off x="8462322" y="436837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43"/>
                          <a:pt x="0" y="21037"/>
                        </a:cubicBezTo>
                        <a:close/>
                      </a:path>
                    </a:pathLst>
                  </a:custGeom>
                  <a:solidFill>
                    <a:srgbClr val="E5E7EE"/>
                  </a:solidFill>
                  <a:ln w="2339" cap="flat">
                    <a:no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E05414D4-707D-9473-2AD5-DE03E07A9599}"/>
                      </a:ext>
                    </a:extLst>
                  </p:cNvPr>
                  <p:cNvSpPr/>
                  <p:nvPr userDrawn="1"/>
                </p:nvSpPr>
                <p:spPr>
                  <a:xfrm>
                    <a:off x="8462650" y="436811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5E8EE"/>
                  </a:solidFill>
                  <a:ln w="2339" cap="flat">
                    <a:no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C398BDF1-2E2B-88B0-1739-89B04B7494C6}"/>
                      </a:ext>
                    </a:extLst>
                  </p:cNvPr>
                  <p:cNvSpPr/>
                  <p:nvPr userDrawn="1"/>
                </p:nvSpPr>
                <p:spPr>
                  <a:xfrm>
                    <a:off x="8463048" y="43677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6E8EE"/>
                  </a:solidFill>
                  <a:ln w="2339" cap="flat">
                    <a:no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F541EDCB-F468-3379-86C2-91209714AB6C}"/>
                      </a:ext>
                    </a:extLst>
                  </p:cNvPr>
                  <p:cNvSpPr/>
                  <p:nvPr userDrawn="1"/>
                </p:nvSpPr>
                <p:spPr>
                  <a:xfrm>
                    <a:off x="8463539" y="436736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6E8EF"/>
                  </a:solidFill>
                  <a:ln w="2339"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DD9BD855-1828-7AB2-3212-98EA0ED29B92}"/>
                      </a:ext>
                    </a:extLst>
                  </p:cNvPr>
                  <p:cNvSpPr/>
                  <p:nvPr userDrawn="1"/>
                </p:nvSpPr>
                <p:spPr>
                  <a:xfrm>
                    <a:off x="8464030" y="436694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6E8EF"/>
                  </a:solidFill>
                  <a:ln w="2339"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3B286818-4EB5-359B-DC7B-A824CD95CF04}"/>
                      </a:ext>
                    </a:extLst>
                  </p:cNvPr>
                  <p:cNvSpPr/>
                  <p:nvPr userDrawn="1"/>
                </p:nvSpPr>
                <p:spPr>
                  <a:xfrm>
                    <a:off x="8464498" y="436654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4F502FF0-AD24-8A1D-E8FB-70D70C342624}"/>
                      </a:ext>
                    </a:extLst>
                  </p:cNvPr>
                  <p:cNvSpPr/>
                  <p:nvPr userDrawn="1"/>
                </p:nvSpPr>
                <p:spPr>
                  <a:xfrm>
                    <a:off x="8464966" y="436612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9EF"/>
                  </a:solidFill>
                  <a:ln w="2339" cap="flat">
                    <a:no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B40F71CB-EED7-C164-B247-44A92B191B79}"/>
                      </a:ext>
                    </a:extLst>
                  </p:cNvPr>
                  <p:cNvSpPr/>
                  <p:nvPr userDrawn="1"/>
                </p:nvSpPr>
                <p:spPr>
                  <a:xfrm>
                    <a:off x="8465434" y="436572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7E9EF"/>
                  </a:solidFill>
                  <a:ln w="2339"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BA8135C4-FFFE-C444-454F-99674D3F7073}"/>
                      </a:ext>
                    </a:extLst>
                  </p:cNvPr>
                  <p:cNvSpPr/>
                  <p:nvPr userDrawn="1"/>
                </p:nvSpPr>
                <p:spPr>
                  <a:xfrm>
                    <a:off x="8465902" y="436530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7EAF0"/>
                  </a:solidFill>
                  <a:ln w="2339"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A55D4538-5C0E-FDAB-AB1F-9B68553C9129}"/>
                      </a:ext>
                    </a:extLst>
                  </p:cNvPr>
                  <p:cNvSpPr/>
                  <p:nvPr userDrawn="1"/>
                </p:nvSpPr>
                <p:spPr>
                  <a:xfrm>
                    <a:off x="8466347" y="436490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8EAF0"/>
                  </a:solidFill>
                  <a:ln w="2339" cap="flat">
                    <a:no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7CC606ED-318C-DC91-D838-9DC6B767B499}"/>
                      </a:ext>
                    </a:extLst>
                  </p:cNvPr>
                  <p:cNvSpPr/>
                  <p:nvPr userDrawn="1"/>
                </p:nvSpPr>
                <p:spPr>
                  <a:xfrm>
                    <a:off x="8466815" y="436448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69A1DC14-B021-F8A1-3D99-7E6BC8D0B026}"/>
                      </a:ext>
                    </a:extLst>
                  </p:cNvPr>
                  <p:cNvSpPr/>
                  <p:nvPr userDrawn="1"/>
                </p:nvSpPr>
                <p:spPr>
                  <a:xfrm>
                    <a:off x="8467260" y="436406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8EAF0"/>
                  </a:solidFill>
                  <a:ln w="2339"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29A915D6-F55C-D844-7653-4319DD2213C5}"/>
                      </a:ext>
                    </a:extLst>
                  </p:cNvPr>
                  <p:cNvSpPr/>
                  <p:nvPr userDrawn="1"/>
                </p:nvSpPr>
                <p:spPr>
                  <a:xfrm>
                    <a:off x="8467681" y="43636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9EBF0"/>
                  </a:solidFill>
                  <a:ln w="2339"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463094DB-97A5-BEA0-7969-1B7E0B1F1B91}"/>
                      </a:ext>
                    </a:extLst>
                  </p:cNvPr>
                  <p:cNvSpPr/>
                  <p:nvPr userDrawn="1"/>
                </p:nvSpPr>
                <p:spPr>
                  <a:xfrm>
                    <a:off x="8468125" y="43632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32A745A0-A1C7-1328-E38F-F1A5DE3F9B85}"/>
                      </a:ext>
                    </a:extLst>
                  </p:cNvPr>
                  <p:cNvSpPr/>
                  <p:nvPr userDrawn="1"/>
                </p:nvSpPr>
                <p:spPr>
                  <a:xfrm>
                    <a:off x="8468547" y="43628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9EBF1"/>
                  </a:solidFill>
                  <a:ln w="2339" cap="flat">
                    <a:noFill/>
                    <a:prstDash val="solid"/>
                    <a:miter/>
                  </a:ln>
                </p:spPr>
                <p:txBody>
                  <a:bodyPr rtlCol="0" anchor="ctr"/>
                  <a:lstStyle/>
                  <a:p>
                    <a:endParaRPr lang="en-US"/>
                  </a:p>
                </p:txBody>
              </p:sp>
              <p:sp>
                <p:nvSpPr>
                  <p:cNvPr id="469" name="Freeform: Shape 468">
                    <a:extLst>
                      <a:ext uri="{FF2B5EF4-FFF2-40B4-BE49-F238E27FC236}">
                        <a16:creationId xmlns:a16="http://schemas.microsoft.com/office/drawing/2014/main" id="{E86220EF-827B-FB9D-3B46-112F890D8151}"/>
                      </a:ext>
                    </a:extLst>
                  </p:cNvPr>
                  <p:cNvSpPr/>
                  <p:nvPr userDrawn="1"/>
                </p:nvSpPr>
                <p:spPr>
                  <a:xfrm>
                    <a:off x="8468991" y="436242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AECF1"/>
                  </a:solidFill>
                  <a:ln w="2339"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86C9D181-96F8-63A6-6BFB-9945382E478C}"/>
                      </a:ext>
                    </a:extLst>
                  </p:cNvPr>
                  <p:cNvSpPr/>
                  <p:nvPr userDrawn="1"/>
                </p:nvSpPr>
                <p:spPr>
                  <a:xfrm>
                    <a:off x="8469389" y="436200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54E3E05E-8849-9164-C12C-7762250DAA8D}"/>
                      </a:ext>
                    </a:extLst>
                  </p:cNvPr>
                  <p:cNvSpPr/>
                  <p:nvPr userDrawn="1"/>
                </p:nvSpPr>
                <p:spPr>
                  <a:xfrm>
                    <a:off x="8469810" y="436158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AECF1"/>
                  </a:solidFill>
                  <a:ln w="2339" cap="flat">
                    <a:no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AE63AE51-17C8-4494-E593-39E588030573}"/>
                      </a:ext>
                    </a:extLst>
                  </p:cNvPr>
                  <p:cNvSpPr/>
                  <p:nvPr userDrawn="1"/>
                </p:nvSpPr>
                <p:spPr>
                  <a:xfrm>
                    <a:off x="8470231" y="436118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BECF2"/>
                  </a:solidFill>
                  <a:ln w="2339" cap="flat">
                    <a:no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3694AC3A-2866-DB3D-BFD5-21F51A7C3C96}"/>
                      </a:ext>
                    </a:extLst>
                  </p:cNvPr>
                  <p:cNvSpPr/>
                  <p:nvPr userDrawn="1"/>
                </p:nvSpPr>
                <p:spPr>
                  <a:xfrm>
                    <a:off x="8470629" y="436076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A75A8EC2-CE78-AC66-0E99-FA146AE8D7C4}"/>
                      </a:ext>
                    </a:extLst>
                  </p:cNvPr>
                  <p:cNvSpPr/>
                  <p:nvPr userDrawn="1"/>
                </p:nvSpPr>
                <p:spPr>
                  <a:xfrm>
                    <a:off x="8471027" y="436034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28AA380C-3154-5430-4751-C42DEBF11C58}"/>
                      </a:ext>
                    </a:extLst>
                  </p:cNvPr>
                  <p:cNvSpPr/>
                  <p:nvPr userDrawn="1"/>
                </p:nvSpPr>
                <p:spPr>
                  <a:xfrm>
                    <a:off x="8471425" y="435992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BEDF2"/>
                  </a:solidFill>
                  <a:ln w="2339" cap="flat">
                    <a:no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DE9C600B-54D6-C138-D767-03E7059AD085}"/>
                      </a:ext>
                    </a:extLst>
                  </p:cNvPr>
                  <p:cNvSpPr/>
                  <p:nvPr userDrawn="1"/>
                </p:nvSpPr>
                <p:spPr>
                  <a:xfrm>
                    <a:off x="8471799" y="435950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CEDF2"/>
                  </a:solidFill>
                  <a:ln w="2339" cap="flat">
                    <a:no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58548667-9977-3AB8-E265-731109175838}"/>
                      </a:ext>
                    </a:extLst>
                  </p:cNvPr>
                  <p:cNvSpPr/>
                  <p:nvPr userDrawn="1"/>
                </p:nvSpPr>
                <p:spPr>
                  <a:xfrm>
                    <a:off x="8472174" y="43591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D8B37B86-C294-B3E6-7EFE-C39E4E64C78A}"/>
                      </a:ext>
                    </a:extLst>
                  </p:cNvPr>
                  <p:cNvSpPr/>
                  <p:nvPr userDrawn="1"/>
                </p:nvSpPr>
                <p:spPr>
                  <a:xfrm>
                    <a:off x="8472548" y="435868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CEEF3"/>
                  </a:solidFill>
                  <a:ln w="2339" cap="flat">
                    <a:no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63FA0585-AB96-2558-AAEA-E43666FDB139}"/>
                      </a:ext>
                    </a:extLst>
                  </p:cNvPr>
                  <p:cNvSpPr/>
                  <p:nvPr userDrawn="1"/>
                </p:nvSpPr>
                <p:spPr>
                  <a:xfrm>
                    <a:off x="8472922" y="435826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EF3"/>
                  </a:solidFill>
                  <a:ln w="2339" cap="flat">
                    <a:no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B3623D4A-9484-17C1-671A-5E96175FC962}"/>
                      </a:ext>
                    </a:extLst>
                  </p:cNvPr>
                  <p:cNvSpPr/>
                  <p:nvPr userDrawn="1"/>
                </p:nvSpPr>
                <p:spPr>
                  <a:xfrm>
                    <a:off x="8473297" y="435784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6184D78B-72E1-89BE-E5B5-C9B60B4AD866}"/>
                      </a:ext>
                    </a:extLst>
                  </p:cNvPr>
                  <p:cNvSpPr/>
                  <p:nvPr userDrawn="1"/>
                </p:nvSpPr>
                <p:spPr>
                  <a:xfrm>
                    <a:off x="8473648" y="435741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EDEFF3"/>
                  </a:solidFill>
                  <a:ln w="2339"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B8EF9F5E-2FCF-3B26-7E0F-8809322E2285}"/>
                      </a:ext>
                    </a:extLst>
                  </p:cNvPr>
                  <p:cNvSpPr/>
                  <p:nvPr userDrawn="1"/>
                </p:nvSpPr>
                <p:spPr>
                  <a:xfrm>
                    <a:off x="8474022" y="435699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C4BD3F9A-6A9C-C26A-A623-2274961379C5}"/>
                      </a:ext>
                    </a:extLst>
                  </p:cNvPr>
                  <p:cNvSpPr/>
                  <p:nvPr userDrawn="1"/>
                </p:nvSpPr>
                <p:spPr>
                  <a:xfrm>
                    <a:off x="8474373" y="435657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EEFF4"/>
                  </a:solidFill>
                  <a:ln w="2339" cap="flat">
                    <a:no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FDA31F23-068A-3123-7341-ADD54CC57F49}"/>
                      </a:ext>
                    </a:extLst>
                  </p:cNvPr>
                  <p:cNvSpPr/>
                  <p:nvPr userDrawn="1"/>
                </p:nvSpPr>
                <p:spPr>
                  <a:xfrm>
                    <a:off x="8474701" y="4356178"/>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EF0F4"/>
                  </a:solidFill>
                  <a:ln w="2339" cap="flat">
                    <a:no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3F1BD666-B591-A39B-9984-FE10193C8B06}"/>
                      </a:ext>
                    </a:extLst>
                  </p:cNvPr>
                  <p:cNvSpPr/>
                  <p:nvPr userDrawn="1"/>
                </p:nvSpPr>
                <p:spPr>
                  <a:xfrm>
                    <a:off x="8475052" y="435575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74"/>
                          <a:pt x="0" y="32667"/>
                          <a:pt x="0" y="21037"/>
                        </a:cubicBezTo>
                        <a:close/>
                      </a:path>
                    </a:pathLst>
                  </a:custGeom>
                  <a:solidFill>
                    <a:srgbClr val="EEF0F4"/>
                  </a:solidFill>
                  <a:ln w="2339" cap="flat">
                    <a:no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FBF9206A-8191-01E3-47D4-4BD3D23A7349}"/>
                      </a:ext>
                    </a:extLst>
                  </p:cNvPr>
                  <p:cNvSpPr/>
                  <p:nvPr userDrawn="1"/>
                </p:nvSpPr>
                <p:spPr>
                  <a:xfrm>
                    <a:off x="8475379" y="435533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0F4"/>
                  </a:solidFill>
                  <a:ln w="2339" cap="flat">
                    <a:no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CB295DE9-C87B-BAD4-771A-C20232BD93E6}"/>
                      </a:ext>
                    </a:extLst>
                  </p:cNvPr>
                  <p:cNvSpPr/>
                  <p:nvPr userDrawn="1"/>
                </p:nvSpPr>
                <p:spPr>
                  <a:xfrm>
                    <a:off x="8475707" y="435491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74"/>
                          <a:pt x="0" y="32667"/>
                          <a:pt x="0" y="21037"/>
                        </a:cubicBezTo>
                        <a:close/>
                      </a:path>
                    </a:pathLst>
                  </a:custGeom>
                  <a:solidFill>
                    <a:srgbClr val="EFF1F5"/>
                  </a:solidFill>
                  <a:ln w="2339" cap="flat">
                    <a:no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D6F71277-865D-4FFB-7C5E-3C0592BC1182}"/>
                      </a:ext>
                    </a:extLst>
                  </p:cNvPr>
                  <p:cNvSpPr/>
                  <p:nvPr userDrawn="1"/>
                </p:nvSpPr>
                <p:spPr>
                  <a:xfrm>
                    <a:off x="8476035" y="435449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EFF1F5"/>
                  </a:solidFill>
                  <a:ln w="2339" cap="flat">
                    <a:no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08514A47-CF59-8A0D-BCCE-6C457FE453C6}"/>
                      </a:ext>
                    </a:extLst>
                  </p:cNvPr>
                  <p:cNvSpPr/>
                  <p:nvPr userDrawn="1"/>
                </p:nvSpPr>
                <p:spPr>
                  <a:xfrm>
                    <a:off x="8476339" y="4354072"/>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0F1F5"/>
                  </a:solidFill>
                  <a:ln w="2339" cap="flat">
                    <a:no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7B1D977D-B0ED-D46D-AAC1-E5F46EE8EA6C}"/>
                      </a:ext>
                    </a:extLst>
                  </p:cNvPr>
                  <p:cNvSpPr/>
                  <p:nvPr userDrawn="1"/>
                </p:nvSpPr>
                <p:spPr>
                  <a:xfrm>
                    <a:off x="8476666" y="435365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1F5"/>
                  </a:solidFill>
                  <a:ln w="2339" cap="flat">
                    <a:no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4D8418E9-DEE1-9260-93B8-B2C8D826FF8D}"/>
                      </a:ext>
                    </a:extLst>
                  </p:cNvPr>
                  <p:cNvSpPr/>
                  <p:nvPr userDrawn="1"/>
                </p:nvSpPr>
                <p:spPr>
                  <a:xfrm>
                    <a:off x="8476971" y="4353230"/>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0F2F5"/>
                  </a:solidFill>
                  <a:ln w="2339" cap="flat">
                    <a:no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061E7564-7133-3961-176E-DBDC9D15BA96}"/>
                      </a:ext>
                    </a:extLst>
                  </p:cNvPr>
                  <p:cNvSpPr/>
                  <p:nvPr userDrawn="1"/>
                </p:nvSpPr>
                <p:spPr>
                  <a:xfrm>
                    <a:off x="8477275" y="4352809"/>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90952968-018A-26DB-A37B-62FDA805B0FB}"/>
                      </a:ext>
                    </a:extLst>
                  </p:cNvPr>
                  <p:cNvSpPr/>
                  <p:nvPr userDrawn="1"/>
                </p:nvSpPr>
                <p:spPr>
                  <a:xfrm>
                    <a:off x="8477556" y="4352387"/>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1F2F6"/>
                  </a:solidFill>
                  <a:ln w="2339" cap="flat">
                    <a:no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65421C63-4B19-145A-63F8-9FB1B3B20A24}"/>
                      </a:ext>
                    </a:extLst>
                  </p:cNvPr>
                  <p:cNvSpPr/>
                  <p:nvPr userDrawn="1"/>
                </p:nvSpPr>
                <p:spPr>
                  <a:xfrm>
                    <a:off x="8477860" y="4351966"/>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1F2F6"/>
                  </a:solidFill>
                  <a:ln w="2339" cap="flat">
                    <a:no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DFEB6E37-D2F7-111F-20EC-10FBE28FEAF5}"/>
                      </a:ext>
                    </a:extLst>
                  </p:cNvPr>
                  <p:cNvSpPr/>
                  <p:nvPr userDrawn="1"/>
                </p:nvSpPr>
                <p:spPr>
                  <a:xfrm>
                    <a:off x="8478141" y="4351545"/>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1A9F2A73-ED66-13D6-7B17-67D9E1BB3BF4}"/>
                      </a:ext>
                    </a:extLst>
                  </p:cNvPr>
                  <p:cNvSpPr/>
                  <p:nvPr userDrawn="1"/>
                </p:nvSpPr>
                <p:spPr>
                  <a:xfrm>
                    <a:off x="8478421" y="4351124"/>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6"/>
                  </a:solidFill>
                  <a:ln w="2339" cap="flat">
                    <a:no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8DB49F88-DB19-DB74-51A3-288822C239CC}"/>
                      </a:ext>
                    </a:extLst>
                  </p:cNvPr>
                  <p:cNvSpPr/>
                  <p:nvPr userDrawn="1"/>
                </p:nvSpPr>
                <p:spPr>
                  <a:xfrm>
                    <a:off x="8478702" y="4350703"/>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07" y="42097"/>
                          <a:pt x="0" y="32667"/>
                          <a:pt x="0" y="21037"/>
                        </a:cubicBezTo>
                        <a:close/>
                      </a:path>
                    </a:pathLst>
                  </a:custGeom>
                  <a:solidFill>
                    <a:srgbClr val="F2F3F7"/>
                  </a:solidFill>
                  <a:ln w="2339" cap="flat">
                    <a:no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57BF51F9-57BD-EB5E-7F8F-BC6C46B49679}"/>
                      </a:ext>
                    </a:extLst>
                  </p:cNvPr>
                  <p:cNvSpPr/>
                  <p:nvPr userDrawn="1"/>
                </p:nvSpPr>
                <p:spPr>
                  <a:xfrm>
                    <a:off x="8478960" y="4350281"/>
                    <a:ext cx="42096" cy="42096"/>
                  </a:xfrm>
                  <a:custGeom>
                    <a:avLst/>
                    <a:gdLst>
                      <a:gd name="connsiteX0" fmla="*/ 0 w 42096"/>
                      <a:gd name="connsiteY0" fmla="*/ 21037 h 42096"/>
                      <a:gd name="connsiteX1" fmla="*/ 21037 w 42096"/>
                      <a:gd name="connsiteY1" fmla="*/ 0 h 42096"/>
                      <a:gd name="connsiteX2" fmla="*/ 42097 w 42096"/>
                      <a:gd name="connsiteY2" fmla="*/ 21037 h 42096"/>
                      <a:gd name="connsiteX3" fmla="*/ 21037 w 42096"/>
                      <a:gd name="connsiteY3" fmla="*/ 42097 h 42096"/>
                      <a:gd name="connsiteX4" fmla="*/ 0 w 42096"/>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37"/>
                        </a:moveTo>
                        <a:cubicBezTo>
                          <a:pt x="0" y="9430"/>
                          <a:pt x="9430" y="0"/>
                          <a:pt x="21037" y="0"/>
                        </a:cubicBezTo>
                        <a:cubicBezTo>
                          <a:pt x="32667" y="0"/>
                          <a:pt x="42097" y="9430"/>
                          <a:pt x="42097" y="21037"/>
                        </a:cubicBezTo>
                        <a:cubicBezTo>
                          <a:pt x="42097" y="32667"/>
                          <a:pt x="32667" y="42097"/>
                          <a:pt x="21037" y="42097"/>
                        </a:cubicBezTo>
                        <a:cubicBezTo>
                          <a:pt x="9430" y="42097"/>
                          <a:pt x="0" y="32667"/>
                          <a:pt x="0" y="21037"/>
                        </a:cubicBezTo>
                        <a:close/>
                      </a:path>
                    </a:pathLst>
                  </a:custGeom>
                  <a:solidFill>
                    <a:srgbClr val="F2F4F7"/>
                  </a:solidFill>
                  <a:ln w="2339" cap="flat">
                    <a:no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85E80ECF-071A-FEE0-7561-F383C856454C}"/>
                      </a:ext>
                    </a:extLst>
                  </p:cNvPr>
                  <p:cNvSpPr/>
                  <p:nvPr userDrawn="1"/>
                </p:nvSpPr>
                <p:spPr>
                  <a:xfrm>
                    <a:off x="8479217" y="43498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C3E1A6A1-FD99-04F1-509A-008AB380F268}"/>
                      </a:ext>
                    </a:extLst>
                  </p:cNvPr>
                  <p:cNvSpPr/>
                  <p:nvPr userDrawn="1"/>
                </p:nvSpPr>
                <p:spPr>
                  <a:xfrm>
                    <a:off x="8479474" y="43494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44465A16-0DE6-19E2-8BB4-46EE8C85CE4B}"/>
                      </a:ext>
                    </a:extLst>
                  </p:cNvPr>
                  <p:cNvSpPr/>
                  <p:nvPr userDrawn="1"/>
                </p:nvSpPr>
                <p:spPr>
                  <a:xfrm>
                    <a:off x="8479732" y="434901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3F4F7"/>
                  </a:solidFill>
                  <a:ln w="2339" cap="flat">
                    <a:no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A68C4C43-AED1-EAE1-BA47-2D86294D42F4}"/>
                      </a:ext>
                    </a:extLst>
                  </p:cNvPr>
                  <p:cNvSpPr/>
                  <p:nvPr userDrawn="1"/>
                </p:nvSpPr>
                <p:spPr>
                  <a:xfrm>
                    <a:off x="8479989" y="434859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81DC80D6-F0D8-2674-09D6-5A6AD902FADE}"/>
                      </a:ext>
                    </a:extLst>
                  </p:cNvPr>
                  <p:cNvSpPr/>
                  <p:nvPr userDrawn="1"/>
                </p:nvSpPr>
                <p:spPr>
                  <a:xfrm>
                    <a:off x="8480223" y="434817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4F5F8"/>
                  </a:solidFill>
                  <a:ln w="2339" cap="flat">
                    <a:no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40B039AD-DBF7-C720-518F-198E97434FE9}"/>
                      </a:ext>
                    </a:extLst>
                  </p:cNvPr>
                  <p:cNvSpPr/>
                  <p:nvPr userDrawn="1"/>
                </p:nvSpPr>
                <p:spPr>
                  <a:xfrm>
                    <a:off x="8480457" y="434775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4F5F8"/>
                  </a:solidFill>
                  <a:ln w="2339" cap="flat">
                    <a:no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C1F6AE39-9D46-8F61-FA42-32A21D6D11FA}"/>
                      </a:ext>
                    </a:extLst>
                  </p:cNvPr>
                  <p:cNvSpPr/>
                  <p:nvPr userDrawn="1"/>
                </p:nvSpPr>
                <p:spPr>
                  <a:xfrm>
                    <a:off x="8480691" y="4347356"/>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8"/>
                  </a:solidFill>
                  <a:ln w="2339" cap="flat">
                    <a:no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50DBDBC9-2F58-F2B9-5462-78292D76F4FD}"/>
                      </a:ext>
                    </a:extLst>
                  </p:cNvPr>
                  <p:cNvSpPr/>
                  <p:nvPr userDrawn="1"/>
                </p:nvSpPr>
                <p:spPr>
                  <a:xfrm>
                    <a:off x="8480902" y="434693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5F6F8"/>
                  </a:solidFill>
                  <a:ln w="2339" cap="flat">
                    <a:no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8008055E-6D4A-BFC4-A1E8-57038731439B}"/>
                      </a:ext>
                    </a:extLst>
                  </p:cNvPr>
                  <p:cNvSpPr/>
                  <p:nvPr userDrawn="1"/>
                </p:nvSpPr>
                <p:spPr>
                  <a:xfrm>
                    <a:off x="8481136" y="434651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5F6F9"/>
                  </a:solidFill>
                  <a:ln w="2339" cap="flat">
                    <a:no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4B620994-125C-DC0D-46C4-5D772568290B}"/>
                      </a:ext>
                    </a:extLst>
                  </p:cNvPr>
                  <p:cNvSpPr/>
                  <p:nvPr userDrawn="1"/>
                </p:nvSpPr>
                <p:spPr>
                  <a:xfrm>
                    <a:off x="8481346" y="434609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6F9"/>
                  </a:solidFill>
                  <a:ln w="2339" cap="flat">
                    <a:no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4E1814A7-DB36-F77A-6217-3A5BEB74932A}"/>
                      </a:ext>
                    </a:extLst>
                  </p:cNvPr>
                  <p:cNvSpPr/>
                  <p:nvPr userDrawn="1"/>
                </p:nvSpPr>
                <p:spPr>
                  <a:xfrm>
                    <a:off x="8481557" y="434567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6F7F9"/>
                  </a:solidFill>
                  <a:ln w="2339" cap="flat">
                    <a:no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6E5A64D5-C306-5A2F-AA37-8A7878F67681}"/>
                      </a:ext>
                    </a:extLst>
                  </p:cNvPr>
                  <p:cNvSpPr/>
                  <p:nvPr userDrawn="1"/>
                </p:nvSpPr>
                <p:spPr>
                  <a:xfrm>
                    <a:off x="8481744" y="434525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6F7F9"/>
                  </a:solidFill>
                  <a:ln w="2339" cap="flat">
                    <a:no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45592199-A2D4-BD33-AC8E-A5766B3E8DC9}"/>
                      </a:ext>
                    </a:extLst>
                  </p:cNvPr>
                  <p:cNvSpPr/>
                  <p:nvPr userDrawn="1"/>
                </p:nvSpPr>
                <p:spPr>
                  <a:xfrm>
                    <a:off x="8481955" y="434482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6F7F9"/>
                  </a:solidFill>
                  <a:ln w="2339" cap="flat">
                    <a:no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91AF4F22-D7E2-8A12-3068-3ACD7BA5035B}"/>
                      </a:ext>
                    </a:extLst>
                  </p:cNvPr>
                  <p:cNvSpPr/>
                  <p:nvPr userDrawn="1"/>
                </p:nvSpPr>
                <p:spPr>
                  <a:xfrm>
                    <a:off x="8482142" y="4344408"/>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7FA"/>
                  </a:solidFill>
                  <a:ln w="2339" cap="flat">
                    <a:no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645606EB-9C13-A0A3-7CFC-29EE9CA0635A}"/>
                      </a:ext>
                    </a:extLst>
                  </p:cNvPr>
                  <p:cNvSpPr/>
                  <p:nvPr userDrawn="1"/>
                </p:nvSpPr>
                <p:spPr>
                  <a:xfrm>
                    <a:off x="8482329" y="4343987"/>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8EAD7349-35F2-26F6-9D25-EB0801AF227D}"/>
                      </a:ext>
                    </a:extLst>
                  </p:cNvPr>
                  <p:cNvSpPr/>
                  <p:nvPr userDrawn="1"/>
                </p:nvSpPr>
                <p:spPr>
                  <a:xfrm>
                    <a:off x="8482517" y="434356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7F8FA"/>
                  </a:solidFill>
                  <a:ln w="2339"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6AF2DAF3-F5E0-4A24-2DE2-3E9DDA8B6E0D}"/>
                      </a:ext>
                    </a:extLst>
                  </p:cNvPr>
                  <p:cNvSpPr/>
                  <p:nvPr userDrawn="1"/>
                </p:nvSpPr>
                <p:spPr>
                  <a:xfrm>
                    <a:off x="8482680" y="43431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8F8FA"/>
                  </a:solidFill>
                  <a:ln w="2339" cap="flat">
                    <a:no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C494E497-1FA6-C87D-0510-DE5CBEB3DE49}"/>
                      </a:ext>
                    </a:extLst>
                  </p:cNvPr>
                  <p:cNvSpPr/>
                  <p:nvPr userDrawn="1"/>
                </p:nvSpPr>
                <p:spPr>
                  <a:xfrm>
                    <a:off x="8482844" y="43427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90"/>
                          <a:pt x="0" y="21037"/>
                        </a:cubicBezTo>
                        <a:close/>
                      </a:path>
                    </a:pathLst>
                  </a:custGeom>
                  <a:solidFill>
                    <a:srgbClr val="F8F9FA"/>
                  </a:solidFill>
                  <a:ln w="2339" cap="flat">
                    <a:no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CD6A2D30-14FA-BA6B-7A70-5756B501CA4D}"/>
                      </a:ext>
                    </a:extLst>
                  </p:cNvPr>
                  <p:cNvSpPr/>
                  <p:nvPr userDrawn="1"/>
                </p:nvSpPr>
                <p:spPr>
                  <a:xfrm>
                    <a:off x="8483008" y="4342325"/>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8F9FB"/>
                  </a:solidFill>
                  <a:ln w="2339" cap="flat">
                    <a:no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1B1DE95B-671C-DE0B-789A-8B7651EDE9A9}"/>
                      </a:ext>
                    </a:extLst>
                  </p:cNvPr>
                  <p:cNvSpPr/>
                  <p:nvPr userDrawn="1"/>
                </p:nvSpPr>
                <p:spPr>
                  <a:xfrm>
                    <a:off x="8483172" y="434190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9F9FB"/>
                  </a:solidFill>
                  <a:ln w="2339" cap="flat">
                    <a:no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DE8767FA-CD5A-B3D1-113F-19CCC1A72916}"/>
                      </a:ext>
                    </a:extLst>
                  </p:cNvPr>
                  <p:cNvSpPr/>
                  <p:nvPr userDrawn="1"/>
                </p:nvSpPr>
                <p:spPr>
                  <a:xfrm>
                    <a:off x="8483312" y="434148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9F9FB"/>
                  </a:solidFill>
                  <a:ln w="2339"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49B25098-EC93-CDEC-409A-81458EF0A9EB}"/>
                      </a:ext>
                    </a:extLst>
                  </p:cNvPr>
                  <p:cNvSpPr/>
                  <p:nvPr userDrawn="1"/>
                </p:nvSpPr>
                <p:spPr>
                  <a:xfrm>
                    <a:off x="8483476" y="434106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3B2432E0-AC08-9C21-3CFB-512BD854E110}"/>
                      </a:ext>
                    </a:extLst>
                  </p:cNvPr>
                  <p:cNvSpPr/>
                  <p:nvPr userDrawn="1"/>
                </p:nvSpPr>
                <p:spPr>
                  <a:xfrm>
                    <a:off x="8483616" y="434064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9FAFB"/>
                  </a:solidFill>
                  <a:ln w="2339"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149AC202-B4AF-DDD1-98E8-5119956B4465}"/>
                      </a:ext>
                    </a:extLst>
                  </p:cNvPr>
                  <p:cNvSpPr/>
                  <p:nvPr userDrawn="1"/>
                </p:nvSpPr>
                <p:spPr>
                  <a:xfrm>
                    <a:off x="8483733" y="434024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AFAFC"/>
                  </a:solidFill>
                  <a:ln w="2339" cap="flat">
                    <a:no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9F7B349D-C4E6-3ABF-9369-0B4990462E7D}"/>
                      </a:ext>
                    </a:extLst>
                  </p:cNvPr>
                  <p:cNvSpPr/>
                  <p:nvPr userDrawn="1"/>
                </p:nvSpPr>
                <p:spPr>
                  <a:xfrm>
                    <a:off x="8483874" y="433982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43"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FB06E11B-C86F-2AE6-3F59-212B575CAFBA}"/>
                      </a:ext>
                    </a:extLst>
                  </p:cNvPr>
                  <p:cNvSpPr/>
                  <p:nvPr userDrawn="1"/>
                </p:nvSpPr>
                <p:spPr>
                  <a:xfrm>
                    <a:off x="8483991" y="433940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AFBFC"/>
                  </a:solidFill>
                  <a:ln w="2339" cap="flat">
                    <a:no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C9742ED2-810E-43F1-3D08-1E07DD0BAF2C}"/>
                      </a:ext>
                    </a:extLst>
                  </p:cNvPr>
                  <p:cNvSpPr/>
                  <p:nvPr userDrawn="1"/>
                </p:nvSpPr>
                <p:spPr>
                  <a:xfrm>
                    <a:off x="8484108" y="433897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BFBFC"/>
                  </a:solidFill>
                  <a:ln w="2339" cap="flat">
                    <a:no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F2247105-C22D-41E3-2EEC-025412CF74F9}"/>
                      </a:ext>
                    </a:extLst>
                  </p:cNvPr>
                  <p:cNvSpPr/>
                  <p:nvPr userDrawn="1"/>
                </p:nvSpPr>
                <p:spPr>
                  <a:xfrm>
                    <a:off x="8484225" y="433858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BFBFC"/>
                  </a:solidFill>
                  <a:ln w="2339" cap="flat">
                    <a:no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A1685B71-8C20-4F78-5CA7-6912AE3D6E56}"/>
                      </a:ext>
                    </a:extLst>
                  </p:cNvPr>
                  <p:cNvSpPr/>
                  <p:nvPr userDrawn="1"/>
                </p:nvSpPr>
                <p:spPr>
                  <a:xfrm>
                    <a:off x="8484342" y="433816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BFCFD"/>
                  </a:solidFill>
                  <a:ln w="2339"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915AE1F4-9C76-B458-629F-19D05DB76AE6}"/>
                      </a:ext>
                    </a:extLst>
                  </p:cNvPr>
                  <p:cNvSpPr/>
                  <p:nvPr userDrawn="1"/>
                </p:nvSpPr>
                <p:spPr>
                  <a:xfrm>
                    <a:off x="8484435" y="433773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49126C95-E0AA-EC2A-5B2D-5721DAE0A3B4}"/>
                      </a:ext>
                    </a:extLst>
                  </p:cNvPr>
                  <p:cNvSpPr/>
                  <p:nvPr userDrawn="1"/>
                </p:nvSpPr>
                <p:spPr>
                  <a:xfrm>
                    <a:off x="8484529" y="433734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CFCFD"/>
                  </a:solidFill>
                  <a:ln w="2339"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0AFF6127-8E7A-98E6-37D4-91E7C28240A8}"/>
                      </a:ext>
                    </a:extLst>
                  </p:cNvPr>
                  <p:cNvSpPr/>
                  <p:nvPr userDrawn="1"/>
                </p:nvSpPr>
                <p:spPr>
                  <a:xfrm>
                    <a:off x="8484623" y="433692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CFCFD"/>
                  </a:solidFill>
                  <a:ln w="2339"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6E5040B3-DCBE-4357-AA34-12E98A69C6D4}"/>
                      </a:ext>
                    </a:extLst>
                  </p:cNvPr>
                  <p:cNvSpPr/>
                  <p:nvPr userDrawn="1"/>
                </p:nvSpPr>
                <p:spPr>
                  <a:xfrm>
                    <a:off x="8484693" y="4336499"/>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DFDFD"/>
                  </a:solidFill>
                  <a:ln w="2339" cap="flat">
                    <a:no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6D5812C9-C35B-DB81-14BC-E8FEFBADE049}"/>
                      </a:ext>
                    </a:extLst>
                  </p:cNvPr>
                  <p:cNvSpPr/>
                  <p:nvPr userDrawn="1"/>
                </p:nvSpPr>
                <p:spPr>
                  <a:xfrm>
                    <a:off x="8484786" y="433610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DFE"/>
                  </a:solidFill>
                  <a:ln w="2339" cap="flat">
                    <a:no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AD5502E3-B930-44AF-5A38-30A6EE60E41C}"/>
                      </a:ext>
                    </a:extLst>
                  </p:cNvPr>
                  <p:cNvSpPr/>
                  <p:nvPr userDrawn="1"/>
                </p:nvSpPr>
                <p:spPr>
                  <a:xfrm>
                    <a:off x="8484857" y="4335680"/>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DFDFE"/>
                  </a:solidFill>
                  <a:ln w="2339" cap="flat">
                    <a:no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53559ABD-4DC9-C8B8-FDA1-8C3907988122}"/>
                      </a:ext>
                    </a:extLst>
                  </p:cNvPr>
                  <p:cNvSpPr/>
                  <p:nvPr userDrawn="1"/>
                </p:nvSpPr>
                <p:spPr>
                  <a:xfrm>
                    <a:off x="8484927" y="433528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74"/>
                          <a:pt x="0" y="32667"/>
                          <a:pt x="0" y="21037"/>
                        </a:cubicBezTo>
                        <a:close/>
                      </a:path>
                    </a:pathLst>
                  </a:custGeom>
                  <a:solidFill>
                    <a:srgbClr val="FDFEFE"/>
                  </a:solidFill>
                  <a:ln w="2339" cap="flat">
                    <a:no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F8F146DC-3AC8-D458-09C5-ED9D5CBEE9DA}"/>
                      </a:ext>
                    </a:extLst>
                  </p:cNvPr>
                  <p:cNvSpPr/>
                  <p:nvPr userDrawn="1"/>
                </p:nvSpPr>
                <p:spPr>
                  <a:xfrm>
                    <a:off x="8484974" y="4334861"/>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EFEFE"/>
                  </a:solidFill>
                  <a:ln w="2339"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9252C4D9-0344-639F-544F-CCF9BC3E580D}"/>
                      </a:ext>
                    </a:extLst>
                  </p:cNvPr>
                  <p:cNvSpPr/>
                  <p:nvPr userDrawn="1"/>
                </p:nvSpPr>
                <p:spPr>
                  <a:xfrm>
                    <a:off x="8485020" y="433446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EFEFE"/>
                  </a:solidFill>
                  <a:ln w="2339" cap="flat">
                    <a:noFill/>
                    <a:prstDash val="solid"/>
                    <a:miter/>
                  </a:ln>
                </p:spPr>
                <p:txBody>
                  <a:bodyPr rtlCol="0" anchor="ctr"/>
                  <a:lstStyle/>
                  <a:p>
                    <a:endParaRPr lang="en-US"/>
                  </a:p>
                </p:txBody>
              </p:sp>
              <p:sp>
                <p:nvSpPr>
                  <p:cNvPr id="537" name="Freeform: Shape 536">
                    <a:extLst>
                      <a:ext uri="{FF2B5EF4-FFF2-40B4-BE49-F238E27FC236}">
                        <a16:creationId xmlns:a16="http://schemas.microsoft.com/office/drawing/2014/main" id="{07A1DB01-7B99-9438-2975-7FEC3059E55D}"/>
                      </a:ext>
                    </a:extLst>
                  </p:cNvPr>
                  <p:cNvSpPr/>
                  <p:nvPr userDrawn="1"/>
                </p:nvSpPr>
                <p:spPr>
                  <a:xfrm>
                    <a:off x="8485091" y="4334042"/>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07" y="42097"/>
                          <a:pt x="0" y="32667"/>
                          <a:pt x="0" y="21037"/>
                        </a:cubicBezTo>
                        <a:close/>
                      </a:path>
                    </a:pathLst>
                  </a:custGeom>
                  <a:solidFill>
                    <a:srgbClr val="FEFEFF"/>
                  </a:solidFill>
                  <a:ln w="2339" cap="flat">
                    <a:no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67B0D516-1206-5109-32EB-93AEBC7A0899}"/>
                      </a:ext>
                    </a:extLst>
                  </p:cNvPr>
                  <p:cNvSpPr/>
                  <p:nvPr userDrawn="1"/>
                </p:nvSpPr>
                <p:spPr>
                  <a:xfrm>
                    <a:off x="8485114" y="4333644"/>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74"/>
                          <a:pt x="0" y="32667"/>
                          <a:pt x="0" y="21037"/>
                        </a:cubicBezTo>
                        <a:close/>
                      </a:path>
                    </a:pathLst>
                  </a:custGeom>
                  <a:solidFill>
                    <a:srgbClr val="FFFFFF"/>
                  </a:solidFill>
                  <a:ln w="2339" cap="flat">
                    <a:no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DBC2895E-D8B9-ABD9-87E6-939D6212E43C}"/>
                      </a:ext>
                    </a:extLst>
                  </p:cNvPr>
                  <p:cNvSpPr/>
                  <p:nvPr userDrawn="1"/>
                </p:nvSpPr>
                <p:spPr>
                  <a:xfrm>
                    <a:off x="8485161" y="4333223"/>
                    <a:ext cx="42073" cy="42096"/>
                  </a:xfrm>
                  <a:custGeom>
                    <a:avLst/>
                    <a:gdLst>
                      <a:gd name="connsiteX0" fmla="*/ 0 w 42073"/>
                      <a:gd name="connsiteY0" fmla="*/ 21037 h 42096"/>
                      <a:gd name="connsiteX1" fmla="*/ 21037 w 42073"/>
                      <a:gd name="connsiteY1" fmla="*/ 0 h 42096"/>
                      <a:gd name="connsiteX2" fmla="*/ 42074 w 42073"/>
                      <a:gd name="connsiteY2" fmla="*/ 21037 h 42096"/>
                      <a:gd name="connsiteX3" fmla="*/ 21037 w 42073"/>
                      <a:gd name="connsiteY3" fmla="*/ 42097 h 42096"/>
                      <a:gd name="connsiteX4" fmla="*/ 0 w 42073"/>
                      <a:gd name="connsiteY4" fmla="*/ 21037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37"/>
                        </a:moveTo>
                        <a:cubicBezTo>
                          <a:pt x="0" y="9430"/>
                          <a:pt x="9430" y="0"/>
                          <a:pt x="21037" y="0"/>
                        </a:cubicBezTo>
                        <a:cubicBezTo>
                          <a:pt x="32667" y="0"/>
                          <a:pt x="42074" y="9430"/>
                          <a:pt x="42074" y="21037"/>
                        </a:cubicBezTo>
                        <a:cubicBezTo>
                          <a:pt x="42074" y="32667"/>
                          <a:pt x="32643" y="42097"/>
                          <a:pt x="21037" y="42097"/>
                        </a:cubicBezTo>
                        <a:cubicBezTo>
                          <a:pt x="9430" y="42097"/>
                          <a:pt x="0" y="32667"/>
                          <a:pt x="0" y="21037"/>
                        </a:cubicBezTo>
                        <a:close/>
                      </a:path>
                    </a:pathLst>
                  </a:custGeom>
                  <a:solidFill>
                    <a:srgbClr val="FFFFFF"/>
                  </a:solidFill>
                  <a:ln w="2339" cap="flat">
                    <a:noFill/>
                    <a:prstDash val="solid"/>
                    <a:miter/>
                  </a:ln>
                </p:spPr>
                <p:txBody>
                  <a:bodyPr rtlCol="0" anchor="ctr"/>
                  <a:lstStyle/>
                  <a:p>
                    <a:endParaRPr lang="en-US"/>
                  </a:p>
                </p:txBody>
              </p:sp>
            </p:grpSp>
          </p:grpSp>
          <p:grpSp>
            <p:nvGrpSpPr>
              <p:cNvPr id="540" name="Graphic 4">
                <a:extLst>
                  <a:ext uri="{FF2B5EF4-FFF2-40B4-BE49-F238E27FC236}">
                    <a16:creationId xmlns:a16="http://schemas.microsoft.com/office/drawing/2014/main" id="{FB06EFB0-8661-A435-50AE-18C0E80EC8C3}"/>
                  </a:ext>
                </a:extLst>
              </p:cNvPr>
              <p:cNvGrpSpPr/>
              <p:nvPr userDrawn="1"/>
            </p:nvGrpSpPr>
            <p:grpSpPr>
              <a:xfrm>
                <a:off x="8195045" y="4482867"/>
                <a:ext cx="332188" cy="107360"/>
                <a:chOff x="8195045" y="4482867"/>
                <a:chExt cx="332189" cy="107360"/>
              </a:xfrm>
            </p:grpSpPr>
            <p:grpSp>
              <p:nvGrpSpPr>
                <p:cNvPr id="541" name="Graphic 4">
                  <a:extLst>
                    <a:ext uri="{FF2B5EF4-FFF2-40B4-BE49-F238E27FC236}">
                      <a16:creationId xmlns:a16="http://schemas.microsoft.com/office/drawing/2014/main" id="{A69FE177-6160-6326-D575-1BEA7D01BE77}"/>
                    </a:ext>
                  </a:extLst>
                </p:cNvPr>
                <p:cNvGrpSpPr/>
                <p:nvPr userDrawn="1"/>
              </p:nvGrpSpPr>
              <p:grpSpPr>
                <a:xfrm>
                  <a:off x="8195045" y="4482867"/>
                  <a:ext cx="144893" cy="107360"/>
                  <a:chOff x="8195045" y="4482867"/>
                  <a:chExt cx="144893" cy="107359"/>
                </a:xfrm>
              </p:grpSpPr>
              <p:sp>
                <p:nvSpPr>
                  <p:cNvPr id="542" name="Freeform: Shape 541">
                    <a:extLst>
                      <a:ext uri="{FF2B5EF4-FFF2-40B4-BE49-F238E27FC236}">
                        <a16:creationId xmlns:a16="http://schemas.microsoft.com/office/drawing/2014/main" id="{A6B92602-3DF3-09BE-149C-E4C582792E9C}"/>
                      </a:ext>
                    </a:extLst>
                  </p:cNvPr>
                  <p:cNvSpPr/>
                  <p:nvPr userDrawn="1"/>
                </p:nvSpPr>
                <p:spPr>
                  <a:xfrm>
                    <a:off x="8297842" y="448286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1B8CC"/>
                  </a:solidFill>
                  <a:ln w="2339"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B8C38539-FE8E-9D2B-B831-2519CA771660}"/>
                      </a:ext>
                    </a:extLst>
                  </p:cNvPr>
                  <p:cNvSpPr/>
                  <p:nvPr userDrawn="1"/>
                </p:nvSpPr>
                <p:spPr>
                  <a:xfrm>
                    <a:off x="8297281" y="448293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1B8CC"/>
                  </a:solidFill>
                  <a:ln w="2339" cap="flat">
                    <a:no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CFE62346-EEE9-1734-D6F3-35C8715C1C25}"/>
                      </a:ext>
                    </a:extLst>
                  </p:cNvPr>
                  <p:cNvSpPr/>
                  <p:nvPr userDrawn="1"/>
                </p:nvSpPr>
                <p:spPr>
                  <a:xfrm>
                    <a:off x="8296719" y="448303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2B9CC"/>
                  </a:solidFill>
                  <a:ln w="2339" cap="flat">
                    <a:no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7B28D175-8D0D-ABA6-28B0-046849F86A89}"/>
                      </a:ext>
                    </a:extLst>
                  </p:cNvPr>
                  <p:cNvSpPr/>
                  <p:nvPr userDrawn="1"/>
                </p:nvSpPr>
                <p:spPr>
                  <a:xfrm>
                    <a:off x="8296158" y="44831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BAF1F9DF-96AF-1006-E277-F16E627B6343}"/>
                      </a:ext>
                    </a:extLst>
                  </p:cNvPr>
                  <p:cNvSpPr/>
                  <p:nvPr userDrawn="1"/>
                </p:nvSpPr>
                <p:spPr>
                  <a:xfrm>
                    <a:off x="8295596" y="448321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2B9CD"/>
                  </a:solidFill>
                  <a:ln w="2339" cap="flat">
                    <a:no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9612801D-42D6-71D7-CB23-E378E0751CF8}"/>
                      </a:ext>
                    </a:extLst>
                  </p:cNvPr>
                  <p:cNvSpPr/>
                  <p:nvPr userDrawn="1"/>
                </p:nvSpPr>
                <p:spPr>
                  <a:xfrm>
                    <a:off x="8295034" y="448328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3B9CD"/>
                  </a:solidFill>
                  <a:ln w="2339" cap="flat">
                    <a:no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B74CAF45-A076-8608-0948-2A58BC5B75DA}"/>
                      </a:ext>
                    </a:extLst>
                  </p:cNvPr>
                  <p:cNvSpPr/>
                  <p:nvPr userDrawn="1"/>
                </p:nvSpPr>
                <p:spPr>
                  <a:xfrm>
                    <a:off x="8294449" y="448338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41C14B33-03D0-AC6E-FF2B-5F559B31B81A}"/>
                      </a:ext>
                    </a:extLst>
                  </p:cNvPr>
                  <p:cNvSpPr/>
                  <p:nvPr userDrawn="1"/>
                </p:nvSpPr>
                <p:spPr>
                  <a:xfrm>
                    <a:off x="8293888" y="44834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D"/>
                  </a:solidFill>
                  <a:ln w="2339"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BC9821E5-3A17-CA63-6306-B72767642DD2}"/>
                      </a:ext>
                    </a:extLst>
                  </p:cNvPr>
                  <p:cNvSpPr/>
                  <p:nvPr userDrawn="1"/>
                </p:nvSpPr>
                <p:spPr>
                  <a:xfrm>
                    <a:off x="8293326" y="44835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3BACE"/>
                  </a:solidFill>
                  <a:ln w="2339" cap="flat">
                    <a:no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C6C2E0EE-EF38-6EE2-BE2D-83CF26AF60F6}"/>
                      </a:ext>
                    </a:extLst>
                  </p:cNvPr>
                  <p:cNvSpPr/>
                  <p:nvPr userDrawn="1"/>
                </p:nvSpPr>
                <p:spPr>
                  <a:xfrm>
                    <a:off x="8292764" y="448366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4BBCE"/>
                  </a:solidFill>
                  <a:ln w="2339" cap="flat">
                    <a:no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341ED33A-C153-42C5-279E-5548A11B1341}"/>
                      </a:ext>
                    </a:extLst>
                  </p:cNvPr>
                  <p:cNvSpPr/>
                  <p:nvPr userDrawn="1"/>
                </p:nvSpPr>
                <p:spPr>
                  <a:xfrm>
                    <a:off x="8292203" y="448375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CA2A9195-F684-06B7-8DE9-8FD9B72C30CB}"/>
                      </a:ext>
                    </a:extLst>
                  </p:cNvPr>
                  <p:cNvSpPr/>
                  <p:nvPr userDrawn="1"/>
                </p:nvSpPr>
                <p:spPr>
                  <a:xfrm>
                    <a:off x="8291641" y="448385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4BBCE"/>
                  </a:solidFill>
                  <a:ln w="2339" cap="flat">
                    <a:no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63BC266C-DF1C-5B41-4B80-61A51711DD77}"/>
                      </a:ext>
                    </a:extLst>
                  </p:cNvPr>
                  <p:cNvSpPr/>
                  <p:nvPr userDrawn="1"/>
                </p:nvSpPr>
                <p:spPr>
                  <a:xfrm>
                    <a:off x="8291080" y="44839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BCE"/>
                  </a:solidFill>
                  <a:ln w="2339" cap="flat">
                    <a:no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C2D7EA7F-7827-758C-8DA8-BF12360C41A1}"/>
                      </a:ext>
                    </a:extLst>
                  </p:cNvPr>
                  <p:cNvSpPr/>
                  <p:nvPr userDrawn="1"/>
                </p:nvSpPr>
                <p:spPr>
                  <a:xfrm>
                    <a:off x="8290518" y="448406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5BCCF"/>
                  </a:solidFill>
                  <a:ln w="2339" cap="flat">
                    <a:no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6CBDC93A-B767-7F38-446D-C199E52E8285}"/>
                      </a:ext>
                    </a:extLst>
                  </p:cNvPr>
                  <p:cNvSpPr/>
                  <p:nvPr userDrawn="1"/>
                </p:nvSpPr>
                <p:spPr>
                  <a:xfrm>
                    <a:off x="8289956" y="448415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5BCCF"/>
                  </a:solidFill>
                  <a:ln w="2339" cap="flat">
                    <a:no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FBBB510B-997D-CA38-399C-EB220FACA636}"/>
                      </a:ext>
                    </a:extLst>
                  </p:cNvPr>
                  <p:cNvSpPr/>
                  <p:nvPr userDrawn="1"/>
                </p:nvSpPr>
                <p:spPr>
                  <a:xfrm>
                    <a:off x="8289418" y="44842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CCF"/>
                  </a:solidFill>
                  <a:ln w="2339" cap="flat">
                    <a:no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17DB02A7-CF03-57B2-E6CD-3BC014FA734D}"/>
                      </a:ext>
                    </a:extLst>
                  </p:cNvPr>
                  <p:cNvSpPr/>
                  <p:nvPr userDrawn="1"/>
                </p:nvSpPr>
                <p:spPr>
                  <a:xfrm>
                    <a:off x="8288857" y="44843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6BCCF"/>
                  </a:solidFill>
                  <a:ln w="2339" cap="flat">
                    <a:no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639941BD-8291-AC36-F857-8F055A8F72B5}"/>
                      </a:ext>
                    </a:extLst>
                  </p:cNvPr>
                  <p:cNvSpPr/>
                  <p:nvPr userDrawn="1"/>
                </p:nvSpPr>
                <p:spPr>
                  <a:xfrm>
                    <a:off x="8288295" y="448445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6BDCF"/>
                  </a:solidFill>
                  <a:ln w="2339" cap="flat">
                    <a:no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B4981F92-9C0A-2C29-2924-C473D48601CE}"/>
                      </a:ext>
                    </a:extLst>
                  </p:cNvPr>
                  <p:cNvSpPr/>
                  <p:nvPr userDrawn="1"/>
                </p:nvSpPr>
                <p:spPr>
                  <a:xfrm>
                    <a:off x="8287733" y="448457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DD0"/>
                  </a:solidFill>
                  <a:ln w="2339" cap="flat">
                    <a:no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1D485A1C-D0F6-E21E-CA8A-86F3840B830C}"/>
                      </a:ext>
                    </a:extLst>
                  </p:cNvPr>
                  <p:cNvSpPr/>
                  <p:nvPr userDrawn="1"/>
                </p:nvSpPr>
                <p:spPr>
                  <a:xfrm>
                    <a:off x="8287172" y="448466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7BDD0"/>
                  </a:solidFill>
                  <a:ln w="2339" cap="flat">
                    <a:no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7A0B8FF0-C7E1-C324-87E2-C9A4A0EB438D}"/>
                      </a:ext>
                    </a:extLst>
                  </p:cNvPr>
                  <p:cNvSpPr/>
                  <p:nvPr userDrawn="1"/>
                </p:nvSpPr>
                <p:spPr>
                  <a:xfrm>
                    <a:off x="8286634" y="448478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7BED0"/>
                  </a:solidFill>
                  <a:ln w="2339" cap="flat">
                    <a:no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CBAC1B17-4A8E-3584-929A-A4E6C9D3A42D}"/>
                      </a:ext>
                    </a:extLst>
                  </p:cNvPr>
                  <p:cNvSpPr/>
                  <p:nvPr userDrawn="1"/>
                </p:nvSpPr>
                <p:spPr>
                  <a:xfrm>
                    <a:off x="8286072" y="44849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7BED0"/>
                  </a:solidFill>
                  <a:ln w="2339" cap="flat">
                    <a:no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91CE72E5-26C2-CA25-2381-31A6F68C4AA9}"/>
                      </a:ext>
                    </a:extLst>
                  </p:cNvPr>
                  <p:cNvSpPr/>
                  <p:nvPr userDrawn="1"/>
                </p:nvSpPr>
                <p:spPr>
                  <a:xfrm>
                    <a:off x="8285510" y="44849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8BED0"/>
                  </a:solidFill>
                  <a:ln w="2339" cap="flat">
                    <a:no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72AA7686-A11E-51F6-ADB1-157BA5B8A620}"/>
                      </a:ext>
                    </a:extLst>
                  </p:cNvPr>
                  <p:cNvSpPr/>
                  <p:nvPr userDrawn="1"/>
                </p:nvSpPr>
                <p:spPr>
                  <a:xfrm>
                    <a:off x="8284972" y="448511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ED1"/>
                  </a:solidFill>
                  <a:ln w="2339"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CF7822AD-3ED9-4E22-2FA9-25C23FA61A77}"/>
                      </a:ext>
                    </a:extLst>
                  </p:cNvPr>
                  <p:cNvSpPr/>
                  <p:nvPr userDrawn="1"/>
                </p:nvSpPr>
                <p:spPr>
                  <a:xfrm>
                    <a:off x="8284411" y="448523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8BFD1"/>
                  </a:solidFill>
                  <a:ln w="2339" cap="flat">
                    <a:no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B1AB7A82-31C3-AE3F-9F9A-E38632A628D1}"/>
                      </a:ext>
                    </a:extLst>
                  </p:cNvPr>
                  <p:cNvSpPr/>
                  <p:nvPr userDrawn="1"/>
                </p:nvSpPr>
                <p:spPr>
                  <a:xfrm>
                    <a:off x="8283849" y="448534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9BFD1"/>
                  </a:solidFill>
                  <a:ln w="2339"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D502EF6C-6E3C-2ACF-F860-40EB6547DE30}"/>
                      </a:ext>
                    </a:extLst>
                  </p:cNvPr>
                  <p:cNvSpPr/>
                  <p:nvPr userDrawn="1"/>
                </p:nvSpPr>
                <p:spPr>
                  <a:xfrm>
                    <a:off x="8283311" y="448546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BFD1"/>
                  </a:solidFill>
                  <a:ln w="2339"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F86C6450-836D-36F4-1F59-399A5C21C47F}"/>
                      </a:ext>
                    </a:extLst>
                  </p:cNvPr>
                  <p:cNvSpPr/>
                  <p:nvPr userDrawn="1"/>
                </p:nvSpPr>
                <p:spPr>
                  <a:xfrm>
                    <a:off x="8282749" y="44855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9C0D1"/>
                  </a:solidFill>
                  <a:ln w="2339"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AA0AFC2F-72F5-AF62-E684-576D16A518D2}"/>
                      </a:ext>
                    </a:extLst>
                  </p:cNvPr>
                  <p:cNvSpPr/>
                  <p:nvPr userDrawn="1"/>
                </p:nvSpPr>
                <p:spPr>
                  <a:xfrm>
                    <a:off x="8282211" y="44856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AC0D2"/>
                  </a:solidFill>
                  <a:ln w="2339"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BBCCF037-FD30-2658-86A2-20B0BA988986}"/>
                      </a:ext>
                    </a:extLst>
                  </p:cNvPr>
                  <p:cNvSpPr/>
                  <p:nvPr userDrawn="1"/>
                </p:nvSpPr>
                <p:spPr>
                  <a:xfrm>
                    <a:off x="8281649" y="44858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AC0D2"/>
                  </a:solidFill>
                  <a:ln w="2339"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0B51688E-3DB8-EE10-B06C-B6D3BCBCEA0A}"/>
                      </a:ext>
                    </a:extLst>
                  </p:cNvPr>
                  <p:cNvSpPr/>
                  <p:nvPr userDrawn="1"/>
                </p:nvSpPr>
                <p:spPr>
                  <a:xfrm>
                    <a:off x="8281111" y="448593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AC0D2"/>
                  </a:solidFill>
                  <a:ln w="2339"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97E39509-A3BF-B3B3-5A40-5917F5B36BC9}"/>
                      </a:ext>
                    </a:extLst>
                  </p:cNvPr>
                  <p:cNvSpPr/>
                  <p:nvPr userDrawn="1"/>
                </p:nvSpPr>
                <p:spPr>
                  <a:xfrm>
                    <a:off x="8280550" y="4486049"/>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AC1D2"/>
                  </a:solidFill>
                  <a:ln w="2339" cap="flat">
                    <a:no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23F00E1E-43BA-8CB6-12EC-2D96A9343CF7}"/>
                      </a:ext>
                    </a:extLst>
                  </p:cNvPr>
                  <p:cNvSpPr/>
                  <p:nvPr userDrawn="1"/>
                </p:nvSpPr>
                <p:spPr>
                  <a:xfrm>
                    <a:off x="8280011" y="44861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BC1D2"/>
                  </a:solidFill>
                  <a:ln w="2339" cap="flat">
                    <a:noFill/>
                    <a:prstDash val="solid"/>
                    <a:miter/>
                  </a:ln>
                </p:spPr>
                <p:txBody>
                  <a:bodyPr rtlCol="0" anchor="ctr"/>
                  <a:lstStyle/>
                  <a:p>
                    <a:endParaRPr lang="en-US"/>
                  </a:p>
                </p:txBody>
              </p:sp>
              <p:sp>
                <p:nvSpPr>
                  <p:cNvPr id="575" name="Freeform: Shape 574">
                    <a:extLst>
                      <a:ext uri="{FF2B5EF4-FFF2-40B4-BE49-F238E27FC236}">
                        <a16:creationId xmlns:a16="http://schemas.microsoft.com/office/drawing/2014/main" id="{39CA249B-13D5-8A44-EEE8-06CE02A629F4}"/>
                      </a:ext>
                    </a:extLst>
                  </p:cNvPr>
                  <p:cNvSpPr/>
                  <p:nvPr userDrawn="1"/>
                </p:nvSpPr>
                <p:spPr>
                  <a:xfrm>
                    <a:off x="8279473" y="44863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BC1D3"/>
                  </a:solidFill>
                  <a:ln w="2339" cap="flat">
                    <a:noFill/>
                    <a:prstDash val="solid"/>
                    <a:miter/>
                  </a:ln>
                </p:spPr>
                <p:txBody>
                  <a:bodyPr rtlCol="0" anchor="ctr"/>
                  <a:lstStyle/>
                  <a:p>
                    <a:endParaRPr lang="en-US"/>
                  </a:p>
                </p:txBody>
              </p:sp>
              <p:sp>
                <p:nvSpPr>
                  <p:cNvPr id="576" name="Freeform: Shape 575">
                    <a:extLst>
                      <a:ext uri="{FF2B5EF4-FFF2-40B4-BE49-F238E27FC236}">
                        <a16:creationId xmlns:a16="http://schemas.microsoft.com/office/drawing/2014/main" id="{741C38C8-0045-0502-79C5-6AACA05858E0}"/>
                      </a:ext>
                    </a:extLst>
                  </p:cNvPr>
                  <p:cNvSpPr/>
                  <p:nvPr userDrawn="1"/>
                </p:nvSpPr>
                <p:spPr>
                  <a:xfrm>
                    <a:off x="8278912" y="448642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BC1D3"/>
                  </a:solidFill>
                  <a:ln w="2339" cap="flat">
                    <a:noFill/>
                    <a:prstDash val="solid"/>
                    <a:miter/>
                  </a:ln>
                </p:spPr>
                <p:txBody>
                  <a:bodyPr rtlCol="0" anchor="ctr"/>
                  <a:lstStyle/>
                  <a:p>
                    <a:endParaRPr lang="en-US"/>
                  </a:p>
                </p:txBody>
              </p:sp>
              <p:sp>
                <p:nvSpPr>
                  <p:cNvPr id="577" name="Freeform: Shape 576">
                    <a:extLst>
                      <a:ext uri="{FF2B5EF4-FFF2-40B4-BE49-F238E27FC236}">
                        <a16:creationId xmlns:a16="http://schemas.microsoft.com/office/drawing/2014/main" id="{51744ECB-A52D-C617-D92D-7BD0CD79AF8C}"/>
                      </a:ext>
                    </a:extLst>
                  </p:cNvPr>
                  <p:cNvSpPr/>
                  <p:nvPr userDrawn="1"/>
                </p:nvSpPr>
                <p:spPr>
                  <a:xfrm>
                    <a:off x="8278373" y="448654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BCC2D3"/>
                  </a:solidFill>
                  <a:ln w="2339" cap="flat">
                    <a:no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699C1A7C-6DE7-20C2-61F9-3D8C92A60DA4}"/>
                      </a:ext>
                    </a:extLst>
                  </p:cNvPr>
                  <p:cNvSpPr/>
                  <p:nvPr userDrawn="1"/>
                </p:nvSpPr>
                <p:spPr>
                  <a:xfrm>
                    <a:off x="8277835" y="448668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CC2D3"/>
                  </a:solidFill>
                  <a:ln w="2339" cap="flat">
                    <a:no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78AF436A-5AD1-F5DE-19E5-058E04D62537}"/>
                      </a:ext>
                    </a:extLst>
                  </p:cNvPr>
                  <p:cNvSpPr/>
                  <p:nvPr userDrawn="1"/>
                </p:nvSpPr>
                <p:spPr>
                  <a:xfrm>
                    <a:off x="8277297" y="448679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BCC2D3"/>
                  </a:solidFill>
                  <a:ln w="2339" cap="flat">
                    <a:no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BF78983B-C045-A7B0-CF7B-6FA6BBCDD141}"/>
                      </a:ext>
                    </a:extLst>
                  </p:cNvPr>
                  <p:cNvSpPr/>
                  <p:nvPr userDrawn="1"/>
                </p:nvSpPr>
                <p:spPr>
                  <a:xfrm>
                    <a:off x="8276759" y="448693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DC3D4"/>
                  </a:solidFill>
                  <a:ln w="2339" cap="flat">
                    <a:no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BFC6465A-270F-B844-099D-6E154F40FBB0}"/>
                      </a:ext>
                    </a:extLst>
                  </p:cNvPr>
                  <p:cNvSpPr/>
                  <p:nvPr userDrawn="1"/>
                </p:nvSpPr>
                <p:spPr>
                  <a:xfrm>
                    <a:off x="8276197" y="44870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DC3D4"/>
                  </a:solidFill>
                  <a:ln w="2339" cap="flat">
                    <a:noFill/>
                    <a:prstDash val="solid"/>
                    <a:miter/>
                  </a:ln>
                </p:spPr>
                <p:txBody>
                  <a:bodyPr rtlCol="0" anchor="ctr"/>
                  <a:lstStyle/>
                  <a:p>
                    <a:endParaRPr lang="en-US"/>
                  </a:p>
                </p:txBody>
              </p:sp>
              <p:sp>
                <p:nvSpPr>
                  <p:cNvPr id="582" name="Freeform: Shape 581">
                    <a:extLst>
                      <a:ext uri="{FF2B5EF4-FFF2-40B4-BE49-F238E27FC236}">
                        <a16:creationId xmlns:a16="http://schemas.microsoft.com/office/drawing/2014/main" id="{B07BD104-172F-2DB4-B3DB-C527E46980ED}"/>
                      </a:ext>
                    </a:extLst>
                  </p:cNvPr>
                  <p:cNvSpPr/>
                  <p:nvPr userDrawn="1"/>
                </p:nvSpPr>
                <p:spPr>
                  <a:xfrm>
                    <a:off x="8275659" y="44871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DC3D4"/>
                  </a:solidFill>
                  <a:ln w="2339" cap="flat">
                    <a:no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A029DD17-D9BD-A9A4-17DA-F9C977404512}"/>
                      </a:ext>
                    </a:extLst>
                  </p:cNvPr>
                  <p:cNvSpPr/>
                  <p:nvPr userDrawn="1"/>
                </p:nvSpPr>
                <p:spPr>
                  <a:xfrm>
                    <a:off x="8275121" y="44873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BEC3D4"/>
                  </a:solidFill>
                  <a:ln w="2339" cap="flat">
                    <a:noFill/>
                    <a:prstDash val="solid"/>
                    <a:miter/>
                  </a:ln>
                </p:spPr>
                <p:txBody>
                  <a:bodyPr rtlCol="0" anchor="ctr"/>
                  <a:lstStyle/>
                  <a:p>
                    <a:endParaRPr lang="en-US"/>
                  </a:p>
                </p:txBody>
              </p:sp>
              <p:sp>
                <p:nvSpPr>
                  <p:cNvPr id="584" name="Freeform: Shape 583">
                    <a:extLst>
                      <a:ext uri="{FF2B5EF4-FFF2-40B4-BE49-F238E27FC236}">
                        <a16:creationId xmlns:a16="http://schemas.microsoft.com/office/drawing/2014/main" id="{1AB148F4-6C5A-3B19-F788-6F977D6567A4}"/>
                      </a:ext>
                    </a:extLst>
                  </p:cNvPr>
                  <p:cNvSpPr/>
                  <p:nvPr userDrawn="1"/>
                </p:nvSpPr>
                <p:spPr>
                  <a:xfrm>
                    <a:off x="8274583" y="4487453"/>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30"/>
                          <a:pt x="42097" y="21037"/>
                        </a:cubicBezTo>
                        <a:close/>
                      </a:path>
                    </a:pathLst>
                  </a:custGeom>
                  <a:solidFill>
                    <a:srgbClr val="BEC4D4"/>
                  </a:solidFill>
                  <a:ln w="2339" cap="flat">
                    <a:noFill/>
                    <a:prstDash val="solid"/>
                    <a:miter/>
                  </a:ln>
                </p:spPr>
                <p:txBody>
                  <a:bodyPr rtlCol="0" anchor="ctr"/>
                  <a:lstStyle/>
                  <a:p>
                    <a:endParaRPr lang="en-US"/>
                  </a:p>
                </p:txBody>
              </p:sp>
              <p:sp>
                <p:nvSpPr>
                  <p:cNvPr id="585" name="Freeform: Shape 584">
                    <a:extLst>
                      <a:ext uri="{FF2B5EF4-FFF2-40B4-BE49-F238E27FC236}">
                        <a16:creationId xmlns:a16="http://schemas.microsoft.com/office/drawing/2014/main" id="{B41393FC-E2A4-0536-06CF-9AE9626AD687}"/>
                      </a:ext>
                    </a:extLst>
                  </p:cNvPr>
                  <p:cNvSpPr/>
                  <p:nvPr userDrawn="1"/>
                </p:nvSpPr>
                <p:spPr>
                  <a:xfrm>
                    <a:off x="8274044" y="448759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89A21DEC-FA96-B13B-CCF0-B4432975494F}"/>
                      </a:ext>
                    </a:extLst>
                  </p:cNvPr>
                  <p:cNvSpPr/>
                  <p:nvPr userDrawn="1"/>
                </p:nvSpPr>
                <p:spPr>
                  <a:xfrm>
                    <a:off x="8273506" y="448773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BEC4D5"/>
                  </a:solidFill>
                  <a:ln w="2339" cap="flat">
                    <a:no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BF272FDB-F669-C459-7740-D76703EDCA20}"/>
                      </a:ext>
                    </a:extLst>
                  </p:cNvPr>
                  <p:cNvSpPr/>
                  <p:nvPr userDrawn="1"/>
                </p:nvSpPr>
                <p:spPr>
                  <a:xfrm>
                    <a:off x="8272991" y="44878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FFBA45C8-B6F0-AD7D-3735-755DECB9B456}"/>
                      </a:ext>
                    </a:extLst>
                  </p:cNvPr>
                  <p:cNvSpPr/>
                  <p:nvPr userDrawn="1"/>
                </p:nvSpPr>
                <p:spPr>
                  <a:xfrm>
                    <a:off x="8272453" y="448801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29E6BD77-25F6-182E-7C27-7113A3DD940D}"/>
                      </a:ext>
                    </a:extLst>
                  </p:cNvPr>
                  <p:cNvSpPr/>
                  <p:nvPr userDrawn="1"/>
                </p:nvSpPr>
                <p:spPr>
                  <a:xfrm>
                    <a:off x="8271915" y="4488155"/>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BFC5D5"/>
                  </a:solidFill>
                  <a:ln w="2339" cap="flat">
                    <a:no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CA282874-A1FC-A092-4031-9635AD1C394D}"/>
                      </a:ext>
                    </a:extLst>
                  </p:cNvPr>
                  <p:cNvSpPr/>
                  <p:nvPr userDrawn="1"/>
                </p:nvSpPr>
                <p:spPr>
                  <a:xfrm>
                    <a:off x="8271377" y="448829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0C5D6"/>
                  </a:solidFill>
                  <a:ln w="2339" cap="flat">
                    <a:no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AD4E8AEA-320E-44B1-DAB0-E4E032600B68}"/>
                      </a:ext>
                    </a:extLst>
                  </p:cNvPr>
                  <p:cNvSpPr/>
                  <p:nvPr userDrawn="1"/>
                </p:nvSpPr>
                <p:spPr>
                  <a:xfrm>
                    <a:off x="8270862" y="448843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a:p>
                </p:txBody>
              </p:sp>
              <p:sp>
                <p:nvSpPr>
                  <p:cNvPr id="592" name="Freeform: Shape 591">
                    <a:extLst>
                      <a:ext uri="{FF2B5EF4-FFF2-40B4-BE49-F238E27FC236}">
                        <a16:creationId xmlns:a16="http://schemas.microsoft.com/office/drawing/2014/main" id="{CE56B401-6D94-0221-F6BB-B8F5D887EE56}"/>
                      </a:ext>
                    </a:extLst>
                  </p:cNvPr>
                  <p:cNvSpPr/>
                  <p:nvPr userDrawn="1"/>
                </p:nvSpPr>
                <p:spPr>
                  <a:xfrm>
                    <a:off x="8270324" y="448857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0C6D6"/>
                  </a:solidFill>
                  <a:ln w="2339" cap="flat">
                    <a:no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70737F38-03E5-6233-ABFD-75037A69D95B}"/>
                      </a:ext>
                    </a:extLst>
                  </p:cNvPr>
                  <p:cNvSpPr/>
                  <p:nvPr userDrawn="1"/>
                </p:nvSpPr>
                <p:spPr>
                  <a:xfrm>
                    <a:off x="8269786" y="448871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1C6D6"/>
                  </a:solidFill>
                  <a:ln w="2339" cap="flat">
                    <a:no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0A3B5F06-04FA-D886-E0D6-51E3B5B58C51}"/>
                      </a:ext>
                    </a:extLst>
                  </p:cNvPr>
                  <p:cNvSpPr/>
                  <p:nvPr userDrawn="1"/>
                </p:nvSpPr>
                <p:spPr>
                  <a:xfrm>
                    <a:off x="8269271" y="4488857"/>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1C6D6"/>
                  </a:solidFill>
                  <a:ln w="2339" cap="flat">
                    <a:no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54D6B4C1-ACF0-F75B-ABEB-16B3305BA469}"/>
                      </a:ext>
                    </a:extLst>
                  </p:cNvPr>
                  <p:cNvSpPr/>
                  <p:nvPr userDrawn="1"/>
                </p:nvSpPr>
                <p:spPr>
                  <a:xfrm>
                    <a:off x="8268733" y="448902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1C7D7"/>
                  </a:solidFill>
                  <a:ln w="2339" cap="flat">
                    <a:no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08939685-CC31-E01A-F8C7-64E62F1581C5}"/>
                      </a:ext>
                    </a:extLst>
                  </p:cNvPr>
                  <p:cNvSpPr/>
                  <p:nvPr userDrawn="1"/>
                </p:nvSpPr>
                <p:spPr>
                  <a:xfrm>
                    <a:off x="8268218" y="4489161"/>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7D7"/>
                  </a:solidFill>
                  <a:ln w="2339" cap="flat">
                    <a:no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7F041C8C-F365-7FF2-F3D5-DDC957DC6322}"/>
                      </a:ext>
                    </a:extLst>
                  </p:cNvPr>
                  <p:cNvSpPr/>
                  <p:nvPr userDrawn="1"/>
                </p:nvSpPr>
                <p:spPr>
                  <a:xfrm>
                    <a:off x="8267680" y="448930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0"/>
                          <a:pt x="42097" y="9407"/>
                          <a:pt x="42097" y="21037"/>
                        </a:cubicBezTo>
                        <a:close/>
                      </a:path>
                    </a:pathLst>
                  </a:custGeom>
                  <a:solidFill>
                    <a:srgbClr val="C2C7D7"/>
                  </a:solidFill>
                  <a:ln w="2339" cap="flat">
                    <a:no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25BAEDDC-91AF-35FF-E556-3808DAE4D9A3}"/>
                      </a:ext>
                    </a:extLst>
                  </p:cNvPr>
                  <p:cNvSpPr/>
                  <p:nvPr userDrawn="1"/>
                </p:nvSpPr>
                <p:spPr>
                  <a:xfrm>
                    <a:off x="8267165" y="448946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2C8D7"/>
                  </a:solidFill>
                  <a:ln w="2339" cap="flat">
                    <a:no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483C69ED-03A0-8FA7-B8E8-FF8C7EBFA957}"/>
                      </a:ext>
                    </a:extLst>
                  </p:cNvPr>
                  <p:cNvSpPr/>
                  <p:nvPr userDrawn="1"/>
                </p:nvSpPr>
                <p:spPr>
                  <a:xfrm>
                    <a:off x="8266650" y="44896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2C8D7"/>
                  </a:solidFill>
                  <a:ln w="2339" cap="flat">
                    <a:no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295D27D2-8B8D-0174-4F4E-C743D026697E}"/>
                      </a:ext>
                    </a:extLst>
                  </p:cNvPr>
                  <p:cNvSpPr/>
                  <p:nvPr userDrawn="1"/>
                </p:nvSpPr>
                <p:spPr>
                  <a:xfrm>
                    <a:off x="8266112" y="448977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90" y="-23"/>
                          <a:pt x="42097" y="9407"/>
                          <a:pt x="42097" y="21037"/>
                        </a:cubicBezTo>
                        <a:close/>
                      </a:path>
                    </a:pathLst>
                  </a:custGeom>
                  <a:solidFill>
                    <a:srgbClr val="C3C8D8"/>
                  </a:solidFill>
                  <a:ln w="2339" cap="flat">
                    <a:no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029ED290-F2B8-3BDA-2F4E-160AC9B8F227}"/>
                      </a:ext>
                    </a:extLst>
                  </p:cNvPr>
                  <p:cNvSpPr/>
                  <p:nvPr userDrawn="1"/>
                </p:nvSpPr>
                <p:spPr>
                  <a:xfrm>
                    <a:off x="8265597" y="4489910"/>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3C8D8"/>
                  </a:solidFill>
                  <a:ln w="2339" cap="flat">
                    <a:no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3DE11477-E5C7-BF06-88C8-1EEF373280C8}"/>
                      </a:ext>
                    </a:extLst>
                  </p:cNvPr>
                  <p:cNvSpPr/>
                  <p:nvPr userDrawn="1"/>
                </p:nvSpPr>
                <p:spPr>
                  <a:xfrm>
                    <a:off x="8265082" y="449007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3C9D8"/>
                  </a:solidFill>
                  <a:ln w="2339" cap="flat">
                    <a:no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EEBECE3D-22BF-7646-CBB4-DD9A97F9C44B}"/>
                      </a:ext>
                    </a:extLst>
                  </p:cNvPr>
                  <p:cNvSpPr/>
                  <p:nvPr userDrawn="1"/>
                </p:nvSpPr>
                <p:spPr>
                  <a:xfrm>
                    <a:off x="8264567" y="4490214"/>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30"/>
                          <a:pt x="42097" y="21037"/>
                        </a:cubicBezTo>
                        <a:close/>
                      </a:path>
                    </a:pathLst>
                  </a:custGeom>
                  <a:solidFill>
                    <a:srgbClr val="C4C9D8"/>
                  </a:solidFill>
                  <a:ln w="2339" cap="flat">
                    <a:no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5DB1BC50-86D9-9505-1418-D96286AF2440}"/>
                      </a:ext>
                    </a:extLst>
                  </p:cNvPr>
                  <p:cNvSpPr/>
                  <p:nvPr userDrawn="1"/>
                </p:nvSpPr>
                <p:spPr>
                  <a:xfrm>
                    <a:off x="8264052" y="4490378"/>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0"/>
                          <a:pt x="42097" y="9407"/>
                          <a:pt x="42097" y="21037"/>
                        </a:cubicBezTo>
                        <a:close/>
                      </a:path>
                    </a:pathLst>
                  </a:custGeom>
                  <a:solidFill>
                    <a:srgbClr val="C4C9D8"/>
                  </a:solidFill>
                  <a:ln w="2339" cap="flat">
                    <a:no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A387A617-C2BD-5DC5-F76C-9588C37B6A20}"/>
                      </a:ext>
                    </a:extLst>
                  </p:cNvPr>
                  <p:cNvSpPr/>
                  <p:nvPr userDrawn="1"/>
                </p:nvSpPr>
                <p:spPr>
                  <a:xfrm>
                    <a:off x="8263538" y="4490542"/>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4CAD9"/>
                  </a:solidFill>
                  <a:ln w="2339" cap="flat">
                    <a:noFill/>
                    <a:prstDash val="solid"/>
                    <a:miter/>
                  </a:ln>
                </p:spPr>
                <p:txBody>
                  <a:bodyPr rtlCol="0" anchor="ctr"/>
                  <a:lstStyle/>
                  <a:p>
                    <a:endParaRPr lang="en-US"/>
                  </a:p>
                </p:txBody>
              </p:sp>
              <p:sp>
                <p:nvSpPr>
                  <p:cNvPr id="606" name="Freeform: Shape 605">
                    <a:extLst>
                      <a:ext uri="{FF2B5EF4-FFF2-40B4-BE49-F238E27FC236}">
                        <a16:creationId xmlns:a16="http://schemas.microsoft.com/office/drawing/2014/main" id="{D32C9375-F559-7FC2-409C-ECAEB432A6B1}"/>
                      </a:ext>
                    </a:extLst>
                  </p:cNvPr>
                  <p:cNvSpPr/>
                  <p:nvPr userDrawn="1"/>
                </p:nvSpPr>
                <p:spPr>
                  <a:xfrm>
                    <a:off x="8263023" y="4490706"/>
                    <a:ext cx="42096" cy="42073"/>
                  </a:xfrm>
                  <a:custGeom>
                    <a:avLst/>
                    <a:gdLst>
                      <a:gd name="connsiteX0" fmla="*/ 42097 w 42096"/>
                      <a:gd name="connsiteY0" fmla="*/ 21037 h 42073"/>
                      <a:gd name="connsiteX1" fmla="*/ 21060 w 42096"/>
                      <a:gd name="connsiteY1" fmla="*/ 42074 h 42073"/>
                      <a:gd name="connsiteX2" fmla="*/ 0 w 42096"/>
                      <a:gd name="connsiteY2" fmla="*/ 21037 h 42073"/>
                      <a:gd name="connsiteX3" fmla="*/ 21060 w 42096"/>
                      <a:gd name="connsiteY3" fmla="*/ 0 h 42073"/>
                      <a:gd name="connsiteX4" fmla="*/ 42097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42097" y="21037"/>
                        </a:moveTo>
                        <a:cubicBezTo>
                          <a:pt x="42097" y="32643"/>
                          <a:pt x="32667" y="42074"/>
                          <a:pt x="21060" y="42074"/>
                        </a:cubicBezTo>
                        <a:cubicBezTo>
                          <a:pt x="9430" y="42074"/>
                          <a:pt x="0" y="32643"/>
                          <a:pt x="0" y="21037"/>
                        </a:cubicBezTo>
                        <a:cubicBezTo>
                          <a:pt x="0" y="9407"/>
                          <a:pt x="9430" y="0"/>
                          <a:pt x="21060" y="0"/>
                        </a:cubicBezTo>
                        <a:cubicBezTo>
                          <a:pt x="32667" y="-23"/>
                          <a:pt x="42097" y="9407"/>
                          <a:pt x="42097" y="21037"/>
                        </a:cubicBezTo>
                        <a:close/>
                      </a:path>
                    </a:pathLst>
                  </a:custGeom>
                  <a:solidFill>
                    <a:srgbClr val="C5CAD9"/>
                  </a:solidFill>
                  <a:ln w="2339" cap="flat">
                    <a:no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6E927559-7058-01C8-7524-42FFF7C77CC1}"/>
                      </a:ext>
                    </a:extLst>
                  </p:cNvPr>
                  <p:cNvSpPr/>
                  <p:nvPr userDrawn="1"/>
                </p:nvSpPr>
                <p:spPr>
                  <a:xfrm>
                    <a:off x="8262508" y="44908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5CAD9"/>
                  </a:solidFill>
                  <a:ln w="2339" cap="flat">
                    <a:no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3CEFEC5B-CBB6-3C5B-F8F5-214CECA34055}"/>
                      </a:ext>
                    </a:extLst>
                  </p:cNvPr>
                  <p:cNvSpPr/>
                  <p:nvPr userDrawn="1"/>
                </p:nvSpPr>
                <p:spPr>
                  <a:xfrm>
                    <a:off x="8261993" y="449098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AD9"/>
                  </a:solidFill>
                  <a:ln w="2339" cap="flat">
                    <a:no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B0A0D05C-E365-BD12-86CB-5271BF59B270}"/>
                      </a:ext>
                    </a:extLst>
                  </p:cNvPr>
                  <p:cNvSpPr/>
                  <p:nvPr userDrawn="1"/>
                </p:nvSpPr>
                <p:spPr>
                  <a:xfrm>
                    <a:off x="8261478" y="44911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5CBD9"/>
                  </a:solidFill>
                  <a:ln w="2339" cap="flat">
                    <a:no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9C3F06C7-7DA1-89C0-2025-81D757A01897}"/>
                      </a:ext>
                    </a:extLst>
                  </p:cNvPr>
                  <p:cNvSpPr/>
                  <p:nvPr userDrawn="1"/>
                </p:nvSpPr>
                <p:spPr>
                  <a:xfrm>
                    <a:off x="8260964" y="44913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6CBDA"/>
                  </a:solidFill>
                  <a:ln w="2339" cap="flat">
                    <a:no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C0B12F52-535A-B191-E799-EA284E732CF7}"/>
                      </a:ext>
                    </a:extLst>
                  </p:cNvPr>
                  <p:cNvSpPr/>
                  <p:nvPr userDrawn="1"/>
                </p:nvSpPr>
                <p:spPr>
                  <a:xfrm>
                    <a:off x="8260472" y="44914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09ED0A07-D865-060D-6AF9-F2C564A61836}"/>
                      </a:ext>
                    </a:extLst>
                  </p:cNvPr>
                  <p:cNvSpPr/>
                  <p:nvPr userDrawn="1"/>
                </p:nvSpPr>
                <p:spPr>
                  <a:xfrm>
                    <a:off x="8259957" y="449164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6CBDA"/>
                  </a:solidFill>
                  <a:ln w="2339" cap="flat">
                    <a:no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A0680B7A-C294-D878-33F5-48284B56511D}"/>
                      </a:ext>
                    </a:extLst>
                  </p:cNvPr>
                  <p:cNvSpPr/>
                  <p:nvPr userDrawn="1"/>
                </p:nvSpPr>
                <p:spPr>
                  <a:xfrm>
                    <a:off x="8259443" y="44918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7CCDA"/>
                  </a:solidFill>
                  <a:ln w="2339" cap="flat">
                    <a:no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8922E4F7-FDF8-A423-4E4B-B9CAD4FFA441}"/>
                      </a:ext>
                    </a:extLst>
                  </p:cNvPr>
                  <p:cNvSpPr/>
                  <p:nvPr userDrawn="1"/>
                </p:nvSpPr>
                <p:spPr>
                  <a:xfrm>
                    <a:off x="8258951" y="44919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7CCDA"/>
                  </a:solidFill>
                  <a:ln w="2339" cap="flat">
                    <a:noFill/>
                    <a:prstDash val="solid"/>
                    <a:miter/>
                  </a:ln>
                </p:spPr>
                <p:txBody>
                  <a:bodyPr rtlCol="0" anchor="ctr"/>
                  <a:lstStyle/>
                  <a:p>
                    <a:endParaRPr lang="en-US"/>
                  </a:p>
                </p:txBody>
              </p:sp>
              <p:sp>
                <p:nvSpPr>
                  <p:cNvPr id="615" name="Freeform: Shape 614">
                    <a:extLst>
                      <a:ext uri="{FF2B5EF4-FFF2-40B4-BE49-F238E27FC236}">
                        <a16:creationId xmlns:a16="http://schemas.microsoft.com/office/drawing/2014/main" id="{71B14718-A887-5576-DF4C-5756F614F041}"/>
                      </a:ext>
                    </a:extLst>
                  </p:cNvPr>
                  <p:cNvSpPr/>
                  <p:nvPr userDrawn="1"/>
                </p:nvSpPr>
                <p:spPr>
                  <a:xfrm>
                    <a:off x="8258436" y="449215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7CCDB"/>
                  </a:solidFill>
                  <a:ln w="2339" cap="flat">
                    <a:no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C300A191-3753-0DED-70F1-DEB5C79D865C}"/>
                      </a:ext>
                    </a:extLst>
                  </p:cNvPr>
                  <p:cNvSpPr/>
                  <p:nvPr userDrawn="1"/>
                </p:nvSpPr>
                <p:spPr>
                  <a:xfrm>
                    <a:off x="8257945" y="449232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8CDDB"/>
                  </a:solidFill>
                  <a:ln w="2339" cap="flat">
                    <a:noFill/>
                    <a:prstDash val="solid"/>
                    <a:miter/>
                  </a:ln>
                </p:spPr>
                <p:txBody>
                  <a:bodyPr rtlCol="0" anchor="ctr"/>
                  <a:lstStyle/>
                  <a:p>
                    <a:endParaRPr lang="en-US"/>
                  </a:p>
                </p:txBody>
              </p:sp>
              <p:sp>
                <p:nvSpPr>
                  <p:cNvPr id="617" name="Freeform: Shape 616">
                    <a:extLst>
                      <a:ext uri="{FF2B5EF4-FFF2-40B4-BE49-F238E27FC236}">
                        <a16:creationId xmlns:a16="http://schemas.microsoft.com/office/drawing/2014/main" id="{BB4115A7-A5F9-F3B7-ED51-416AD00773FC}"/>
                      </a:ext>
                    </a:extLst>
                  </p:cNvPr>
                  <p:cNvSpPr/>
                  <p:nvPr userDrawn="1"/>
                </p:nvSpPr>
                <p:spPr>
                  <a:xfrm>
                    <a:off x="8257430" y="449248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8CDDB"/>
                  </a:solidFill>
                  <a:ln w="2339" cap="flat">
                    <a:no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A12434B4-7FE5-991E-A8A3-76C82733C66D}"/>
                      </a:ext>
                    </a:extLst>
                  </p:cNvPr>
                  <p:cNvSpPr/>
                  <p:nvPr userDrawn="1"/>
                </p:nvSpPr>
                <p:spPr>
                  <a:xfrm>
                    <a:off x="8256939" y="44926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8CDDB"/>
                  </a:solidFill>
                  <a:ln w="2339" cap="flat">
                    <a:no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57DC57EC-C6BC-46EE-6FD5-A5041FA9CF7D}"/>
                      </a:ext>
                    </a:extLst>
                  </p:cNvPr>
                  <p:cNvSpPr/>
                  <p:nvPr userDrawn="1"/>
                </p:nvSpPr>
                <p:spPr>
                  <a:xfrm>
                    <a:off x="8256447" y="449283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DDB"/>
                  </a:solidFill>
                  <a:ln w="2339" cap="flat">
                    <a:no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54FD676A-0853-9BBD-8642-B1A7FA12DF03}"/>
                      </a:ext>
                    </a:extLst>
                  </p:cNvPr>
                  <p:cNvSpPr/>
                  <p:nvPr userDrawn="1"/>
                </p:nvSpPr>
                <p:spPr>
                  <a:xfrm>
                    <a:off x="8255956" y="44929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9CEDC"/>
                  </a:solidFill>
                  <a:ln w="2339" cap="flat">
                    <a:no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7450E40D-05FF-FF73-ECA6-484AD3B48A7D}"/>
                      </a:ext>
                    </a:extLst>
                  </p:cNvPr>
                  <p:cNvSpPr/>
                  <p:nvPr userDrawn="1"/>
                </p:nvSpPr>
                <p:spPr>
                  <a:xfrm>
                    <a:off x="8255465" y="44931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9CEDC"/>
                  </a:solidFill>
                  <a:ln w="2339" cap="flat">
                    <a:no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D62885F4-1394-D702-0446-609E9D2A505F}"/>
                      </a:ext>
                    </a:extLst>
                  </p:cNvPr>
                  <p:cNvSpPr/>
                  <p:nvPr userDrawn="1"/>
                </p:nvSpPr>
                <p:spPr>
                  <a:xfrm>
                    <a:off x="8254950" y="44933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9CEDC"/>
                  </a:solidFill>
                  <a:ln w="2339" cap="flat">
                    <a:no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1838C8D6-BCB1-BAA3-7754-786F22963AFA}"/>
                      </a:ext>
                    </a:extLst>
                  </p:cNvPr>
                  <p:cNvSpPr/>
                  <p:nvPr userDrawn="1"/>
                </p:nvSpPr>
                <p:spPr>
                  <a:xfrm>
                    <a:off x="8254458" y="44935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ACFDC"/>
                  </a:solidFill>
                  <a:ln w="2339" cap="flat">
                    <a:no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37D454F1-05B3-E40C-87F1-3FD5AEE60793}"/>
                      </a:ext>
                    </a:extLst>
                  </p:cNvPr>
                  <p:cNvSpPr/>
                  <p:nvPr userDrawn="1"/>
                </p:nvSpPr>
                <p:spPr>
                  <a:xfrm>
                    <a:off x="8253967" y="4493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ACFDC"/>
                  </a:solidFill>
                  <a:ln w="2339" cap="flat">
                    <a:no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22239771-8E14-B591-ACA5-8A388E7D9924}"/>
                      </a:ext>
                    </a:extLst>
                  </p:cNvPr>
                  <p:cNvSpPr/>
                  <p:nvPr userDrawn="1"/>
                </p:nvSpPr>
                <p:spPr>
                  <a:xfrm>
                    <a:off x="8253499" y="44938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ACFDD"/>
                  </a:solidFill>
                  <a:ln w="2339" cap="flat">
                    <a:no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CD1ABAF4-2129-1B83-FFBA-C97F63315D81}"/>
                      </a:ext>
                    </a:extLst>
                  </p:cNvPr>
                  <p:cNvSpPr/>
                  <p:nvPr userDrawn="1"/>
                </p:nvSpPr>
                <p:spPr>
                  <a:xfrm>
                    <a:off x="8253008" y="44940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BCFDD"/>
                  </a:solidFill>
                  <a:ln w="2339" cap="flat">
                    <a:no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733CBBB0-38C5-978A-99E8-CBF8B249190C}"/>
                      </a:ext>
                    </a:extLst>
                  </p:cNvPr>
                  <p:cNvSpPr/>
                  <p:nvPr userDrawn="1"/>
                </p:nvSpPr>
                <p:spPr>
                  <a:xfrm>
                    <a:off x="8252516" y="4494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BD0DD"/>
                  </a:solidFill>
                  <a:ln w="2339"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4B7347EF-259A-E39E-7147-66F4C52B06C5}"/>
                      </a:ext>
                    </a:extLst>
                  </p:cNvPr>
                  <p:cNvSpPr/>
                  <p:nvPr userDrawn="1"/>
                </p:nvSpPr>
                <p:spPr>
                  <a:xfrm>
                    <a:off x="8252025" y="44944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CBD0DD"/>
                  </a:solidFill>
                  <a:ln w="2339"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78EA3BA1-7B75-8FE2-75EE-10172A128632}"/>
                      </a:ext>
                    </a:extLst>
                  </p:cNvPr>
                  <p:cNvSpPr/>
                  <p:nvPr userDrawn="1"/>
                </p:nvSpPr>
                <p:spPr>
                  <a:xfrm>
                    <a:off x="8251557" y="449461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D"/>
                  </a:solidFill>
                  <a:ln w="2339" cap="flat">
                    <a:no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A8498297-63E6-DBF0-D8C0-689DBD479E8B}"/>
                      </a:ext>
                    </a:extLst>
                  </p:cNvPr>
                  <p:cNvSpPr/>
                  <p:nvPr userDrawn="1"/>
                </p:nvSpPr>
                <p:spPr>
                  <a:xfrm>
                    <a:off x="8251065" y="44948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CD0DE"/>
                  </a:solidFill>
                  <a:ln w="2339"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22EBEC67-E503-86A2-E40C-43D18F0B8A40}"/>
                      </a:ext>
                    </a:extLst>
                  </p:cNvPr>
                  <p:cNvSpPr/>
                  <p:nvPr userDrawn="1"/>
                </p:nvSpPr>
                <p:spPr>
                  <a:xfrm>
                    <a:off x="8250574" y="44949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CD1DE"/>
                  </a:solidFill>
                  <a:ln w="2339" cap="flat">
                    <a:no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29F53596-6F54-0653-B888-7186DD1879E4}"/>
                      </a:ext>
                    </a:extLst>
                  </p:cNvPr>
                  <p:cNvSpPr/>
                  <p:nvPr userDrawn="1"/>
                </p:nvSpPr>
                <p:spPr>
                  <a:xfrm>
                    <a:off x="8250106" y="44951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1DE"/>
                  </a:solidFill>
                  <a:ln w="2339" cap="flat">
                    <a:no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08193A3C-8206-9028-4810-43E23DACCC2D}"/>
                      </a:ext>
                    </a:extLst>
                  </p:cNvPr>
                  <p:cNvSpPr/>
                  <p:nvPr userDrawn="1"/>
                </p:nvSpPr>
                <p:spPr>
                  <a:xfrm>
                    <a:off x="8249638" y="44953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DD1DE"/>
                  </a:solidFill>
                  <a:ln w="2339" cap="flat">
                    <a:no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50FE1AD5-3EF9-F5C5-1259-A747D22F133F}"/>
                      </a:ext>
                    </a:extLst>
                  </p:cNvPr>
                  <p:cNvSpPr/>
                  <p:nvPr userDrawn="1"/>
                </p:nvSpPr>
                <p:spPr>
                  <a:xfrm>
                    <a:off x="8249147" y="44955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CDD2DE"/>
                  </a:solidFill>
                  <a:ln w="2339" cap="flat">
                    <a:no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89D84B4D-E6D8-FE8C-05E9-6FF4E83D67F3}"/>
                      </a:ext>
                    </a:extLst>
                  </p:cNvPr>
                  <p:cNvSpPr/>
                  <p:nvPr userDrawn="1"/>
                </p:nvSpPr>
                <p:spPr>
                  <a:xfrm>
                    <a:off x="8248679" y="449573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DD2DF"/>
                  </a:solidFill>
                  <a:ln w="2339" cap="flat">
                    <a:no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248CF6FB-0F4C-93AF-8264-2847C56BA5FD}"/>
                      </a:ext>
                    </a:extLst>
                  </p:cNvPr>
                  <p:cNvSpPr/>
                  <p:nvPr userDrawn="1"/>
                </p:nvSpPr>
                <p:spPr>
                  <a:xfrm>
                    <a:off x="8248211" y="44959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710C9674-95DF-5E05-5641-D2056C750E2B}"/>
                      </a:ext>
                    </a:extLst>
                  </p:cNvPr>
                  <p:cNvSpPr/>
                  <p:nvPr userDrawn="1"/>
                </p:nvSpPr>
                <p:spPr>
                  <a:xfrm>
                    <a:off x="8247743" y="449611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2DF"/>
                  </a:solidFill>
                  <a:ln w="2339" cap="flat">
                    <a:no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B630E2D4-BE22-FF96-D4A0-9710E279875D}"/>
                      </a:ext>
                    </a:extLst>
                  </p:cNvPr>
                  <p:cNvSpPr/>
                  <p:nvPr userDrawn="1"/>
                </p:nvSpPr>
                <p:spPr>
                  <a:xfrm>
                    <a:off x="8247275" y="44962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ED3DF"/>
                  </a:solidFill>
                  <a:ln w="2339" cap="flat">
                    <a:no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BF8AC1D8-5138-C822-764C-B7BA4A790FCE}"/>
                      </a:ext>
                    </a:extLst>
                  </p:cNvPr>
                  <p:cNvSpPr/>
                  <p:nvPr userDrawn="1"/>
                </p:nvSpPr>
                <p:spPr>
                  <a:xfrm>
                    <a:off x="8246807" y="44964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CFD3DF"/>
                  </a:solidFill>
                  <a:ln w="2339" cap="flat">
                    <a:noFill/>
                    <a:prstDash val="solid"/>
                    <a:miter/>
                  </a:ln>
                </p:spPr>
                <p:txBody>
                  <a:bodyPr rtlCol="0" anchor="ctr"/>
                  <a:lstStyle/>
                  <a:p>
                    <a:endParaRPr lang="en-US"/>
                  </a:p>
                </p:txBody>
              </p:sp>
              <p:sp>
                <p:nvSpPr>
                  <p:cNvPr id="640" name="Freeform: Shape 639">
                    <a:extLst>
                      <a:ext uri="{FF2B5EF4-FFF2-40B4-BE49-F238E27FC236}">
                        <a16:creationId xmlns:a16="http://schemas.microsoft.com/office/drawing/2014/main" id="{08CE36D7-D47D-84C6-1F69-9720976C107A}"/>
                      </a:ext>
                    </a:extLst>
                  </p:cNvPr>
                  <p:cNvSpPr/>
                  <p:nvPr userDrawn="1"/>
                </p:nvSpPr>
                <p:spPr>
                  <a:xfrm>
                    <a:off x="8246339" y="44966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CFD3E0"/>
                  </a:solidFill>
                  <a:ln w="2339" cap="flat">
                    <a:noFill/>
                    <a:prstDash val="solid"/>
                    <a:miter/>
                  </a:ln>
                </p:spPr>
                <p:txBody>
                  <a:bodyPr rtlCol="0" anchor="ctr"/>
                  <a:lstStyle/>
                  <a:p>
                    <a:endParaRPr lang="en-US"/>
                  </a:p>
                </p:txBody>
              </p:sp>
              <p:sp>
                <p:nvSpPr>
                  <p:cNvPr id="641" name="Freeform: Shape 640">
                    <a:extLst>
                      <a:ext uri="{FF2B5EF4-FFF2-40B4-BE49-F238E27FC236}">
                        <a16:creationId xmlns:a16="http://schemas.microsoft.com/office/drawing/2014/main" id="{4C694BA1-2CD2-8A97-3CA3-49822FB7641C}"/>
                      </a:ext>
                    </a:extLst>
                  </p:cNvPr>
                  <p:cNvSpPr/>
                  <p:nvPr userDrawn="1"/>
                </p:nvSpPr>
                <p:spPr>
                  <a:xfrm>
                    <a:off x="8245871" y="44968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CFD4E0"/>
                  </a:solidFill>
                  <a:ln w="2339" cap="flat">
                    <a:noFill/>
                    <a:prstDash val="solid"/>
                    <a:miter/>
                  </a:ln>
                </p:spPr>
                <p:txBody>
                  <a:bodyPr rtlCol="0" anchor="ctr"/>
                  <a:lstStyle/>
                  <a:p>
                    <a:endParaRPr lang="en-US"/>
                  </a:p>
                </p:txBody>
              </p:sp>
              <p:sp>
                <p:nvSpPr>
                  <p:cNvPr id="642" name="Freeform: Shape 641">
                    <a:extLst>
                      <a:ext uri="{FF2B5EF4-FFF2-40B4-BE49-F238E27FC236}">
                        <a16:creationId xmlns:a16="http://schemas.microsoft.com/office/drawing/2014/main" id="{B3FF489F-73C4-6C18-FEBC-9EA8BA6B0721}"/>
                      </a:ext>
                    </a:extLst>
                  </p:cNvPr>
                  <p:cNvSpPr/>
                  <p:nvPr userDrawn="1"/>
                </p:nvSpPr>
                <p:spPr>
                  <a:xfrm>
                    <a:off x="8245403" y="4497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0D4E0"/>
                  </a:solidFill>
                  <a:ln w="2339" cap="flat">
                    <a:noFill/>
                    <a:prstDash val="solid"/>
                    <a:miter/>
                  </a:ln>
                </p:spPr>
                <p:txBody>
                  <a:bodyPr rtlCol="0" anchor="ctr"/>
                  <a:lstStyle/>
                  <a:p>
                    <a:endParaRPr lang="en-US"/>
                  </a:p>
                </p:txBody>
              </p:sp>
              <p:sp>
                <p:nvSpPr>
                  <p:cNvPr id="643" name="Freeform: Shape 642">
                    <a:extLst>
                      <a:ext uri="{FF2B5EF4-FFF2-40B4-BE49-F238E27FC236}">
                        <a16:creationId xmlns:a16="http://schemas.microsoft.com/office/drawing/2014/main" id="{7E10DE55-9A8D-749F-45FD-B3AC1B409E27}"/>
                      </a:ext>
                    </a:extLst>
                  </p:cNvPr>
                  <p:cNvSpPr/>
                  <p:nvPr userDrawn="1"/>
                </p:nvSpPr>
                <p:spPr>
                  <a:xfrm>
                    <a:off x="8244935" y="44972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0D4E0"/>
                  </a:solidFill>
                  <a:ln w="2339" cap="flat">
                    <a:noFill/>
                    <a:prstDash val="solid"/>
                    <a:miter/>
                  </a:ln>
                </p:spPr>
                <p:txBody>
                  <a:bodyPr rtlCol="0" anchor="ctr"/>
                  <a:lstStyle/>
                  <a:p>
                    <a:endParaRPr lang="en-US"/>
                  </a:p>
                </p:txBody>
              </p:sp>
              <p:sp>
                <p:nvSpPr>
                  <p:cNvPr id="644" name="Freeform: Shape 643">
                    <a:extLst>
                      <a:ext uri="{FF2B5EF4-FFF2-40B4-BE49-F238E27FC236}">
                        <a16:creationId xmlns:a16="http://schemas.microsoft.com/office/drawing/2014/main" id="{F2AC34BC-C26C-2124-175C-98024B807AEA}"/>
                      </a:ext>
                    </a:extLst>
                  </p:cNvPr>
                  <p:cNvSpPr/>
                  <p:nvPr userDrawn="1"/>
                </p:nvSpPr>
                <p:spPr>
                  <a:xfrm>
                    <a:off x="8244490" y="44974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0D4E0"/>
                  </a:solidFill>
                  <a:ln w="2339" cap="flat">
                    <a:noFill/>
                    <a:prstDash val="solid"/>
                    <a:miter/>
                  </a:ln>
                </p:spPr>
                <p:txBody>
                  <a:bodyPr rtlCol="0" anchor="ctr"/>
                  <a:lstStyle/>
                  <a:p>
                    <a:endParaRPr lang="en-US"/>
                  </a:p>
                </p:txBody>
              </p:sp>
              <p:sp>
                <p:nvSpPr>
                  <p:cNvPr id="645" name="Freeform: Shape 644">
                    <a:extLst>
                      <a:ext uri="{FF2B5EF4-FFF2-40B4-BE49-F238E27FC236}">
                        <a16:creationId xmlns:a16="http://schemas.microsoft.com/office/drawing/2014/main" id="{85155C0B-564D-65EE-B384-079A10E036D2}"/>
                      </a:ext>
                    </a:extLst>
                  </p:cNvPr>
                  <p:cNvSpPr/>
                  <p:nvPr userDrawn="1"/>
                </p:nvSpPr>
                <p:spPr>
                  <a:xfrm>
                    <a:off x="8244022" y="44976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1D5E1"/>
                  </a:solidFill>
                  <a:ln w="2339" cap="flat">
                    <a:no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C8F143AD-8EBE-EDDC-0288-F9516D917C80}"/>
                      </a:ext>
                    </a:extLst>
                  </p:cNvPr>
                  <p:cNvSpPr/>
                  <p:nvPr userDrawn="1"/>
                </p:nvSpPr>
                <p:spPr>
                  <a:xfrm>
                    <a:off x="8243577" y="449786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1D5E1"/>
                  </a:solidFill>
                  <a:ln w="2339" cap="flat">
                    <a:noFill/>
                    <a:prstDash val="solid"/>
                    <a:miter/>
                  </a:ln>
                </p:spPr>
                <p:txBody>
                  <a:bodyPr rtlCol="0" anchor="ctr"/>
                  <a:lstStyle/>
                  <a:p>
                    <a:endParaRPr lang="en-US"/>
                  </a:p>
                </p:txBody>
              </p:sp>
              <p:sp>
                <p:nvSpPr>
                  <p:cNvPr id="647" name="Freeform: Shape 646">
                    <a:extLst>
                      <a:ext uri="{FF2B5EF4-FFF2-40B4-BE49-F238E27FC236}">
                        <a16:creationId xmlns:a16="http://schemas.microsoft.com/office/drawing/2014/main" id="{20737FEC-C3B6-4B65-4EF2-B2622DBDD8B3}"/>
                      </a:ext>
                    </a:extLst>
                  </p:cNvPr>
                  <p:cNvSpPr/>
                  <p:nvPr userDrawn="1"/>
                </p:nvSpPr>
                <p:spPr>
                  <a:xfrm>
                    <a:off x="8243109" y="44980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1D5E1"/>
                  </a:solidFill>
                  <a:ln w="2339" cap="flat">
                    <a:noFill/>
                    <a:prstDash val="solid"/>
                    <a:miter/>
                  </a:ln>
                </p:spPr>
                <p:txBody>
                  <a:bodyPr rtlCol="0" anchor="ctr"/>
                  <a:lstStyle/>
                  <a:p>
                    <a:endParaRPr lang="en-US"/>
                  </a:p>
                </p:txBody>
              </p:sp>
              <p:sp>
                <p:nvSpPr>
                  <p:cNvPr id="648" name="Freeform: Shape 647">
                    <a:extLst>
                      <a:ext uri="{FF2B5EF4-FFF2-40B4-BE49-F238E27FC236}">
                        <a16:creationId xmlns:a16="http://schemas.microsoft.com/office/drawing/2014/main" id="{8061C05B-4D4B-F4ED-7843-5FA5B6A1007C}"/>
                      </a:ext>
                    </a:extLst>
                  </p:cNvPr>
                  <p:cNvSpPr/>
                  <p:nvPr userDrawn="1"/>
                </p:nvSpPr>
                <p:spPr>
                  <a:xfrm>
                    <a:off x="8242665" y="4498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1D6E1"/>
                  </a:solidFill>
                  <a:ln w="2339" cap="flat">
                    <a:no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47023DDE-BFC3-D94C-90C1-48BD9EDFDAFC}"/>
                      </a:ext>
                    </a:extLst>
                  </p:cNvPr>
                  <p:cNvSpPr/>
                  <p:nvPr userDrawn="1"/>
                </p:nvSpPr>
                <p:spPr>
                  <a:xfrm>
                    <a:off x="8242220" y="449847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2D6E1"/>
                  </a:solidFill>
                  <a:ln w="2339" cap="flat">
                    <a:noFill/>
                    <a:prstDash val="solid"/>
                    <a:miter/>
                  </a:ln>
                </p:spPr>
                <p:txBody>
                  <a:bodyPr rtlCol="0" anchor="ctr"/>
                  <a:lstStyle/>
                  <a:p>
                    <a:endParaRPr lang="en-US"/>
                  </a:p>
                </p:txBody>
              </p:sp>
              <p:sp>
                <p:nvSpPr>
                  <p:cNvPr id="650" name="Freeform: Shape 649">
                    <a:extLst>
                      <a:ext uri="{FF2B5EF4-FFF2-40B4-BE49-F238E27FC236}">
                        <a16:creationId xmlns:a16="http://schemas.microsoft.com/office/drawing/2014/main" id="{3303DA0A-F67B-70C1-5288-E3504E3906F5}"/>
                      </a:ext>
                    </a:extLst>
                  </p:cNvPr>
                  <p:cNvSpPr/>
                  <p:nvPr userDrawn="1"/>
                </p:nvSpPr>
                <p:spPr>
                  <a:xfrm>
                    <a:off x="8241776" y="44986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2D6E2"/>
                  </a:solidFill>
                  <a:ln w="2339" cap="flat">
                    <a:noFill/>
                    <a:prstDash val="solid"/>
                    <a:miter/>
                  </a:ln>
                </p:spPr>
                <p:txBody>
                  <a:bodyPr rtlCol="0" anchor="ctr"/>
                  <a:lstStyle/>
                  <a:p>
                    <a:endParaRPr lang="en-US"/>
                  </a:p>
                </p:txBody>
              </p:sp>
              <p:sp>
                <p:nvSpPr>
                  <p:cNvPr id="651" name="Freeform: Shape 650">
                    <a:extLst>
                      <a:ext uri="{FF2B5EF4-FFF2-40B4-BE49-F238E27FC236}">
                        <a16:creationId xmlns:a16="http://schemas.microsoft.com/office/drawing/2014/main" id="{2E30EC6F-9157-5232-F54B-04F683A3B98E}"/>
                      </a:ext>
                    </a:extLst>
                  </p:cNvPr>
                  <p:cNvSpPr/>
                  <p:nvPr userDrawn="1"/>
                </p:nvSpPr>
                <p:spPr>
                  <a:xfrm>
                    <a:off x="8241308" y="449887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2D6E2"/>
                  </a:solidFill>
                  <a:ln w="2339" cap="flat">
                    <a:noFill/>
                    <a:prstDash val="solid"/>
                    <a:miter/>
                  </a:ln>
                </p:spPr>
                <p:txBody>
                  <a:bodyPr rtlCol="0" anchor="ctr"/>
                  <a:lstStyle/>
                  <a:p>
                    <a:endParaRPr lang="en-US"/>
                  </a:p>
                </p:txBody>
              </p:sp>
              <p:sp>
                <p:nvSpPr>
                  <p:cNvPr id="652" name="Freeform: Shape 651">
                    <a:extLst>
                      <a:ext uri="{FF2B5EF4-FFF2-40B4-BE49-F238E27FC236}">
                        <a16:creationId xmlns:a16="http://schemas.microsoft.com/office/drawing/2014/main" id="{12F0BA98-DB56-53FC-C0C4-797E396F42C6}"/>
                      </a:ext>
                    </a:extLst>
                  </p:cNvPr>
                  <p:cNvSpPr/>
                  <p:nvPr userDrawn="1"/>
                </p:nvSpPr>
                <p:spPr>
                  <a:xfrm>
                    <a:off x="8240863" y="449908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925AC1CC-8232-5FCB-0118-21217C25A1B6}"/>
                      </a:ext>
                    </a:extLst>
                  </p:cNvPr>
                  <p:cNvSpPr/>
                  <p:nvPr userDrawn="1"/>
                </p:nvSpPr>
                <p:spPr>
                  <a:xfrm>
                    <a:off x="8240418" y="44992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3D7E2"/>
                  </a:solidFill>
                  <a:ln w="2339" cap="flat">
                    <a:noFill/>
                    <a:prstDash val="solid"/>
                    <a:miter/>
                  </a:ln>
                </p:spPr>
                <p:txBody>
                  <a:bodyPr rtlCol="0" anchor="ctr"/>
                  <a:lstStyle/>
                  <a:p>
                    <a:endParaRPr lang="en-US"/>
                  </a:p>
                </p:txBody>
              </p:sp>
              <p:sp>
                <p:nvSpPr>
                  <p:cNvPr id="654" name="Freeform: Shape 653">
                    <a:extLst>
                      <a:ext uri="{FF2B5EF4-FFF2-40B4-BE49-F238E27FC236}">
                        <a16:creationId xmlns:a16="http://schemas.microsoft.com/office/drawing/2014/main" id="{96D53BCA-81E1-8CA8-E242-A2757490FD89}"/>
                      </a:ext>
                    </a:extLst>
                  </p:cNvPr>
                  <p:cNvSpPr/>
                  <p:nvPr userDrawn="1"/>
                </p:nvSpPr>
                <p:spPr>
                  <a:xfrm>
                    <a:off x="8239997" y="449950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3D7E2"/>
                  </a:solidFill>
                  <a:ln w="2339" cap="flat">
                    <a:noFill/>
                    <a:prstDash val="solid"/>
                    <a:miter/>
                  </a:ln>
                </p:spPr>
                <p:txBody>
                  <a:bodyPr rtlCol="0" anchor="ctr"/>
                  <a:lstStyle/>
                  <a:p>
                    <a:endParaRPr lang="en-US"/>
                  </a:p>
                </p:txBody>
              </p:sp>
              <p:sp>
                <p:nvSpPr>
                  <p:cNvPr id="655" name="Freeform: Shape 654">
                    <a:extLst>
                      <a:ext uri="{FF2B5EF4-FFF2-40B4-BE49-F238E27FC236}">
                        <a16:creationId xmlns:a16="http://schemas.microsoft.com/office/drawing/2014/main" id="{4C5D06A8-DA0F-330F-D240-1877DDCAD384}"/>
                      </a:ext>
                    </a:extLst>
                  </p:cNvPr>
                  <p:cNvSpPr/>
                  <p:nvPr userDrawn="1"/>
                </p:nvSpPr>
                <p:spPr>
                  <a:xfrm>
                    <a:off x="8239552" y="449971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4D7E3"/>
                  </a:solidFill>
                  <a:ln w="2339" cap="flat">
                    <a:no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E8917F63-8123-1D09-CE30-C22B79617EE8}"/>
                      </a:ext>
                    </a:extLst>
                  </p:cNvPr>
                  <p:cNvSpPr/>
                  <p:nvPr userDrawn="1"/>
                </p:nvSpPr>
                <p:spPr>
                  <a:xfrm>
                    <a:off x="8239108" y="449990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B439CB0D-B42F-C713-BABA-D1AC3D9E3BC4}"/>
                      </a:ext>
                    </a:extLst>
                  </p:cNvPr>
                  <p:cNvSpPr/>
                  <p:nvPr userDrawn="1"/>
                </p:nvSpPr>
                <p:spPr>
                  <a:xfrm>
                    <a:off x="8238663" y="45001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4D8E3"/>
                  </a:solidFill>
                  <a:ln w="2339" cap="flat">
                    <a:no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2180C730-0E69-5ADA-25EC-9C151F70D55E}"/>
                      </a:ext>
                    </a:extLst>
                  </p:cNvPr>
                  <p:cNvSpPr/>
                  <p:nvPr userDrawn="1"/>
                </p:nvSpPr>
                <p:spPr>
                  <a:xfrm>
                    <a:off x="8238242" y="45003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D4D8E3"/>
                  </a:solidFill>
                  <a:ln w="2339" cap="flat">
                    <a:no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ABA8C9E2-6400-155F-9787-64D65FC9F97F}"/>
                      </a:ext>
                    </a:extLst>
                  </p:cNvPr>
                  <p:cNvSpPr/>
                  <p:nvPr userDrawn="1"/>
                </p:nvSpPr>
                <p:spPr>
                  <a:xfrm>
                    <a:off x="8237797" y="45005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5D9E3"/>
                  </a:solidFill>
                  <a:ln w="2339" cap="flat">
                    <a:no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57EACA58-2410-8D92-6FCD-385F78C762EC}"/>
                      </a:ext>
                    </a:extLst>
                  </p:cNvPr>
                  <p:cNvSpPr/>
                  <p:nvPr userDrawn="1"/>
                </p:nvSpPr>
                <p:spPr>
                  <a:xfrm>
                    <a:off x="8237376" y="450076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5D9E4"/>
                  </a:solidFill>
                  <a:ln w="2339" cap="flat">
                    <a:no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7E7942C5-3924-CFAC-C72A-6222F004DEAD}"/>
                      </a:ext>
                    </a:extLst>
                  </p:cNvPr>
                  <p:cNvSpPr/>
                  <p:nvPr userDrawn="1"/>
                </p:nvSpPr>
                <p:spPr>
                  <a:xfrm>
                    <a:off x="8236932" y="45009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5D9E4"/>
                  </a:solidFill>
                  <a:ln w="2339" cap="flat">
                    <a:noFill/>
                    <a:prstDash val="solid"/>
                    <a:miter/>
                  </a:ln>
                </p:spPr>
                <p:txBody>
                  <a:bodyPr rtlCol="0" anchor="ctr"/>
                  <a:lstStyle/>
                  <a:p>
                    <a:endParaRPr lang="en-US"/>
                  </a:p>
                </p:txBody>
              </p:sp>
              <p:sp>
                <p:nvSpPr>
                  <p:cNvPr id="662" name="Freeform: Shape 661">
                    <a:extLst>
                      <a:ext uri="{FF2B5EF4-FFF2-40B4-BE49-F238E27FC236}">
                        <a16:creationId xmlns:a16="http://schemas.microsoft.com/office/drawing/2014/main" id="{8DB49B85-1AE5-F80E-7723-688D2C9B82CE}"/>
                      </a:ext>
                    </a:extLst>
                  </p:cNvPr>
                  <p:cNvSpPr/>
                  <p:nvPr userDrawn="1"/>
                </p:nvSpPr>
                <p:spPr>
                  <a:xfrm>
                    <a:off x="8236510" y="45011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6D9E4"/>
                  </a:solidFill>
                  <a:ln w="2339" cap="flat">
                    <a:no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17F09ABA-68FB-BDE1-08F7-7851B3C611A1}"/>
                      </a:ext>
                    </a:extLst>
                  </p:cNvPr>
                  <p:cNvSpPr/>
                  <p:nvPr userDrawn="1"/>
                </p:nvSpPr>
                <p:spPr>
                  <a:xfrm>
                    <a:off x="8236089" y="450140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6DAE4"/>
                  </a:solidFill>
                  <a:ln w="2339" cap="flat">
                    <a:no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1CB444DB-F768-65F1-69FC-FD51C9E69E81}"/>
                      </a:ext>
                    </a:extLst>
                  </p:cNvPr>
                  <p:cNvSpPr/>
                  <p:nvPr userDrawn="1"/>
                </p:nvSpPr>
                <p:spPr>
                  <a:xfrm>
                    <a:off x="8235668" y="45016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6DAE4"/>
                  </a:solidFill>
                  <a:ln w="2339" cap="flat">
                    <a:no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8ED12C53-C062-C37E-FC15-E6BBE20633C5}"/>
                      </a:ext>
                    </a:extLst>
                  </p:cNvPr>
                  <p:cNvSpPr/>
                  <p:nvPr userDrawn="1"/>
                </p:nvSpPr>
                <p:spPr>
                  <a:xfrm>
                    <a:off x="8235247" y="45018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AE5"/>
                  </a:solidFill>
                  <a:ln w="2339" cap="flat">
                    <a:no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722E0FFD-F99B-8096-A555-C06A7E4F91D7}"/>
                      </a:ext>
                    </a:extLst>
                  </p:cNvPr>
                  <p:cNvSpPr/>
                  <p:nvPr userDrawn="1"/>
                </p:nvSpPr>
                <p:spPr>
                  <a:xfrm>
                    <a:off x="8234826" y="45020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7DBE5"/>
                  </a:solidFill>
                  <a:ln w="2339" cap="flat">
                    <a:no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2BA9600B-4E7C-FFCA-45BF-3129C0A242F0}"/>
                      </a:ext>
                    </a:extLst>
                  </p:cNvPr>
                  <p:cNvSpPr/>
                  <p:nvPr userDrawn="1"/>
                </p:nvSpPr>
                <p:spPr>
                  <a:xfrm>
                    <a:off x="8234404" y="45022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7DBE5"/>
                  </a:solidFill>
                  <a:ln w="2339" cap="flat">
                    <a:noFill/>
                    <a:prstDash val="solid"/>
                    <a:miter/>
                  </a:ln>
                </p:spPr>
                <p:txBody>
                  <a:bodyPr rtlCol="0" anchor="ctr"/>
                  <a:lstStyle/>
                  <a:p>
                    <a:endParaRPr lang="en-US"/>
                  </a:p>
                </p:txBody>
              </p:sp>
              <p:sp>
                <p:nvSpPr>
                  <p:cNvPr id="668" name="Freeform: Shape 667">
                    <a:extLst>
                      <a:ext uri="{FF2B5EF4-FFF2-40B4-BE49-F238E27FC236}">
                        <a16:creationId xmlns:a16="http://schemas.microsoft.com/office/drawing/2014/main" id="{EAD42298-2F99-7AE9-A777-07BD70A0DDC3}"/>
                      </a:ext>
                    </a:extLst>
                  </p:cNvPr>
                  <p:cNvSpPr/>
                  <p:nvPr userDrawn="1"/>
                </p:nvSpPr>
                <p:spPr>
                  <a:xfrm>
                    <a:off x="8233983" y="45024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8DBE5"/>
                  </a:solidFill>
                  <a:ln w="2339" cap="flat">
                    <a:noFill/>
                    <a:prstDash val="solid"/>
                    <a:miter/>
                  </a:ln>
                </p:spPr>
                <p:txBody>
                  <a:bodyPr rtlCol="0" anchor="ctr"/>
                  <a:lstStyle/>
                  <a:p>
                    <a:endParaRPr lang="en-US"/>
                  </a:p>
                </p:txBody>
              </p:sp>
              <p:sp>
                <p:nvSpPr>
                  <p:cNvPr id="669" name="Freeform: Shape 668">
                    <a:extLst>
                      <a:ext uri="{FF2B5EF4-FFF2-40B4-BE49-F238E27FC236}">
                        <a16:creationId xmlns:a16="http://schemas.microsoft.com/office/drawing/2014/main" id="{128BC310-A570-D1A5-4A98-D65112E03387}"/>
                      </a:ext>
                    </a:extLst>
                  </p:cNvPr>
                  <p:cNvSpPr/>
                  <p:nvPr userDrawn="1"/>
                </p:nvSpPr>
                <p:spPr>
                  <a:xfrm>
                    <a:off x="8233585" y="45027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BE5"/>
                  </a:solidFill>
                  <a:ln w="2339" cap="flat">
                    <a:noFill/>
                    <a:prstDash val="solid"/>
                    <a:miter/>
                  </a:ln>
                </p:spPr>
                <p:txBody>
                  <a:bodyPr rtlCol="0" anchor="ctr"/>
                  <a:lstStyle/>
                  <a:p>
                    <a:endParaRPr lang="en-US"/>
                  </a:p>
                </p:txBody>
              </p:sp>
              <p:sp>
                <p:nvSpPr>
                  <p:cNvPr id="670" name="Freeform: Shape 669">
                    <a:extLst>
                      <a:ext uri="{FF2B5EF4-FFF2-40B4-BE49-F238E27FC236}">
                        <a16:creationId xmlns:a16="http://schemas.microsoft.com/office/drawing/2014/main" id="{0A0273A2-BCF9-B35C-66B6-B7AB896BB46C}"/>
                      </a:ext>
                    </a:extLst>
                  </p:cNvPr>
                  <p:cNvSpPr/>
                  <p:nvPr userDrawn="1"/>
                </p:nvSpPr>
                <p:spPr>
                  <a:xfrm>
                    <a:off x="8233164" y="450292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D8DCE6"/>
                  </a:solidFill>
                  <a:ln w="2339" cap="flat">
                    <a:noFill/>
                    <a:prstDash val="solid"/>
                    <a:miter/>
                  </a:ln>
                </p:spPr>
                <p:txBody>
                  <a:bodyPr rtlCol="0" anchor="ctr"/>
                  <a:lstStyle/>
                  <a:p>
                    <a:endParaRPr lang="en-US"/>
                  </a:p>
                </p:txBody>
              </p:sp>
              <p:sp>
                <p:nvSpPr>
                  <p:cNvPr id="671" name="Freeform: Shape 670">
                    <a:extLst>
                      <a:ext uri="{FF2B5EF4-FFF2-40B4-BE49-F238E27FC236}">
                        <a16:creationId xmlns:a16="http://schemas.microsoft.com/office/drawing/2014/main" id="{2C502DDF-8257-5C47-D7A8-A47B9F56148C}"/>
                      </a:ext>
                    </a:extLst>
                  </p:cNvPr>
                  <p:cNvSpPr/>
                  <p:nvPr userDrawn="1"/>
                </p:nvSpPr>
                <p:spPr>
                  <a:xfrm>
                    <a:off x="8232766" y="45031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8DCE6"/>
                  </a:solidFill>
                  <a:ln w="2339" cap="flat">
                    <a:no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1302409E-27B7-5266-A0FC-0B35E3F992BC}"/>
                      </a:ext>
                    </a:extLst>
                  </p:cNvPr>
                  <p:cNvSpPr/>
                  <p:nvPr userDrawn="1"/>
                </p:nvSpPr>
                <p:spPr>
                  <a:xfrm>
                    <a:off x="8232345" y="450338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9DCE6"/>
                  </a:solidFill>
                  <a:ln w="2339" cap="flat">
                    <a:noFill/>
                    <a:prstDash val="solid"/>
                    <a:miter/>
                  </a:ln>
                </p:spPr>
                <p:txBody>
                  <a:bodyPr rtlCol="0" anchor="ctr"/>
                  <a:lstStyle/>
                  <a:p>
                    <a:endParaRPr lang="en-US"/>
                  </a:p>
                </p:txBody>
              </p:sp>
              <p:sp>
                <p:nvSpPr>
                  <p:cNvPr id="673" name="Freeform: Shape 672">
                    <a:extLst>
                      <a:ext uri="{FF2B5EF4-FFF2-40B4-BE49-F238E27FC236}">
                        <a16:creationId xmlns:a16="http://schemas.microsoft.com/office/drawing/2014/main" id="{457BEA28-7287-A7D4-3DED-12DBD67D0B69}"/>
                      </a:ext>
                    </a:extLst>
                  </p:cNvPr>
                  <p:cNvSpPr/>
                  <p:nvPr userDrawn="1"/>
                </p:nvSpPr>
                <p:spPr>
                  <a:xfrm>
                    <a:off x="8231947" y="450359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CE6"/>
                  </a:solidFill>
                  <a:ln w="2339" cap="flat">
                    <a:no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27E3455F-E8A3-0E88-C6DC-FB59D6B840EE}"/>
                      </a:ext>
                    </a:extLst>
                  </p:cNvPr>
                  <p:cNvSpPr/>
                  <p:nvPr userDrawn="1"/>
                </p:nvSpPr>
                <p:spPr>
                  <a:xfrm>
                    <a:off x="8231550" y="450383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9DDE6"/>
                  </a:solidFill>
                  <a:ln w="2339" cap="flat">
                    <a:noFill/>
                    <a:prstDash val="solid"/>
                    <a:miter/>
                  </a:ln>
                </p:spPr>
                <p:txBody>
                  <a:bodyPr rtlCol="0" anchor="ctr"/>
                  <a:lstStyle/>
                  <a:p>
                    <a:endParaRPr lang="en-US"/>
                  </a:p>
                </p:txBody>
              </p:sp>
              <p:sp>
                <p:nvSpPr>
                  <p:cNvPr id="675" name="Freeform: Shape 674">
                    <a:extLst>
                      <a:ext uri="{FF2B5EF4-FFF2-40B4-BE49-F238E27FC236}">
                        <a16:creationId xmlns:a16="http://schemas.microsoft.com/office/drawing/2014/main" id="{28BC0240-A859-9C5A-597B-0532851CFACB}"/>
                      </a:ext>
                    </a:extLst>
                  </p:cNvPr>
                  <p:cNvSpPr/>
                  <p:nvPr userDrawn="1"/>
                </p:nvSpPr>
                <p:spPr>
                  <a:xfrm>
                    <a:off x="8231152" y="45040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ADDE7"/>
                  </a:solidFill>
                  <a:ln w="2339" cap="flat">
                    <a:noFill/>
                    <a:prstDash val="solid"/>
                    <a:miter/>
                  </a:ln>
                </p:spPr>
                <p:txBody>
                  <a:bodyPr rtlCol="0" anchor="ctr"/>
                  <a:lstStyle/>
                  <a:p>
                    <a:endParaRPr lang="en-US"/>
                  </a:p>
                </p:txBody>
              </p:sp>
              <p:sp>
                <p:nvSpPr>
                  <p:cNvPr id="676" name="Freeform: Shape 675">
                    <a:extLst>
                      <a:ext uri="{FF2B5EF4-FFF2-40B4-BE49-F238E27FC236}">
                        <a16:creationId xmlns:a16="http://schemas.microsoft.com/office/drawing/2014/main" id="{7A578C52-2D13-1CC4-3245-2C51A14876BB}"/>
                      </a:ext>
                    </a:extLst>
                  </p:cNvPr>
                  <p:cNvSpPr/>
                  <p:nvPr userDrawn="1"/>
                </p:nvSpPr>
                <p:spPr>
                  <a:xfrm>
                    <a:off x="8230731" y="450427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DE7"/>
                  </a:solidFill>
                  <a:ln w="2339" cap="flat">
                    <a:noFill/>
                    <a:prstDash val="solid"/>
                    <a:miter/>
                  </a:ln>
                </p:spPr>
                <p:txBody>
                  <a:bodyPr rtlCol="0" anchor="ctr"/>
                  <a:lstStyle/>
                  <a:p>
                    <a:endParaRPr lang="en-US"/>
                  </a:p>
                </p:txBody>
              </p:sp>
              <p:sp>
                <p:nvSpPr>
                  <p:cNvPr id="677" name="Freeform: Shape 676">
                    <a:extLst>
                      <a:ext uri="{FF2B5EF4-FFF2-40B4-BE49-F238E27FC236}">
                        <a16:creationId xmlns:a16="http://schemas.microsoft.com/office/drawing/2014/main" id="{17010E2B-EECE-D08F-CB21-56D279A2C9C9}"/>
                      </a:ext>
                    </a:extLst>
                  </p:cNvPr>
                  <p:cNvSpPr/>
                  <p:nvPr userDrawn="1"/>
                </p:nvSpPr>
                <p:spPr>
                  <a:xfrm>
                    <a:off x="8230333" y="45045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ADEE7"/>
                  </a:solidFill>
                  <a:ln w="2339" cap="flat">
                    <a:noFill/>
                    <a:prstDash val="solid"/>
                    <a:miter/>
                  </a:ln>
                </p:spPr>
                <p:txBody>
                  <a:bodyPr rtlCol="0" anchor="ctr"/>
                  <a:lstStyle/>
                  <a:p>
                    <a:endParaRPr lang="en-US"/>
                  </a:p>
                </p:txBody>
              </p:sp>
              <p:sp>
                <p:nvSpPr>
                  <p:cNvPr id="678" name="Freeform: Shape 677">
                    <a:extLst>
                      <a:ext uri="{FF2B5EF4-FFF2-40B4-BE49-F238E27FC236}">
                        <a16:creationId xmlns:a16="http://schemas.microsoft.com/office/drawing/2014/main" id="{579E52C7-9B13-6A99-9E8A-B17A792F0DE5}"/>
                      </a:ext>
                    </a:extLst>
                  </p:cNvPr>
                  <p:cNvSpPr/>
                  <p:nvPr userDrawn="1"/>
                </p:nvSpPr>
                <p:spPr>
                  <a:xfrm>
                    <a:off x="8229958" y="450474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BDEE7"/>
                  </a:solidFill>
                  <a:ln w="2339" cap="flat">
                    <a:noFill/>
                    <a:prstDash val="solid"/>
                    <a:miter/>
                  </a:ln>
                </p:spPr>
                <p:txBody>
                  <a:bodyPr rtlCol="0" anchor="ctr"/>
                  <a:lstStyle/>
                  <a:p>
                    <a:endParaRPr lang="en-US"/>
                  </a:p>
                </p:txBody>
              </p:sp>
              <p:sp>
                <p:nvSpPr>
                  <p:cNvPr id="679" name="Freeform: Shape 678">
                    <a:extLst>
                      <a:ext uri="{FF2B5EF4-FFF2-40B4-BE49-F238E27FC236}">
                        <a16:creationId xmlns:a16="http://schemas.microsoft.com/office/drawing/2014/main" id="{E121E40F-1B26-6555-004C-7B0BFB7D015F}"/>
                      </a:ext>
                    </a:extLst>
                  </p:cNvPr>
                  <p:cNvSpPr/>
                  <p:nvPr userDrawn="1"/>
                </p:nvSpPr>
                <p:spPr>
                  <a:xfrm>
                    <a:off x="8229561" y="45049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7"/>
                  </a:solidFill>
                  <a:ln w="2339" cap="flat">
                    <a:noFill/>
                    <a:prstDash val="solid"/>
                    <a:miter/>
                  </a:ln>
                </p:spPr>
                <p:txBody>
                  <a:bodyPr rtlCol="0" anchor="ctr"/>
                  <a:lstStyle/>
                  <a:p>
                    <a:endParaRPr lang="en-US"/>
                  </a:p>
                </p:txBody>
              </p:sp>
              <p:sp>
                <p:nvSpPr>
                  <p:cNvPr id="680" name="Freeform: Shape 679">
                    <a:extLst>
                      <a:ext uri="{FF2B5EF4-FFF2-40B4-BE49-F238E27FC236}">
                        <a16:creationId xmlns:a16="http://schemas.microsoft.com/office/drawing/2014/main" id="{D2AC5DD9-5134-E44C-90E3-B9D878C450EB}"/>
                      </a:ext>
                    </a:extLst>
                  </p:cNvPr>
                  <p:cNvSpPr/>
                  <p:nvPr userDrawn="1"/>
                </p:nvSpPr>
                <p:spPr>
                  <a:xfrm>
                    <a:off x="8229163" y="450519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BDEE8"/>
                  </a:solidFill>
                  <a:ln w="2339" cap="flat">
                    <a:noFill/>
                    <a:prstDash val="solid"/>
                    <a:miter/>
                  </a:ln>
                </p:spPr>
                <p:txBody>
                  <a:bodyPr rtlCol="0" anchor="ctr"/>
                  <a:lstStyle/>
                  <a:p>
                    <a:endParaRPr lang="en-US"/>
                  </a:p>
                </p:txBody>
              </p:sp>
              <p:sp>
                <p:nvSpPr>
                  <p:cNvPr id="681" name="Freeform: Shape 680">
                    <a:extLst>
                      <a:ext uri="{FF2B5EF4-FFF2-40B4-BE49-F238E27FC236}">
                        <a16:creationId xmlns:a16="http://schemas.microsoft.com/office/drawing/2014/main" id="{EDEE694F-B73B-CE96-B547-F2B699D09F54}"/>
                      </a:ext>
                    </a:extLst>
                  </p:cNvPr>
                  <p:cNvSpPr/>
                  <p:nvPr userDrawn="1"/>
                </p:nvSpPr>
                <p:spPr>
                  <a:xfrm>
                    <a:off x="8228765" y="450542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a:p>
                </p:txBody>
              </p:sp>
              <p:sp>
                <p:nvSpPr>
                  <p:cNvPr id="682" name="Freeform: Shape 681">
                    <a:extLst>
                      <a:ext uri="{FF2B5EF4-FFF2-40B4-BE49-F238E27FC236}">
                        <a16:creationId xmlns:a16="http://schemas.microsoft.com/office/drawing/2014/main" id="{49A79477-F2D8-3AFA-58A5-BCF03F401402}"/>
                      </a:ext>
                    </a:extLst>
                  </p:cNvPr>
                  <p:cNvSpPr/>
                  <p:nvPr userDrawn="1"/>
                </p:nvSpPr>
                <p:spPr>
                  <a:xfrm>
                    <a:off x="8228391" y="450565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CDFE8"/>
                  </a:solidFill>
                  <a:ln w="2339" cap="flat">
                    <a:noFill/>
                    <a:prstDash val="solid"/>
                    <a:miter/>
                  </a:ln>
                </p:spPr>
                <p:txBody>
                  <a:bodyPr rtlCol="0" anchor="ctr"/>
                  <a:lstStyle/>
                  <a:p>
                    <a:endParaRPr lang="en-US"/>
                  </a:p>
                </p:txBody>
              </p:sp>
              <p:sp>
                <p:nvSpPr>
                  <p:cNvPr id="683" name="Freeform: Shape 682">
                    <a:extLst>
                      <a:ext uri="{FF2B5EF4-FFF2-40B4-BE49-F238E27FC236}">
                        <a16:creationId xmlns:a16="http://schemas.microsoft.com/office/drawing/2014/main" id="{F9BFF842-E039-34F0-2614-D189FCB821EE}"/>
                      </a:ext>
                    </a:extLst>
                  </p:cNvPr>
                  <p:cNvSpPr/>
                  <p:nvPr userDrawn="1"/>
                </p:nvSpPr>
                <p:spPr>
                  <a:xfrm>
                    <a:off x="8227993" y="45058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DFE8"/>
                  </a:solidFill>
                  <a:ln w="2339" cap="flat">
                    <a:noFill/>
                    <a:prstDash val="solid"/>
                    <a:miter/>
                  </a:ln>
                </p:spPr>
                <p:txBody>
                  <a:bodyPr rtlCol="0" anchor="ctr"/>
                  <a:lstStyle/>
                  <a:p>
                    <a:endParaRPr lang="en-US"/>
                  </a:p>
                </p:txBody>
              </p:sp>
              <p:sp>
                <p:nvSpPr>
                  <p:cNvPr id="684" name="Freeform: Shape 683">
                    <a:extLst>
                      <a:ext uri="{FF2B5EF4-FFF2-40B4-BE49-F238E27FC236}">
                        <a16:creationId xmlns:a16="http://schemas.microsoft.com/office/drawing/2014/main" id="{6071860C-180A-1285-1F74-FBC9CBB67447}"/>
                      </a:ext>
                    </a:extLst>
                  </p:cNvPr>
                  <p:cNvSpPr/>
                  <p:nvPr userDrawn="1"/>
                </p:nvSpPr>
                <p:spPr>
                  <a:xfrm>
                    <a:off x="8227618" y="45061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CE0E8"/>
                  </a:solidFill>
                  <a:ln w="2339" cap="flat">
                    <a:no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86D9907C-F2B0-ACC0-578C-0891DCB317E9}"/>
                      </a:ext>
                    </a:extLst>
                  </p:cNvPr>
                  <p:cNvSpPr/>
                  <p:nvPr userDrawn="1"/>
                </p:nvSpPr>
                <p:spPr>
                  <a:xfrm>
                    <a:off x="8227244" y="450636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a:p>
                </p:txBody>
              </p:sp>
              <p:sp>
                <p:nvSpPr>
                  <p:cNvPr id="686" name="Freeform: Shape 685">
                    <a:extLst>
                      <a:ext uri="{FF2B5EF4-FFF2-40B4-BE49-F238E27FC236}">
                        <a16:creationId xmlns:a16="http://schemas.microsoft.com/office/drawing/2014/main" id="{0924933F-7EA3-BF80-A043-D415589B66FC}"/>
                      </a:ext>
                    </a:extLst>
                  </p:cNvPr>
                  <p:cNvSpPr/>
                  <p:nvPr userDrawn="1"/>
                </p:nvSpPr>
                <p:spPr>
                  <a:xfrm>
                    <a:off x="8226870" y="450659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a:p>
                </p:txBody>
              </p:sp>
              <p:sp>
                <p:nvSpPr>
                  <p:cNvPr id="687" name="Freeform: Shape 686">
                    <a:extLst>
                      <a:ext uri="{FF2B5EF4-FFF2-40B4-BE49-F238E27FC236}">
                        <a16:creationId xmlns:a16="http://schemas.microsoft.com/office/drawing/2014/main" id="{CBCC6E50-B74A-3D9F-CCF4-579201008631}"/>
                      </a:ext>
                    </a:extLst>
                  </p:cNvPr>
                  <p:cNvSpPr/>
                  <p:nvPr userDrawn="1"/>
                </p:nvSpPr>
                <p:spPr>
                  <a:xfrm>
                    <a:off x="8226495" y="45068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DE0E9"/>
                  </a:solidFill>
                  <a:ln w="2339" cap="flat">
                    <a:no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FD8B06B4-0F85-0D60-4604-8A3AC41BE8C9}"/>
                      </a:ext>
                    </a:extLst>
                  </p:cNvPr>
                  <p:cNvSpPr/>
                  <p:nvPr userDrawn="1"/>
                </p:nvSpPr>
                <p:spPr>
                  <a:xfrm>
                    <a:off x="8226121" y="45070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a:p>
                </p:txBody>
              </p:sp>
              <p:sp>
                <p:nvSpPr>
                  <p:cNvPr id="689" name="Freeform: Shape 688">
                    <a:extLst>
                      <a:ext uri="{FF2B5EF4-FFF2-40B4-BE49-F238E27FC236}">
                        <a16:creationId xmlns:a16="http://schemas.microsoft.com/office/drawing/2014/main" id="{41CAEBA4-9421-8377-BCE0-4D96F44D3A4B}"/>
                      </a:ext>
                    </a:extLst>
                  </p:cNvPr>
                  <p:cNvSpPr/>
                  <p:nvPr userDrawn="1"/>
                </p:nvSpPr>
                <p:spPr>
                  <a:xfrm>
                    <a:off x="8225746" y="450729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DEE1E9"/>
                  </a:solidFill>
                  <a:ln w="2339" cap="flat">
                    <a:no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116AE617-FE88-5210-4A09-C22C4417B137}"/>
                      </a:ext>
                    </a:extLst>
                  </p:cNvPr>
                  <p:cNvSpPr/>
                  <p:nvPr userDrawn="1"/>
                </p:nvSpPr>
                <p:spPr>
                  <a:xfrm>
                    <a:off x="8225372" y="450755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EE1EA"/>
                  </a:solidFill>
                  <a:ln w="2339" cap="flat">
                    <a:noFill/>
                    <a:prstDash val="solid"/>
                    <a:miter/>
                  </a:ln>
                </p:spPr>
                <p:txBody>
                  <a:bodyPr rtlCol="0" anchor="ctr"/>
                  <a:lstStyle/>
                  <a:p>
                    <a:endParaRPr lang="en-US"/>
                  </a:p>
                </p:txBody>
              </p:sp>
              <p:sp>
                <p:nvSpPr>
                  <p:cNvPr id="691" name="Freeform: Shape 690">
                    <a:extLst>
                      <a:ext uri="{FF2B5EF4-FFF2-40B4-BE49-F238E27FC236}">
                        <a16:creationId xmlns:a16="http://schemas.microsoft.com/office/drawing/2014/main" id="{3F202EBD-EB8E-10EF-C5EF-DCC442136CFA}"/>
                      </a:ext>
                    </a:extLst>
                  </p:cNvPr>
                  <p:cNvSpPr/>
                  <p:nvPr userDrawn="1"/>
                </p:nvSpPr>
                <p:spPr>
                  <a:xfrm>
                    <a:off x="8224998" y="45077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DFE1EA"/>
                  </a:solidFill>
                  <a:ln w="2339" cap="flat">
                    <a:noFill/>
                    <a:prstDash val="solid"/>
                    <a:miter/>
                  </a:ln>
                </p:spPr>
                <p:txBody>
                  <a:bodyPr rtlCol="0" anchor="ctr"/>
                  <a:lstStyle/>
                  <a:p>
                    <a:endParaRPr lang="en-US"/>
                  </a:p>
                </p:txBody>
              </p:sp>
              <p:sp>
                <p:nvSpPr>
                  <p:cNvPr id="692" name="Freeform: Shape 691">
                    <a:extLst>
                      <a:ext uri="{FF2B5EF4-FFF2-40B4-BE49-F238E27FC236}">
                        <a16:creationId xmlns:a16="http://schemas.microsoft.com/office/drawing/2014/main" id="{6572F741-834E-451B-6CB8-161A6FC8D0E8}"/>
                      </a:ext>
                    </a:extLst>
                  </p:cNvPr>
                  <p:cNvSpPr/>
                  <p:nvPr userDrawn="1"/>
                </p:nvSpPr>
                <p:spPr>
                  <a:xfrm>
                    <a:off x="8224647" y="45080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a:p>
                </p:txBody>
              </p:sp>
              <p:sp>
                <p:nvSpPr>
                  <p:cNvPr id="693" name="Freeform: Shape 692">
                    <a:extLst>
                      <a:ext uri="{FF2B5EF4-FFF2-40B4-BE49-F238E27FC236}">
                        <a16:creationId xmlns:a16="http://schemas.microsoft.com/office/drawing/2014/main" id="{27C7F04F-3A8F-ADF6-D5E1-889FAB9D7A3D}"/>
                      </a:ext>
                    </a:extLst>
                  </p:cNvPr>
                  <p:cNvSpPr/>
                  <p:nvPr userDrawn="1"/>
                </p:nvSpPr>
                <p:spPr>
                  <a:xfrm>
                    <a:off x="8224272" y="450825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DFE2EA"/>
                  </a:solidFill>
                  <a:ln w="2339" cap="flat">
                    <a:no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B71129C5-47E8-0FBC-FC82-0E8CAD006A9D}"/>
                      </a:ext>
                    </a:extLst>
                  </p:cNvPr>
                  <p:cNvSpPr/>
                  <p:nvPr userDrawn="1"/>
                </p:nvSpPr>
                <p:spPr>
                  <a:xfrm>
                    <a:off x="8223921" y="4508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DFE2EA"/>
                  </a:solidFill>
                  <a:ln w="2339" cap="flat">
                    <a:no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1DC50917-144B-0C07-43A1-006A999881AD}"/>
                      </a:ext>
                    </a:extLst>
                  </p:cNvPr>
                  <p:cNvSpPr/>
                  <p:nvPr userDrawn="1"/>
                </p:nvSpPr>
                <p:spPr>
                  <a:xfrm>
                    <a:off x="8223570" y="450874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0E3EB"/>
                  </a:solidFill>
                  <a:ln w="2339" cap="flat">
                    <a:no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B73FEF94-4ED6-3CE4-6156-9690CEAF3A9E}"/>
                      </a:ext>
                    </a:extLst>
                  </p:cNvPr>
                  <p:cNvSpPr/>
                  <p:nvPr userDrawn="1"/>
                </p:nvSpPr>
                <p:spPr>
                  <a:xfrm>
                    <a:off x="8223196" y="450898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0E3EB"/>
                  </a:solidFill>
                  <a:ln w="2339" cap="flat">
                    <a:noFill/>
                    <a:prstDash val="solid"/>
                    <a:miter/>
                  </a:ln>
                </p:spPr>
                <p:txBody>
                  <a:bodyPr rtlCol="0" anchor="ctr"/>
                  <a:lstStyle/>
                  <a:p>
                    <a:endParaRPr lang="en-US"/>
                  </a:p>
                </p:txBody>
              </p:sp>
              <p:sp>
                <p:nvSpPr>
                  <p:cNvPr id="697" name="Freeform: Shape 696">
                    <a:extLst>
                      <a:ext uri="{FF2B5EF4-FFF2-40B4-BE49-F238E27FC236}">
                        <a16:creationId xmlns:a16="http://schemas.microsoft.com/office/drawing/2014/main" id="{724C5B1E-D5FD-0CED-4B92-77753B01463C}"/>
                      </a:ext>
                    </a:extLst>
                  </p:cNvPr>
                  <p:cNvSpPr/>
                  <p:nvPr userDrawn="1"/>
                </p:nvSpPr>
                <p:spPr>
                  <a:xfrm>
                    <a:off x="8222845" y="450923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0E3EB"/>
                  </a:solidFill>
                  <a:ln w="2339" cap="flat">
                    <a:noFill/>
                    <a:prstDash val="solid"/>
                    <a:miter/>
                  </a:ln>
                </p:spPr>
                <p:txBody>
                  <a:bodyPr rtlCol="0" anchor="ctr"/>
                  <a:lstStyle/>
                  <a:p>
                    <a:endParaRPr lang="en-US"/>
                  </a:p>
                </p:txBody>
              </p:sp>
              <p:sp>
                <p:nvSpPr>
                  <p:cNvPr id="698" name="Freeform: Shape 697">
                    <a:extLst>
                      <a:ext uri="{FF2B5EF4-FFF2-40B4-BE49-F238E27FC236}">
                        <a16:creationId xmlns:a16="http://schemas.microsoft.com/office/drawing/2014/main" id="{D6685779-9E1E-4013-8EDD-671D4B1450B2}"/>
                      </a:ext>
                    </a:extLst>
                  </p:cNvPr>
                  <p:cNvSpPr/>
                  <p:nvPr userDrawn="1"/>
                </p:nvSpPr>
                <p:spPr>
                  <a:xfrm>
                    <a:off x="8222494" y="450947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1E3EB"/>
                  </a:solidFill>
                  <a:ln w="2339" cap="flat">
                    <a:noFill/>
                    <a:prstDash val="solid"/>
                    <a:miter/>
                  </a:ln>
                </p:spPr>
                <p:txBody>
                  <a:bodyPr rtlCol="0" anchor="ctr"/>
                  <a:lstStyle/>
                  <a:p>
                    <a:endParaRPr lang="en-US"/>
                  </a:p>
                </p:txBody>
              </p:sp>
              <p:sp>
                <p:nvSpPr>
                  <p:cNvPr id="699" name="Freeform: Shape 698">
                    <a:extLst>
                      <a:ext uri="{FF2B5EF4-FFF2-40B4-BE49-F238E27FC236}">
                        <a16:creationId xmlns:a16="http://schemas.microsoft.com/office/drawing/2014/main" id="{BA0C2D05-8F1E-BFB6-1481-E55EFFE221A9}"/>
                      </a:ext>
                    </a:extLst>
                  </p:cNvPr>
                  <p:cNvSpPr/>
                  <p:nvPr userDrawn="1"/>
                </p:nvSpPr>
                <p:spPr>
                  <a:xfrm>
                    <a:off x="8222166" y="45097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1E4EB"/>
                  </a:solidFill>
                  <a:ln w="2339" cap="flat">
                    <a:noFill/>
                    <a:prstDash val="solid"/>
                    <a:miter/>
                  </a:ln>
                </p:spPr>
                <p:txBody>
                  <a:bodyPr rtlCol="0" anchor="ctr"/>
                  <a:lstStyle/>
                  <a:p>
                    <a:endParaRPr lang="en-US"/>
                  </a:p>
                </p:txBody>
              </p:sp>
              <p:sp>
                <p:nvSpPr>
                  <p:cNvPr id="700" name="Freeform: Shape 699">
                    <a:extLst>
                      <a:ext uri="{FF2B5EF4-FFF2-40B4-BE49-F238E27FC236}">
                        <a16:creationId xmlns:a16="http://schemas.microsoft.com/office/drawing/2014/main" id="{6C93E986-EDD7-D80E-717C-FFE75461BF78}"/>
                      </a:ext>
                    </a:extLst>
                  </p:cNvPr>
                  <p:cNvSpPr/>
                  <p:nvPr userDrawn="1"/>
                </p:nvSpPr>
                <p:spPr>
                  <a:xfrm>
                    <a:off x="8221815" y="45099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54"/>
                          <a:pt x="42097" y="21060"/>
                        </a:cubicBezTo>
                        <a:close/>
                      </a:path>
                    </a:pathLst>
                  </a:custGeom>
                  <a:solidFill>
                    <a:srgbClr val="E1E4EC"/>
                  </a:solidFill>
                  <a:ln w="2339" cap="flat">
                    <a:noFill/>
                    <a:prstDash val="solid"/>
                    <a:miter/>
                  </a:ln>
                </p:spPr>
                <p:txBody>
                  <a:bodyPr rtlCol="0" anchor="ctr"/>
                  <a:lstStyle/>
                  <a:p>
                    <a:endParaRPr lang="en-US"/>
                  </a:p>
                </p:txBody>
              </p:sp>
              <p:sp>
                <p:nvSpPr>
                  <p:cNvPr id="701" name="Freeform: Shape 700">
                    <a:extLst>
                      <a:ext uri="{FF2B5EF4-FFF2-40B4-BE49-F238E27FC236}">
                        <a16:creationId xmlns:a16="http://schemas.microsoft.com/office/drawing/2014/main" id="{AC67D884-0C00-45C8-350A-9BC81D1166B0}"/>
                      </a:ext>
                    </a:extLst>
                  </p:cNvPr>
                  <p:cNvSpPr/>
                  <p:nvPr userDrawn="1"/>
                </p:nvSpPr>
                <p:spPr>
                  <a:xfrm>
                    <a:off x="8221464" y="451022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2E4EC"/>
                  </a:solidFill>
                  <a:ln w="2339" cap="flat">
                    <a:noFill/>
                    <a:prstDash val="solid"/>
                    <a:miter/>
                  </a:ln>
                </p:spPr>
                <p:txBody>
                  <a:bodyPr rtlCol="0" anchor="ctr"/>
                  <a:lstStyle/>
                  <a:p>
                    <a:endParaRPr lang="en-US"/>
                  </a:p>
                </p:txBody>
              </p:sp>
              <p:sp>
                <p:nvSpPr>
                  <p:cNvPr id="702" name="Freeform: Shape 701">
                    <a:extLst>
                      <a:ext uri="{FF2B5EF4-FFF2-40B4-BE49-F238E27FC236}">
                        <a16:creationId xmlns:a16="http://schemas.microsoft.com/office/drawing/2014/main" id="{257F51C0-BB05-5C03-215A-65DBF1A5C9E2}"/>
                      </a:ext>
                    </a:extLst>
                  </p:cNvPr>
                  <p:cNvSpPr/>
                  <p:nvPr userDrawn="1"/>
                </p:nvSpPr>
                <p:spPr>
                  <a:xfrm>
                    <a:off x="8221113" y="451047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2E5EC"/>
                  </a:solidFill>
                  <a:ln w="2339" cap="flat">
                    <a:noFill/>
                    <a:prstDash val="solid"/>
                    <a:miter/>
                  </a:ln>
                </p:spPr>
                <p:txBody>
                  <a:bodyPr rtlCol="0" anchor="ctr"/>
                  <a:lstStyle/>
                  <a:p>
                    <a:endParaRPr lang="en-US"/>
                  </a:p>
                </p:txBody>
              </p:sp>
              <p:sp>
                <p:nvSpPr>
                  <p:cNvPr id="703" name="Freeform: Shape 702">
                    <a:extLst>
                      <a:ext uri="{FF2B5EF4-FFF2-40B4-BE49-F238E27FC236}">
                        <a16:creationId xmlns:a16="http://schemas.microsoft.com/office/drawing/2014/main" id="{9B6805BA-DDC1-23DF-84B7-0C44E8A941BF}"/>
                      </a:ext>
                    </a:extLst>
                  </p:cNvPr>
                  <p:cNvSpPr/>
                  <p:nvPr userDrawn="1"/>
                </p:nvSpPr>
                <p:spPr>
                  <a:xfrm>
                    <a:off x="8220786" y="45107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2E5EC"/>
                  </a:solidFill>
                  <a:ln w="2339" cap="flat">
                    <a:noFill/>
                    <a:prstDash val="solid"/>
                    <a:miter/>
                  </a:ln>
                </p:spPr>
                <p:txBody>
                  <a:bodyPr rtlCol="0" anchor="ctr"/>
                  <a:lstStyle/>
                  <a:p>
                    <a:endParaRPr lang="en-US"/>
                  </a:p>
                </p:txBody>
              </p:sp>
              <p:sp>
                <p:nvSpPr>
                  <p:cNvPr id="704" name="Freeform: Shape 703">
                    <a:extLst>
                      <a:ext uri="{FF2B5EF4-FFF2-40B4-BE49-F238E27FC236}">
                        <a16:creationId xmlns:a16="http://schemas.microsoft.com/office/drawing/2014/main" id="{09A91D92-DFAF-D550-B303-652B00A8D7C3}"/>
                      </a:ext>
                    </a:extLst>
                  </p:cNvPr>
                  <p:cNvSpPr/>
                  <p:nvPr userDrawn="1"/>
                </p:nvSpPr>
                <p:spPr>
                  <a:xfrm>
                    <a:off x="8220458" y="45109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3E5EC"/>
                  </a:solidFill>
                  <a:ln w="2339" cap="flat">
                    <a:noFill/>
                    <a:prstDash val="solid"/>
                    <a:miter/>
                  </a:ln>
                </p:spPr>
                <p:txBody>
                  <a:bodyPr rtlCol="0" anchor="ctr"/>
                  <a:lstStyle/>
                  <a:p>
                    <a:endParaRPr lang="en-US"/>
                  </a:p>
                </p:txBody>
              </p:sp>
              <p:sp>
                <p:nvSpPr>
                  <p:cNvPr id="705" name="Freeform: Shape 704">
                    <a:extLst>
                      <a:ext uri="{FF2B5EF4-FFF2-40B4-BE49-F238E27FC236}">
                        <a16:creationId xmlns:a16="http://schemas.microsoft.com/office/drawing/2014/main" id="{42D678D0-BDB0-F2C6-0345-0E4615C1FA27}"/>
                      </a:ext>
                    </a:extLst>
                  </p:cNvPr>
                  <p:cNvSpPr/>
                  <p:nvPr userDrawn="1"/>
                </p:nvSpPr>
                <p:spPr>
                  <a:xfrm>
                    <a:off x="8220107" y="451122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3E5ED"/>
                  </a:solidFill>
                  <a:ln w="2339" cap="flat">
                    <a:noFill/>
                    <a:prstDash val="solid"/>
                    <a:miter/>
                  </a:ln>
                </p:spPr>
                <p:txBody>
                  <a:bodyPr rtlCol="0" anchor="ctr"/>
                  <a:lstStyle/>
                  <a:p>
                    <a:endParaRPr lang="en-US"/>
                  </a:p>
                </p:txBody>
              </p:sp>
              <p:sp>
                <p:nvSpPr>
                  <p:cNvPr id="706" name="Freeform: Shape 705">
                    <a:extLst>
                      <a:ext uri="{FF2B5EF4-FFF2-40B4-BE49-F238E27FC236}">
                        <a16:creationId xmlns:a16="http://schemas.microsoft.com/office/drawing/2014/main" id="{384351D3-3FFE-7D65-ECA0-E74BA75A924C}"/>
                      </a:ext>
                    </a:extLst>
                  </p:cNvPr>
                  <p:cNvSpPr/>
                  <p:nvPr userDrawn="1"/>
                </p:nvSpPr>
                <p:spPr>
                  <a:xfrm>
                    <a:off x="8219779" y="451146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3E6ED"/>
                  </a:solidFill>
                  <a:ln w="2339" cap="flat">
                    <a:noFill/>
                    <a:prstDash val="solid"/>
                    <a:miter/>
                  </a:ln>
                </p:spPr>
                <p:txBody>
                  <a:bodyPr rtlCol="0" anchor="ctr"/>
                  <a:lstStyle/>
                  <a:p>
                    <a:endParaRPr lang="en-US"/>
                  </a:p>
                </p:txBody>
              </p:sp>
              <p:sp>
                <p:nvSpPr>
                  <p:cNvPr id="707" name="Freeform: Shape 706">
                    <a:extLst>
                      <a:ext uri="{FF2B5EF4-FFF2-40B4-BE49-F238E27FC236}">
                        <a16:creationId xmlns:a16="http://schemas.microsoft.com/office/drawing/2014/main" id="{F81BD2D1-6965-A2D6-6BDB-9E88DA802E09}"/>
                      </a:ext>
                    </a:extLst>
                  </p:cNvPr>
                  <p:cNvSpPr/>
                  <p:nvPr userDrawn="1"/>
                </p:nvSpPr>
                <p:spPr>
                  <a:xfrm>
                    <a:off x="8219452" y="451171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3E6ED"/>
                  </a:solidFill>
                  <a:ln w="2339" cap="flat">
                    <a:noFill/>
                    <a:prstDash val="solid"/>
                    <a:miter/>
                  </a:ln>
                </p:spPr>
                <p:txBody>
                  <a:bodyPr rtlCol="0" anchor="ctr"/>
                  <a:lstStyle/>
                  <a:p>
                    <a:endParaRPr lang="en-US"/>
                  </a:p>
                </p:txBody>
              </p:sp>
              <p:sp>
                <p:nvSpPr>
                  <p:cNvPr id="708" name="Freeform: Shape 707">
                    <a:extLst>
                      <a:ext uri="{FF2B5EF4-FFF2-40B4-BE49-F238E27FC236}">
                        <a16:creationId xmlns:a16="http://schemas.microsoft.com/office/drawing/2014/main" id="{20056DDD-6C1D-9C75-94D7-B430F8DC85F8}"/>
                      </a:ext>
                    </a:extLst>
                  </p:cNvPr>
                  <p:cNvSpPr/>
                  <p:nvPr userDrawn="1"/>
                </p:nvSpPr>
                <p:spPr>
                  <a:xfrm>
                    <a:off x="8219124" y="451197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a:p>
                </p:txBody>
              </p:sp>
              <p:sp>
                <p:nvSpPr>
                  <p:cNvPr id="709" name="Freeform: Shape 708">
                    <a:extLst>
                      <a:ext uri="{FF2B5EF4-FFF2-40B4-BE49-F238E27FC236}">
                        <a16:creationId xmlns:a16="http://schemas.microsoft.com/office/drawing/2014/main" id="{BE9F9AB2-79C0-9381-5B4D-36A55CB05AB5}"/>
                      </a:ext>
                    </a:extLst>
                  </p:cNvPr>
                  <p:cNvSpPr/>
                  <p:nvPr userDrawn="1"/>
                </p:nvSpPr>
                <p:spPr>
                  <a:xfrm>
                    <a:off x="8218797" y="45122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4E6ED"/>
                  </a:solidFill>
                  <a:ln w="2339" cap="flat">
                    <a:noFill/>
                    <a:prstDash val="solid"/>
                    <a:miter/>
                  </a:ln>
                </p:spPr>
                <p:txBody>
                  <a:bodyPr rtlCol="0" anchor="ctr"/>
                  <a:lstStyle/>
                  <a:p>
                    <a:endParaRPr lang="en-US"/>
                  </a:p>
                </p:txBody>
              </p:sp>
              <p:sp>
                <p:nvSpPr>
                  <p:cNvPr id="710" name="Freeform: Shape 709">
                    <a:extLst>
                      <a:ext uri="{FF2B5EF4-FFF2-40B4-BE49-F238E27FC236}">
                        <a16:creationId xmlns:a16="http://schemas.microsoft.com/office/drawing/2014/main" id="{9D7D7694-D1F6-4403-E681-3C20BA9CE0D4}"/>
                      </a:ext>
                    </a:extLst>
                  </p:cNvPr>
                  <p:cNvSpPr/>
                  <p:nvPr userDrawn="1"/>
                </p:nvSpPr>
                <p:spPr>
                  <a:xfrm>
                    <a:off x="8218492" y="45124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4E7EE"/>
                  </a:solidFill>
                  <a:ln w="2339" cap="flat">
                    <a:noFill/>
                    <a:prstDash val="solid"/>
                    <a:miter/>
                  </a:ln>
                </p:spPr>
                <p:txBody>
                  <a:bodyPr rtlCol="0" anchor="ctr"/>
                  <a:lstStyle/>
                  <a:p>
                    <a:endParaRPr lang="en-US"/>
                  </a:p>
                </p:txBody>
              </p:sp>
              <p:sp>
                <p:nvSpPr>
                  <p:cNvPr id="711" name="Freeform: Shape 710">
                    <a:extLst>
                      <a:ext uri="{FF2B5EF4-FFF2-40B4-BE49-F238E27FC236}">
                        <a16:creationId xmlns:a16="http://schemas.microsoft.com/office/drawing/2014/main" id="{9B5CDE67-028B-180A-0713-8FB8841516C2}"/>
                      </a:ext>
                    </a:extLst>
                  </p:cNvPr>
                  <p:cNvSpPr/>
                  <p:nvPr userDrawn="1"/>
                </p:nvSpPr>
                <p:spPr>
                  <a:xfrm>
                    <a:off x="8218165" y="45127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7EE"/>
                  </a:solidFill>
                  <a:ln w="2339" cap="flat">
                    <a:noFill/>
                    <a:prstDash val="solid"/>
                    <a:miter/>
                  </a:ln>
                </p:spPr>
                <p:txBody>
                  <a:bodyPr rtlCol="0" anchor="ctr"/>
                  <a:lstStyle/>
                  <a:p>
                    <a:endParaRPr lang="en-US"/>
                  </a:p>
                </p:txBody>
              </p:sp>
              <p:sp>
                <p:nvSpPr>
                  <p:cNvPr id="712" name="Freeform: Shape 711">
                    <a:extLst>
                      <a:ext uri="{FF2B5EF4-FFF2-40B4-BE49-F238E27FC236}">
                        <a16:creationId xmlns:a16="http://schemas.microsoft.com/office/drawing/2014/main" id="{D71D966A-88E9-8084-3FE9-BCEECA04A69C}"/>
                      </a:ext>
                    </a:extLst>
                  </p:cNvPr>
                  <p:cNvSpPr/>
                  <p:nvPr userDrawn="1"/>
                </p:nvSpPr>
                <p:spPr>
                  <a:xfrm>
                    <a:off x="8217837" y="451300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5E7EE"/>
                  </a:solidFill>
                  <a:ln w="2339" cap="flat">
                    <a:noFill/>
                    <a:prstDash val="solid"/>
                    <a:miter/>
                  </a:ln>
                </p:spPr>
                <p:txBody>
                  <a:bodyPr rtlCol="0" anchor="ctr"/>
                  <a:lstStyle/>
                  <a:p>
                    <a:endParaRPr lang="en-US"/>
                  </a:p>
                </p:txBody>
              </p:sp>
              <p:sp>
                <p:nvSpPr>
                  <p:cNvPr id="713" name="Freeform: Shape 712">
                    <a:extLst>
                      <a:ext uri="{FF2B5EF4-FFF2-40B4-BE49-F238E27FC236}">
                        <a16:creationId xmlns:a16="http://schemas.microsoft.com/office/drawing/2014/main" id="{6B039D51-53B1-6EF9-287A-F2F0FE47F4F4}"/>
                      </a:ext>
                    </a:extLst>
                  </p:cNvPr>
                  <p:cNvSpPr/>
                  <p:nvPr userDrawn="1"/>
                </p:nvSpPr>
                <p:spPr>
                  <a:xfrm>
                    <a:off x="8217533" y="451326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5E8EE"/>
                  </a:solidFill>
                  <a:ln w="2339" cap="flat">
                    <a:noFill/>
                    <a:prstDash val="solid"/>
                    <a:miter/>
                  </a:ln>
                </p:spPr>
                <p:txBody>
                  <a:bodyPr rtlCol="0" anchor="ctr"/>
                  <a:lstStyle/>
                  <a:p>
                    <a:endParaRPr lang="en-US"/>
                  </a:p>
                </p:txBody>
              </p:sp>
              <p:sp>
                <p:nvSpPr>
                  <p:cNvPr id="714" name="Freeform: Shape 713">
                    <a:extLst>
                      <a:ext uri="{FF2B5EF4-FFF2-40B4-BE49-F238E27FC236}">
                        <a16:creationId xmlns:a16="http://schemas.microsoft.com/office/drawing/2014/main" id="{AD3558CE-EC06-B6BB-5A0B-666C3860D4BC}"/>
                      </a:ext>
                    </a:extLst>
                  </p:cNvPr>
                  <p:cNvSpPr/>
                  <p:nvPr userDrawn="1"/>
                </p:nvSpPr>
                <p:spPr>
                  <a:xfrm>
                    <a:off x="8217112" y="451359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6E8EE"/>
                  </a:solidFill>
                  <a:ln w="2339" cap="flat">
                    <a:noFill/>
                    <a:prstDash val="solid"/>
                    <a:miter/>
                  </a:ln>
                </p:spPr>
                <p:txBody>
                  <a:bodyPr rtlCol="0" anchor="ctr"/>
                  <a:lstStyle/>
                  <a:p>
                    <a:endParaRPr lang="en-US"/>
                  </a:p>
                </p:txBody>
              </p:sp>
              <p:sp>
                <p:nvSpPr>
                  <p:cNvPr id="715" name="Freeform: Shape 714">
                    <a:extLst>
                      <a:ext uri="{FF2B5EF4-FFF2-40B4-BE49-F238E27FC236}">
                        <a16:creationId xmlns:a16="http://schemas.microsoft.com/office/drawing/2014/main" id="{05A13242-A1B4-7FAA-3A78-C5DF470A9DB9}"/>
                      </a:ext>
                    </a:extLst>
                  </p:cNvPr>
                  <p:cNvSpPr/>
                  <p:nvPr userDrawn="1"/>
                </p:nvSpPr>
                <p:spPr>
                  <a:xfrm>
                    <a:off x="8216620" y="451401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6E8EF"/>
                  </a:solidFill>
                  <a:ln w="2339" cap="flat">
                    <a:noFill/>
                    <a:prstDash val="solid"/>
                    <a:miter/>
                  </a:ln>
                </p:spPr>
                <p:txBody>
                  <a:bodyPr rtlCol="0" anchor="ctr"/>
                  <a:lstStyle/>
                  <a:p>
                    <a:endParaRPr lang="en-US"/>
                  </a:p>
                </p:txBody>
              </p:sp>
              <p:sp>
                <p:nvSpPr>
                  <p:cNvPr id="716" name="Freeform: Shape 715">
                    <a:extLst>
                      <a:ext uri="{FF2B5EF4-FFF2-40B4-BE49-F238E27FC236}">
                        <a16:creationId xmlns:a16="http://schemas.microsoft.com/office/drawing/2014/main" id="{B6DF12CB-A161-45E5-CC24-59BAF90E1363}"/>
                      </a:ext>
                    </a:extLst>
                  </p:cNvPr>
                  <p:cNvSpPr/>
                  <p:nvPr userDrawn="1"/>
                </p:nvSpPr>
                <p:spPr>
                  <a:xfrm>
                    <a:off x="8216152" y="451441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6E8EF"/>
                  </a:solidFill>
                  <a:ln w="2339" cap="flat">
                    <a:noFill/>
                    <a:prstDash val="solid"/>
                    <a:miter/>
                  </a:ln>
                </p:spPr>
                <p:txBody>
                  <a:bodyPr rtlCol="0" anchor="ctr"/>
                  <a:lstStyle/>
                  <a:p>
                    <a:endParaRPr lang="en-US"/>
                  </a:p>
                </p:txBody>
              </p:sp>
              <p:sp>
                <p:nvSpPr>
                  <p:cNvPr id="717" name="Freeform: Shape 716">
                    <a:extLst>
                      <a:ext uri="{FF2B5EF4-FFF2-40B4-BE49-F238E27FC236}">
                        <a16:creationId xmlns:a16="http://schemas.microsoft.com/office/drawing/2014/main" id="{3CF734BA-B7F8-C318-1BED-CB5E42C4EFA9}"/>
                      </a:ext>
                    </a:extLst>
                  </p:cNvPr>
                  <p:cNvSpPr/>
                  <p:nvPr userDrawn="1"/>
                </p:nvSpPr>
                <p:spPr>
                  <a:xfrm>
                    <a:off x="8215684" y="451480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7E9EF"/>
                  </a:solidFill>
                  <a:ln w="2339" cap="flat">
                    <a:noFill/>
                    <a:prstDash val="solid"/>
                    <a:miter/>
                  </a:ln>
                </p:spPr>
                <p:txBody>
                  <a:bodyPr rtlCol="0" anchor="ctr"/>
                  <a:lstStyle/>
                  <a:p>
                    <a:endParaRPr lang="en-US"/>
                  </a:p>
                </p:txBody>
              </p:sp>
              <p:sp>
                <p:nvSpPr>
                  <p:cNvPr id="718" name="Freeform: Shape 717">
                    <a:extLst>
                      <a:ext uri="{FF2B5EF4-FFF2-40B4-BE49-F238E27FC236}">
                        <a16:creationId xmlns:a16="http://schemas.microsoft.com/office/drawing/2014/main" id="{5B2500D6-6E29-D596-39B8-207ED88FD786}"/>
                      </a:ext>
                    </a:extLst>
                  </p:cNvPr>
                  <p:cNvSpPr/>
                  <p:nvPr userDrawn="1"/>
                </p:nvSpPr>
                <p:spPr>
                  <a:xfrm>
                    <a:off x="8215193" y="4515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7E9EF"/>
                  </a:solidFill>
                  <a:ln w="2339" cap="flat">
                    <a:noFill/>
                    <a:prstDash val="solid"/>
                    <a:miter/>
                  </a:ln>
                </p:spPr>
                <p:txBody>
                  <a:bodyPr rtlCol="0" anchor="ctr"/>
                  <a:lstStyle/>
                  <a:p>
                    <a:endParaRPr lang="en-US"/>
                  </a:p>
                </p:txBody>
              </p:sp>
              <p:sp>
                <p:nvSpPr>
                  <p:cNvPr id="719" name="Freeform: Shape 718">
                    <a:extLst>
                      <a:ext uri="{FF2B5EF4-FFF2-40B4-BE49-F238E27FC236}">
                        <a16:creationId xmlns:a16="http://schemas.microsoft.com/office/drawing/2014/main" id="{2C81E99E-1A51-F229-0C45-A638E18308E4}"/>
                      </a:ext>
                    </a:extLst>
                  </p:cNvPr>
                  <p:cNvSpPr/>
                  <p:nvPr userDrawn="1"/>
                </p:nvSpPr>
                <p:spPr>
                  <a:xfrm>
                    <a:off x="8214725" y="451562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7E9EF"/>
                  </a:solidFill>
                  <a:ln w="2339" cap="flat">
                    <a:noFill/>
                    <a:prstDash val="solid"/>
                    <a:miter/>
                  </a:ln>
                </p:spPr>
                <p:txBody>
                  <a:bodyPr rtlCol="0" anchor="ctr"/>
                  <a:lstStyle/>
                  <a:p>
                    <a:endParaRPr lang="en-US"/>
                  </a:p>
                </p:txBody>
              </p:sp>
              <p:sp>
                <p:nvSpPr>
                  <p:cNvPr id="720" name="Freeform: Shape 719">
                    <a:extLst>
                      <a:ext uri="{FF2B5EF4-FFF2-40B4-BE49-F238E27FC236}">
                        <a16:creationId xmlns:a16="http://schemas.microsoft.com/office/drawing/2014/main" id="{530440E6-BA60-13D8-753A-0961975F099F}"/>
                      </a:ext>
                    </a:extLst>
                  </p:cNvPr>
                  <p:cNvSpPr/>
                  <p:nvPr userDrawn="1"/>
                </p:nvSpPr>
                <p:spPr>
                  <a:xfrm>
                    <a:off x="8214280" y="45160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7EAF0"/>
                  </a:solidFill>
                  <a:ln w="2339" cap="flat">
                    <a:noFill/>
                    <a:prstDash val="solid"/>
                    <a:miter/>
                  </a:ln>
                </p:spPr>
                <p:txBody>
                  <a:bodyPr rtlCol="0" anchor="ctr"/>
                  <a:lstStyle/>
                  <a:p>
                    <a:endParaRPr lang="en-US"/>
                  </a:p>
                </p:txBody>
              </p:sp>
              <p:sp>
                <p:nvSpPr>
                  <p:cNvPr id="721" name="Freeform: Shape 720">
                    <a:extLst>
                      <a:ext uri="{FF2B5EF4-FFF2-40B4-BE49-F238E27FC236}">
                        <a16:creationId xmlns:a16="http://schemas.microsoft.com/office/drawing/2014/main" id="{0123F08A-C621-3F23-46BA-C7CF6689B775}"/>
                      </a:ext>
                    </a:extLst>
                  </p:cNvPr>
                  <p:cNvSpPr/>
                  <p:nvPr userDrawn="1"/>
                </p:nvSpPr>
                <p:spPr>
                  <a:xfrm>
                    <a:off x="8213812" y="45164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8EAF0"/>
                  </a:solidFill>
                  <a:ln w="2339" cap="flat">
                    <a:noFill/>
                    <a:prstDash val="solid"/>
                    <a:miter/>
                  </a:ln>
                </p:spPr>
                <p:txBody>
                  <a:bodyPr rtlCol="0" anchor="ctr"/>
                  <a:lstStyle/>
                  <a:p>
                    <a:endParaRPr lang="en-US"/>
                  </a:p>
                </p:txBody>
              </p:sp>
              <p:sp>
                <p:nvSpPr>
                  <p:cNvPr id="722" name="Freeform: Shape 721">
                    <a:extLst>
                      <a:ext uri="{FF2B5EF4-FFF2-40B4-BE49-F238E27FC236}">
                        <a16:creationId xmlns:a16="http://schemas.microsoft.com/office/drawing/2014/main" id="{ECE64344-7315-EF3B-D964-D5553E0C82D8}"/>
                      </a:ext>
                    </a:extLst>
                  </p:cNvPr>
                  <p:cNvSpPr/>
                  <p:nvPr userDrawn="1"/>
                </p:nvSpPr>
                <p:spPr>
                  <a:xfrm>
                    <a:off x="8213368" y="45168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a:p>
                </p:txBody>
              </p:sp>
              <p:sp>
                <p:nvSpPr>
                  <p:cNvPr id="723" name="Freeform: Shape 722">
                    <a:extLst>
                      <a:ext uri="{FF2B5EF4-FFF2-40B4-BE49-F238E27FC236}">
                        <a16:creationId xmlns:a16="http://schemas.microsoft.com/office/drawing/2014/main" id="{8DD7F0DC-8E6C-F0A9-A256-AD96FE461221}"/>
                      </a:ext>
                    </a:extLst>
                  </p:cNvPr>
                  <p:cNvSpPr/>
                  <p:nvPr userDrawn="1"/>
                </p:nvSpPr>
                <p:spPr>
                  <a:xfrm>
                    <a:off x="8212923" y="45172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8EAF0"/>
                  </a:solidFill>
                  <a:ln w="2339" cap="flat">
                    <a:noFill/>
                    <a:prstDash val="solid"/>
                    <a:miter/>
                  </a:ln>
                </p:spPr>
                <p:txBody>
                  <a:bodyPr rtlCol="0" anchor="ctr"/>
                  <a:lstStyle/>
                  <a:p>
                    <a:endParaRPr lang="en-US"/>
                  </a:p>
                </p:txBody>
              </p:sp>
              <p:sp>
                <p:nvSpPr>
                  <p:cNvPr id="724" name="Freeform: Shape 723">
                    <a:extLst>
                      <a:ext uri="{FF2B5EF4-FFF2-40B4-BE49-F238E27FC236}">
                        <a16:creationId xmlns:a16="http://schemas.microsoft.com/office/drawing/2014/main" id="{02799B33-F3B7-DB87-CD26-8F9E67AFA7B1}"/>
                      </a:ext>
                    </a:extLst>
                  </p:cNvPr>
                  <p:cNvSpPr/>
                  <p:nvPr userDrawn="1"/>
                </p:nvSpPr>
                <p:spPr>
                  <a:xfrm>
                    <a:off x="8212478" y="45176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9EBF0"/>
                  </a:solidFill>
                  <a:ln w="2339" cap="flat">
                    <a:noFill/>
                    <a:prstDash val="solid"/>
                    <a:miter/>
                  </a:ln>
                </p:spPr>
                <p:txBody>
                  <a:bodyPr rtlCol="0" anchor="ctr"/>
                  <a:lstStyle/>
                  <a:p>
                    <a:endParaRPr lang="en-US"/>
                  </a:p>
                </p:txBody>
              </p:sp>
              <p:sp>
                <p:nvSpPr>
                  <p:cNvPr id="725" name="Freeform: Shape 724">
                    <a:extLst>
                      <a:ext uri="{FF2B5EF4-FFF2-40B4-BE49-F238E27FC236}">
                        <a16:creationId xmlns:a16="http://schemas.microsoft.com/office/drawing/2014/main" id="{AA391193-096F-D02B-BF81-A55EAEA88B73}"/>
                      </a:ext>
                    </a:extLst>
                  </p:cNvPr>
                  <p:cNvSpPr/>
                  <p:nvPr userDrawn="1"/>
                </p:nvSpPr>
                <p:spPr>
                  <a:xfrm>
                    <a:off x="8212057" y="45181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9EBF1"/>
                  </a:solidFill>
                  <a:ln w="2339" cap="flat">
                    <a:noFill/>
                    <a:prstDash val="solid"/>
                    <a:miter/>
                  </a:ln>
                </p:spPr>
                <p:txBody>
                  <a:bodyPr rtlCol="0" anchor="ctr"/>
                  <a:lstStyle/>
                  <a:p>
                    <a:endParaRPr lang="en-US"/>
                  </a:p>
                </p:txBody>
              </p:sp>
              <p:sp>
                <p:nvSpPr>
                  <p:cNvPr id="726" name="Freeform: Shape 725">
                    <a:extLst>
                      <a:ext uri="{FF2B5EF4-FFF2-40B4-BE49-F238E27FC236}">
                        <a16:creationId xmlns:a16="http://schemas.microsoft.com/office/drawing/2014/main" id="{B4EE2041-9F77-F493-89A4-620EDEB72431}"/>
                      </a:ext>
                    </a:extLst>
                  </p:cNvPr>
                  <p:cNvSpPr/>
                  <p:nvPr userDrawn="1"/>
                </p:nvSpPr>
                <p:spPr>
                  <a:xfrm>
                    <a:off x="8211613" y="45185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9EBF1"/>
                  </a:solidFill>
                  <a:ln w="2339" cap="flat">
                    <a:noFill/>
                    <a:prstDash val="solid"/>
                    <a:miter/>
                  </a:ln>
                </p:spPr>
                <p:txBody>
                  <a:bodyPr rtlCol="0" anchor="ctr"/>
                  <a:lstStyle/>
                  <a:p>
                    <a:endParaRPr lang="en-US"/>
                  </a:p>
                </p:txBody>
              </p:sp>
              <p:sp>
                <p:nvSpPr>
                  <p:cNvPr id="727" name="Freeform: Shape 726">
                    <a:extLst>
                      <a:ext uri="{FF2B5EF4-FFF2-40B4-BE49-F238E27FC236}">
                        <a16:creationId xmlns:a16="http://schemas.microsoft.com/office/drawing/2014/main" id="{37B18D5B-6B0A-6D3D-7DA0-D57DCAB38B12}"/>
                      </a:ext>
                    </a:extLst>
                  </p:cNvPr>
                  <p:cNvSpPr/>
                  <p:nvPr userDrawn="1"/>
                </p:nvSpPr>
                <p:spPr>
                  <a:xfrm>
                    <a:off x="8211191" y="451892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AECF1"/>
                  </a:solidFill>
                  <a:ln w="2339" cap="flat">
                    <a:noFill/>
                    <a:prstDash val="solid"/>
                    <a:miter/>
                  </a:ln>
                </p:spPr>
                <p:txBody>
                  <a:bodyPr rtlCol="0" anchor="ctr"/>
                  <a:lstStyle/>
                  <a:p>
                    <a:endParaRPr lang="en-US"/>
                  </a:p>
                </p:txBody>
              </p:sp>
              <p:sp>
                <p:nvSpPr>
                  <p:cNvPr id="728" name="Freeform: Shape 727">
                    <a:extLst>
                      <a:ext uri="{FF2B5EF4-FFF2-40B4-BE49-F238E27FC236}">
                        <a16:creationId xmlns:a16="http://schemas.microsoft.com/office/drawing/2014/main" id="{87D64452-E02A-9E79-7FFA-C86CFA9444DB}"/>
                      </a:ext>
                    </a:extLst>
                  </p:cNvPr>
                  <p:cNvSpPr/>
                  <p:nvPr userDrawn="1"/>
                </p:nvSpPr>
                <p:spPr>
                  <a:xfrm>
                    <a:off x="8210770" y="451934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AECF1"/>
                  </a:solidFill>
                  <a:ln w="2339" cap="flat">
                    <a:noFill/>
                    <a:prstDash val="solid"/>
                    <a:miter/>
                  </a:ln>
                </p:spPr>
                <p:txBody>
                  <a:bodyPr rtlCol="0" anchor="ctr"/>
                  <a:lstStyle/>
                  <a:p>
                    <a:endParaRPr lang="en-US"/>
                  </a:p>
                </p:txBody>
              </p:sp>
              <p:sp>
                <p:nvSpPr>
                  <p:cNvPr id="729" name="Freeform: Shape 728">
                    <a:extLst>
                      <a:ext uri="{FF2B5EF4-FFF2-40B4-BE49-F238E27FC236}">
                        <a16:creationId xmlns:a16="http://schemas.microsoft.com/office/drawing/2014/main" id="{E145CCFF-900A-6B2A-A199-FB3F2E61251D}"/>
                      </a:ext>
                    </a:extLst>
                  </p:cNvPr>
                  <p:cNvSpPr/>
                  <p:nvPr userDrawn="1"/>
                </p:nvSpPr>
                <p:spPr>
                  <a:xfrm>
                    <a:off x="8210372" y="451976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AECF1"/>
                  </a:solidFill>
                  <a:ln w="2339" cap="flat">
                    <a:noFill/>
                    <a:prstDash val="solid"/>
                    <a:miter/>
                  </a:ln>
                </p:spPr>
                <p:txBody>
                  <a:bodyPr rtlCol="0" anchor="ctr"/>
                  <a:lstStyle/>
                  <a:p>
                    <a:endParaRPr lang="en-US"/>
                  </a:p>
                </p:txBody>
              </p:sp>
              <p:sp>
                <p:nvSpPr>
                  <p:cNvPr id="730" name="Freeform: Shape 729">
                    <a:extLst>
                      <a:ext uri="{FF2B5EF4-FFF2-40B4-BE49-F238E27FC236}">
                        <a16:creationId xmlns:a16="http://schemas.microsoft.com/office/drawing/2014/main" id="{62BD698B-E009-1594-DD53-E8341C50B74A}"/>
                      </a:ext>
                    </a:extLst>
                  </p:cNvPr>
                  <p:cNvSpPr/>
                  <p:nvPr userDrawn="1"/>
                </p:nvSpPr>
                <p:spPr>
                  <a:xfrm>
                    <a:off x="8209951" y="452016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54"/>
                          <a:pt x="42097" y="21060"/>
                        </a:cubicBezTo>
                        <a:close/>
                      </a:path>
                    </a:pathLst>
                  </a:custGeom>
                  <a:solidFill>
                    <a:srgbClr val="EBECF2"/>
                  </a:solidFill>
                  <a:ln w="2339" cap="flat">
                    <a:noFill/>
                    <a:prstDash val="solid"/>
                    <a:miter/>
                  </a:ln>
                </p:spPr>
                <p:txBody>
                  <a:bodyPr rtlCol="0" anchor="ctr"/>
                  <a:lstStyle/>
                  <a:p>
                    <a:endParaRPr lang="en-US"/>
                  </a:p>
                </p:txBody>
              </p:sp>
              <p:sp>
                <p:nvSpPr>
                  <p:cNvPr id="731" name="Freeform: Shape 730">
                    <a:extLst>
                      <a:ext uri="{FF2B5EF4-FFF2-40B4-BE49-F238E27FC236}">
                        <a16:creationId xmlns:a16="http://schemas.microsoft.com/office/drawing/2014/main" id="{1E06039E-A563-065F-A90F-DE323F97AB68}"/>
                      </a:ext>
                    </a:extLst>
                  </p:cNvPr>
                  <p:cNvSpPr/>
                  <p:nvPr userDrawn="1"/>
                </p:nvSpPr>
                <p:spPr>
                  <a:xfrm>
                    <a:off x="8209553" y="452058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BEDF2"/>
                  </a:solidFill>
                  <a:ln w="2339" cap="flat">
                    <a:noFill/>
                    <a:prstDash val="solid"/>
                    <a:miter/>
                  </a:ln>
                </p:spPr>
                <p:txBody>
                  <a:bodyPr rtlCol="0" anchor="ctr"/>
                  <a:lstStyle/>
                  <a:p>
                    <a:endParaRPr lang="en-US"/>
                  </a:p>
                </p:txBody>
              </p:sp>
              <p:sp>
                <p:nvSpPr>
                  <p:cNvPr id="732" name="Freeform: Shape 731">
                    <a:extLst>
                      <a:ext uri="{FF2B5EF4-FFF2-40B4-BE49-F238E27FC236}">
                        <a16:creationId xmlns:a16="http://schemas.microsoft.com/office/drawing/2014/main" id="{ADD63904-A1C1-C692-D58C-C18B504DE8C8}"/>
                      </a:ext>
                    </a:extLst>
                  </p:cNvPr>
                  <p:cNvSpPr/>
                  <p:nvPr userDrawn="1"/>
                </p:nvSpPr>
                <p:spPr>
                  <a:xfrm>
                    <a:off x="8209156" y="452100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BEDF2"/>
                  </a:solidFill>
                  <a:ln w="2339" cap="flat">
                    <a:noFill/>
                    <a:prstDash val="solid"/>
                    <a:miter/>
                  </a:ln>
                </p:spPr>
                <p:txBody>
                  <a:bodyPr rtlCol="0" anchor="ctr"/>
                  <a:lstStyle/>
                  <a:p>
                    <a:endParaRPr lang="en-US"/>
                  </a:p>
                </p:txBody>
              </p:sp>
              <p:sp>
                <p:nvSpPr>
                  <p:cNvPr id="733" name="Freeform: Shape 732">
                    <a:extLst>
                      <a:ext uri="{FF2B5EF4-FFF2-40B4-BE49-F238E27FC236}">
                        <a16:creationId xmlns:a16="http://schemas.microsoft.com/office/drawing/2014/main" id="{7902C7FE-9241-C5B2-6307-4F792DB625FF}"/>
                      </a:ext>
                    </a:extLst>
                  </p:cNvPr>
                  <p:cNvSpPr/>
                  <p:nvPr userDrawn="1"/>
                </p:nvSpPr>
                <p:spPr>
                  <a:xfrm>
                    <a:off x="8208758" y="452143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BEDF2"/>
                  </a:solidFill>
                  <a:ln w="2339" cap="flat">
                    <a:noFill/>
                    <a:prstDash val="solid"/>
                    <a:miter/>
                  </a:ln>
                </p:spPr>
                <p:txBody>
                  <a:bodyPr rtlCol="0" anchor="ctr"/>
                  <a:lstStyle/>
                  <a:p>
                    <a:endParaRPr lang="en-US"/>
                  </a:p>
                </p:txBody>
              </p:sp>
              <p:sp>
                <p:nvSpPr>
                  <p:cNvPr id="734" name="Freeform: Shape 733">
                    <a:extLst>
                      <a:ext uri="{FF2B5EF4-FFF2-40B4-BE49-F238E27FC236}">
                        <a16:creationId xmlns:a16="http://schemas.microsoft.com/office/drawing/2014/main" id="{E9B67C76-8BCA-29C0-7260-DB52318BCA00}"/>
                      </a:ext>
                    </a:extLst>
                  </p:cNvPr>
                  <p:cNvSpPr/>
                  <p:nvPr userDrawn="1"/>
                </p:nvSpPr>
                <p:spPr>
                  <a:xfrm>
                    <a:off x="8208383" y="452185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CEDF2"/>
                  </a:solidFill>
                  <a:ln w="2339" cap="flat">
                    <a:noFill/>
                    <a:prstDash val="solid"/>
                    <a:miter/>
                  </a:ln>
                </p:spPr>
                <p:txBody>
                  <a:bodyPr rtlCol="0" anchor="ctr"/>
                  <a:lstStyle/>
                  <a:p>
                    <a:endParaRPr lang="en-US"/>
                  </a:p>
                </p:txBody>
              </p:sp>
              <p:sp>
                <p:nvSpPr>
                  <p:cNvPr id="735" name="Freeform: Shape 734">
                    <a:extLst>
                      <a:ext uri="{FF2B5EF4-FFF2-40B4-BE49-F238E27FC236}">
                        <a16:creationId xmlns:a16="http://schemas.microsoft.com/office/drawing/2014/main" id="{B4E29558-4157-0CAB-6BDC-5D74960F2450}"/>
                      </a:ext>
                    </a:extLst>
                  </p:cNvPr>
                  <p:cNvSpPr/>
                  <p:nvPr userDrawn="1"/>
                </p:nvSpPr>
                <p:spPr>
                  <a:xfrm>
                    <a:off x="8207986" y="452224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a:p>
                </p:txBody>
              </p:sp>
              <p:sp>
                <p:nvSpPr>
                  <p:cNvPr id="736" name="Freeform: Shape 735">
                    <a:extLst>
                      <a:ext uri="{FF2B5EF4-FFF2-40B4-BE49-F238E27FC236}">
                        <a16:creationId xmlns:a16="http://schemas.microsoft.com/office/drawing/2014/main" id="{78F014BB-FB9B-1B27-CA88-87B56740613E}"/>
                      </a:ext>
                    </a:extLst>
                  </p:cNvPr>
                  <p:cNvSpPr/>
                  <p:nvPr userDrawn="1"/>
                </p:nvSpPr>
                <p:spPr>
                  <a:xfrm>
                    <a:off x="8207611" y="452267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23"/>
                          <a:pt x="42097" y="9430"/>
                          <a:pt x="42097" y="21060"/>
                        </a:cubicBezTo>
                        <a:close/>
                      </a:path>
                    </a:pathLst>
                  </a:custGeom>
                  <a:solidFill>
                    <a:srgbClr val="ECEEF3"/>
                  </a:solidFill>
                  <a:ln w="2339" cap="flat">
                    <a:noFill/>
                    <a:prstDash val="solid"/>
                    <a:miter/>
                  </a:ln>
                </p:spPr>
                <p:txBody>
                  <a:bodyPr rtlCol="0" anchor="ctr"/>
                  <a:lstStyle/>
                  <a:p>
                    <a:endParaRPr lang="en-US"/>
                  </a:p>
                </p:txBody>
              </p:sp>
              <p:sp>
                <p:nvSpPr>
                  <p:cNvPr id="737" name="Freeform: Shape 736">
                    <a:extLst>
                      <a:ext uri="{FF2B5EF4-FFF2-40B4-BE49-F238E27FC236}">
                        <a16:creationId xmlns:a16="http://schemas.microsoft.com/office/drawing/2014/main" id="{07B646DA-86F7-1C53-A4AC-33A48F96AD4C}"/>
                      </a:ext>
                    </a:extLst>
                  </p:cNvPr>
                  <p:cNvSpPr/>
                  <p:nvPr userDrawn="1"/>
                </p:nvSpPr>
                <p:spPr>
                  <a:xfrm>
                    <a:off x="8207237" y="4523092"/>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EF3"/>
                  </a:solidFill>
                  <a:ln w="2339" cap="flat">
                    <a:noFill/>
                    <a:prstDash val="solid"/>
                    <a:miter/>
                  </a:ln>
                </p:spPr>
                <p:txBody>
                  <a:bodyPr rtlCol="0" anchor="ctr"/>
                  <a:lstStyle/>
                  <a:p>
                    <a:endParaRPr lang="en-US"/>
                  </a:p>
                </p:txBody>
              </p:sp>
              <p:sp>
                <p:nvSpPr>
                  <p:cNvPr id="738" name="Freeform: Shape 737">
                    <a:extLst>
                      <a:ext uri="{FF2B5EF4-FFF2-40B4-BE49-F238E27FC236}">
                        <a16:creationId xmlns:a16="http://schemas.microsoft.com/office/drawing/2014/main" id="{105E8AFB-2F94-64D9-2972-A5E9EF14EC54}"/>
                      </a:ext>
                    </a:extLst>
                  </p:cNvPr>
                  <p:cNvSpPr/>
                  <p:nvPr userDrawn="1"/>
                </p:nvSpPr>
                <p:spPr>
                  <a:xfrm>
                    <a:off x="8206886" y="452351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EDEFF3"/>
                  </a:solidFill>
                  <a:ln w="2339" cap="flat">
                    <a:noFill/>
                    <a:prstDash val="solid"/>
                    <a:miter/>
                  </a:ln>
                </p:spPr>
                <p:txBody>
                  <a:bodyPr rtlCol="0" anchor="ctr"/>
                  <a:lstStyle/>
                  <a:p>
                    <a:endParaRPr lang="en-US"/>
                  </a:p>
                </p:txBody>
              </p:sp>
              <p:sp>
                <p:nvSpPr>
                  <p:cNvPr id="739" name="Freeform: Shape 738">
                    <a:extLst>
                      <a:ext uri="{FF2B5EF4-FFF2-40B4-BE49-F238E27FC236}">
                        <a16:creationId xmlns:a16="http://schemas.microsoft.com/office/drawing/2014/main" id="{6430BE3E-6714-854C-CF7D-196AEBB95E74}"/>
                      </a:ext>
                    </a:extLst>
                  </p:cNvPr>
                  <p:cNvSpPr/>
                  <p:nvPr userDrawn="1"/>
                </p:nvSpPr>
                <p:spPr>
                  <a:xfrm>
                    <a:off x="8206511" y="452393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DEFF3"/>
                  </a:solidFill>
                  <a:ln w="2339" cap="flat">
                    <a:noFill/>
                    <a:prstDash val="solid"/>
                    <a:miter/>
                  </a:ln>
                </p:spPr>
                <p:txBody>
                  <a:bodyPr rtlCol="0" anchor="ctr"/>
                  <a:lstStyle/>
                  <a:p>
                    <a:endParaRPr lang="en-US"/>
                  </a:p>
                </p:txBody>
              </p:sp>
              <p:sp>
                <p:nvSpPr>
                  <p:cNvPr id="740" name="Freeform: Shape 739">
                    <a:extLst>
                      <a:ext uri="{FF2B5EF4-FFF2-40B4-BE49-F238E27FC236}">
                        <a16:creationId xmlns:a16="http://schemas.microsoft.com/office/drawing/2014/main" id="{BABEE50B-0E2F-1F6A-2B70-A07757019066}"/>
                      </a:ext>
                    </a:extLst>
                  </p:cNvPr>
                  <p:cNvSpPr/>
                  <p:nvPr userDrawn="1"/>
                </p:nvSpPr>
                <p:spPr>
                  <a:xfrm>
                    <a:off x="8206160" y="452435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a:p>
                </p:txBody>
              </p:sp>
              <p:sp>
                <p:nvSpPr>
                  <p:cNvPr id="741" name="Freeform: Shape 740">
                    <a:extLst>
                      <a:ext uri="{FF2B5EF4-FFF2-40B4-BE49-F238E27FC236}">
                        <a16:creationId xmlns:a16="http://schemas.microsoft.com/office/drawing/2014/main" id="{4E89E0F4-30B0-F826-48A0-DA5C0431CD73}"/>
                      </a:ext>
                    </a:extLst>
                  </p:cNvPr>
                  <p:cNvSpPr/>
                  <p:nvPr userDrawn="1"/>
                </p:nvSpPr>
                <p:spPr>
                  <a:xfrm>
                    <a:off x="8205809" y="452477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EFF4"/>
                  </a:solidFill>
                  <a:ln w="2339" cap="flat">
                    <a:noFill/>
                    <a:prstDash val="solid"/>
                    <a:miter/>
                  </a:ln>
                </p:spPr>
                <p:txBody>
                  <a:bodyPr rtlCol="0" anchor="ctr"/>
                  <a:lstStyle/>
                  <a:p>
                    <a:endParaRPr lang="en-US"/>
                  </a:p>
                </p:txBody>
              </p:sp>
              <p:sp>
                <p:nvSpPr>
                  <p:cNvPr id="742" name="Freeform: Shape 741">
                    <a:extLst>
                      <a:ext uri="{FF2B5EF4-FFF2-40B4-BE49-F238E27FC236}">
                        <a16:creationId xmlns:a16="http://schemas.microsoft.com/office/drawing/2014/main" id="{DF335933-9DEB-525A-1F19-6B76D501B1AD}"/>
                      </a:ext>
                    </a:extLst>
                  </p:cNvPr>
                  <p:cNvSpPr/>
                  <p:nvPr userDrawn="1"/>
                </p:nvSpPr>
                <p:spPr>
                  <a:xfrm>
                    <a:off x="8205458" y="452519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EEF0F4"/>
                  </a:solidFill>
                  <a:ln w="2339" cap="flat">
                    <a:noFill/>
                    <a:prstDash val="solid"/>
                    <a:miter/>
                  </a:ln>
                </p:spPr>
                <p:txBody>
                  <a:bodyPr rtlCol="0" anchor="ctr"/>
                  <a:lstStyle/>
                  <a:p>
                    <a:endParaRPr lang="en-US"/>
                  </a:p>
                </p:txBody>
              </p:sp>
              <p:sp>
                <p:nvSpPr>
                  <p:cNvPr id="743" name="Freeform: Shape 742">
                    <a:extLst>
                      <a:ext uri="{FF2B5EF4-FFF2-40B4-BE49-F238E27FC236}">
                        <a16:creationId xmlns:a16="http://schemas.microsoft.com/office/drawing/2014/main" id="{AFFBEF0F-0583-396A-F5A5-9E884E366A5D}"/>
                      </a:ext>
                    </a:extLst>
                  </p:cNvPr>
                  <p:cNvSpPr/>
                  <p:nvPr userDrawn="1"/>
                </p:nvSpPr>
                <p:spPr>
                  <a:xfrm>
                    <a:off x="8205131" y="452559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EF0F4"/>
                  </a:solidFill>
                  <a:ln w="2339" cap="flat">
                    <a:noFill/>
                    <a:prstDash val="solid"/>
                    <a:miter/>
                  </a:ln>
                </p:spPr>
                <p:txBody>
                  <a:bodyPr rtlCol="0" anchor="ctr"/>
                  <a:lstStyle/>
                  <a:p>
                    <a:endParaRPr lang="en-US"/>
                  </a:p>
                </p:txBody>
              </p:sp>
              <p:sp>
                <p:nvSpPr>
                  <p:cNvPr id="744" name="Freeform: Shape 743">
                    <a:extLst>
                      <a:ext uri="{FF2B5EF4-FFF2-40B4-BE49-F238E27FC236}">
                        <a16:creationId xmlns:a16="http://schemas.microsoft.com/office/drawing/2014/main" id="{964FF648-190F-E01F-80A9-49F560F99386}"/>
                      </a:ext>
                    </a:extLst>
                  </p:cNvPr>
                  <p:cNvSpPr/>
                  <p:nvPr userDrawn="1"/>
                </p:nvSpPr>
                <p:spPr>
                  <a:xfrm>
                    <a:off x="8204803" y="452601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0F4"/>
                  </a:solidFill>
                  <a:ln w="2339" cap="flat">
                    <a:noFill/>
                    <a:prstDash val="solid"/>
                    <a:miter/>
                  </a:ln>
                </p:spPr>
                <p:txBody>
                  <a:bodyPr rtlCol="0" anchor="ctr"/>
                  <a:lstStyle/>
                  <a:p>
                    <a:endParaRPr lang="en-US"/>
                  </a:p>
                </p:txBody>
              </p:sp>
              <p:sp>
                <p:nvSpPr>
                  <p:cNvPr id="745" name="Freeform: Shape 744">
                    <a:extLst>
                      <a:ext uri="{FF2B5EF4-FFF2-40B4-BE49-F238E27FC236}">
                        <a16:creationId xmlns:a16="http://schemas.microsoft.com/office/drawing/2014/main" id="{00B4C766-B083-5485-56A9-0BDB227B0FF0}"/>
                      </a:ext>
                    </a:extLst>
                  </p:cNvPr>
                  <p:cNvSpPr/>
                  <p:nvPr userDrawn="1"/>
                </p:nvSpPr>
                <p:spPr>
                  <a:xfrm>
                    <a:off x="8204476" y="4526438"/>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a:p>
                </p:txBody>
              </p:sp>
              <p:sp>
                <p:nvSpPr>
                  <p:cNvPr id="746" name="Freeform: Shape 745">
                    <a:extLst>
                      <a:ext uri="{FF2B5EF4-FFF2-40B4-BE49-F238E27FC236}">
                        <a16:creationId xmlns:a16="http://schemas.microsoft.com/office/drawing/2014/main" id="{73CB966D-B422-3E72-85DE-30C373313CCE}"/>
                      </a:ext>
                    </a:extLst>
                  </p:cNvPr>
                  <p:cNvSpPr/>
                  <p:nvPr userDrawn="1"/>
                </p:nvSpPr>
                <p:spPr>
                  <a:xfrm>
                    <a:off x="8204148" y="452685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23"/>
                          <a:pt x="42097" y="9430"/>
                          <a:pt x="42097" y="21060"/>
                        </a:cubicBezTo>
                        <a:close/>
                      </a:path>
                    </a:pathLst>
                  </a:custGeom>
                  <a:solidFill>
                    <a:srgbClr val="EFF1F5"/>
                  </a:solidFill>
                  <a:ln w="2339" cap="flat">
                    <a:noFill/>
                    <a:prstDash val="solid"/>
                    <a:miter/>
                  </a:ln>
                </p:spPr>
                <p:txBody>
                  <a:bodyPr rtlCol="0" anchor="ctr"/>
                  <a:lstStyle/>
                  <a:p>
                    <a:endParaRPr lang="en-US"/>
                  </a:p>
                </p:txBody>
              </p:sp>
              <p:sp>
                <p:nvSpPr>
                  <p:cNvPr id="747" name="Freeform: Shape 746">
                    <a:extLst>
                      <a:ext uri="{FF2B5EF4-FFF2-40B4-BE49-F238E27FC236}">
                        <a16:creationId xmlns:a16="http://schemas.microsoft.com/office/drawing/2014/main" id="{567C6D6A-97DD-6430-DD81-3BAF22295BF5}"/>
                      </a:ext>
                    </a:extLst>
                  </p:cNvPr>
                  <p:cNvSpPr/>
                  <p:nvPr userDrawn="1"/>
                </p:nvSpPr>
                <p:spPr>
                  <a:xfrm>
                    <a:off x="8203820" y="452728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0F1F5"/>
                  </a:solidFill>
                  <a:ln w="2339" cap="flat">
                    <a:noFill/>
                    <a:prstDash val="solid"/>
                    <a:miter/>
                  </a:ln>
                </p:spPr>
                <p:txBody>
                  <a:bodyPr rtlCol="0" anchor="ctr"/>
                  <a:lstStyle/>
                  <a:p>
                    <a:endParaRPr lang="en-US"/>
                  </a:p>
                </p:txBody>
              </p:sp>
              <p:sp>
                <p:nvSpPr>
                  <p:cNvPr id="748" name="Freeform: Shape 747">
                    <a:extLst>
                      <a:ext uri="{FF2B5EF4-FFF2-40B4-BE49-F238E27FC236}">
                        <a16:creationId xmlns:a16="http://schemas.microsoft.com/office/drawing/2014/main" id="{1DE7A111-336B-7EE2-0719-7091F0278DAB}"/>
                      </a:ext>
                    </a:extLst>
                  </p:cNvPr>
                  <p:cNvSpPr/>
                  <p:nvPr userDrawn="1"/>
                </p:nvSpPr>
                <p:spPr>
                  <a:xfrm>
                    <a:off x="8203516" y="452770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1F5"/>
                  </a:solidFill>
                  <a:ln w="2339" cap="flat">
                    <a:noFill/>
                    <a:prstDash val="solid"/>
                    <a:miter/>
                  </a:ln>
                </p:spPr>
                <p:txBody>
                  <a:bodyPr rtlCol="0" anchor="ctr"/>
                  <a:lstStyle/>
                  <a:p>
                    <a:endParaRPr lang="en-US"/>
                  </a:p>
                </p:txBody>
              </p:sp>
              <p:sp>
                <p:nvSpPr>
                  <p:cNvPr id="749" name="Freeform: Shape 748">
                    <a:extLst>
                      <a:ext uri="{FF2B5EF4-FFF2-40B4-BE49-F238E27FC236}">
                        <a16:creationId xmlns:a16="http://schemas.microsoft.com/office/drawing/2014/main" id="{177EAFD7-77BE-7E3E-6516-D51F3139428F}"/>
                      </a:ext>
                    </a:extLst>
                  </p:cNvPr>
                  <p:cNvSpPr/>
                  <p:nvPr userDrawn="1"/>
                </p:nvSpPr>
                <p:spPr>
                  <a:xfrm>
                    <a:off x="8203212" y="4528123"/>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0F2F5"/>
                  </a:solidFill>
                  <a:ln w="2339" cap="flat">
                    <a:noFill/>
                    <a:prstDash val="solid"/>
                    <a:miter/>
                  </a:ln>
                </p:spPr>
                <p:txBody>
                  <a:bodyPr rtlCol="0" anchor="ctr"/>
                  <a:lstStyle/>
                  <a:p>
                    <a:endParaRPr lang="en-US"/>
                  </a:p>
                </p:txBody>
              </p:sp>
              <p:sp>
                <p:nvSpPr>
                  <p:cNvPr id="750" name="Freeform: Shape 749">
                    <a:extLst>
                      <a:ext uri="{FF2B5EF4-FFF2-40B4-BE49-F238E27FC236}">
                        <a16:creationId xmlns:a16="http://schemas.microsoft.com/office/drawing/2014/main" id="{B99D53CD-7F38-929D-CB4E-F0B6AD369E28}"/>
                      </a:ext>
                    </a:extLst>
                  </p:cNvPr>
                  <p:cNvSpPr/>
                  <p:nvPr userDrawn="1"/>
                </p:nvSpPr>
                <p:spPr>
                  <a:xfrm>
                    <a:off x="8202908" y="4528544"/>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a:p>
                </p:txBody>
              </p:sp>
              <p:sp>
                <p:nvSpPr>
                  <p:cNvPr id="751" name="Freeform: Shape 750">
                    <a:extLst>
                      <a:ext uri="{FF2B5EF4-FFF2-40B4-BE49-F238E27FC236}">
                        <a16:creationId xmlns:a16="http://schemas.microsoft.com/office/drawing/2014/main" id="{164A020F-3DE2-B857-B3A4-A291E1DDF3ED}"/>
                      </a:ext>
                    </a:extLst>
                  </p:cNvPr>
                  <p:cNvSpPr/>
                  <p:nvPr userDrawn="1"/>
                </p:nvSpPr>
                <p:spPr>
                  <a:xfrm>
                    <a:off x="8202604" y="4528965"/>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1F2F6"/>
                  </a:solidFill>
                  <a:ln w="2339" cap="flat">
                    <a:noFill/>
                    <a:prstDash val="solid"/>
                    <a:miter/>
                  </a:ln>
                </p:spPr>
                <p:txBody>
                  <a:bodyPr rtlCol="0" anchor="ctr"/>
                  <a:lstStyle/>
                  <a:p>
                    <a:endParaRPr lang="en-US"/>
                  </a:p>
                </p:txBody>
              </p:sp>
              <p:sp>
                <p:nvSpPr>
                  <p:cNvPr id="752" name="Freeform: Shape 751">
                    <a:extLst>
                      <a:ext uri="{FF2B5EF4-FFF2-40B4-BE49-F238E27FC236}">
                        <a16:creationId xmlns:a16="http://schemas.microsoft.com/office/drawing/2014/main" id="{719FCA96-471F-E4A8-9082-3ACC5C0A9243}"/>
                      </a:ext>
                    </a:extLst>
                  </p:cNvPr>
                  <p:cNvSpPr/>
                  <p:nvPr userDrawn="1"/>
                </p:nvSpPr>
                <p:spPr>
                  <a:xfrm>
                    <a:off x="8202323" y="4529386"/>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1F2F6"/>
                  </a:solidFill>
                  <a:ln w="2339" cap="flat">
                    <a:noFill/>
                    <a:prstDash val="solid"/>
                    <a:miter/>
                  </a:ln>
                </p:spPr>
                <p:txBody>
                  <a:bodyPr rtlCol="0" anchor="ctr"/>
                  <a:lstStyle/>
                  <a:p>
                    <a:endParaRPr lang="en-US"/>
                  </a:p>
                </p:txBody>
              </p:sp>
              <p:sp>
                <p:nvSpPr>
                  <p:cNvPr id="753" name="Freeform: Shape 752">
                    <a:extLst>
                      <a:ext uri="{FF2B5EF4-FFF2-40B4-BE49-F238E27FC236}">
                        <a16:creationId xmlns:a16="http://schemas.microsoft.com/office/drawing/2014/main" id="{ABBA4913-6AA9-EDD6-1E34-4E9A04E38133}"/>
                      </a:ext>
                    </a:extLst>
                  </p:cNvPr>
                  <p:cNvSpPr/>
                  <p:nvPr userDrawn="1"/>
                </p:nvSpPr>
                <p:spPr>
                  <a:xfrm>
                    <a:off x="8202042" y="4529807"/>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a:p>
                </p:txBody>
              </p:sp>
              <p:sp>
                <p:nvSpPr>
                  <p:cNvPr id="754" name="Freeform: Shape 753">
                    <a:extLst>
                      <a:ext uri="{FF2B5EF4-FFF2-40B4-BE49-F238E27FC236}">
                        <a16:creationId xmlns:a16="http://schemas.microsoft.com/office/drawing/2014/main" id="{171A6663-CFC7-280B-91DB-87EDC478A75A}"/>
                      </a:ext>
                    </a:extLst>
                  </p:cNvPr>
                  <p:cNvSpPr/>
                  <p:nvPr userDrawn="1"/>
                </p:nvSpPr>
                <p:spPr>
                  <a:xfrm>
                    <a:off x="8201761" y="4530229"/>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3F6"/>
                  </a:solidFill>
                  <a:ln w="2339" cap="flat">
                    <a:noFill/>
                    <a:prstDash val="solid"/>
                    <a:miter/>
                  </a:ln>
                </p:spPr>
                <p:txBody>
                  <a:bodyPr rtlCol="0" anchor="ctr"/>
                  <a:lstStyle/>
                  <a:p>
                    <a:endParaRPr lang="en-US"/>
                  </a:p>
                </p:txBody>
              </p:sp>
              <p:sp>
                <p:nvSpPr>
                  <p:cNvPr id="755" name="Freeform: Shape 754">
                    <a:extLst>
                      <a:ext uri="{FF2B5EF4-FFF2-40B4-BE49-F238E27FC236}">
                        <a16:creationId xmlns:a16="http://schemas.microsoft.com/office/drawing/2014/main" id="{00103581-97B6-5C11-7ABA-274DF3305F53}"/>
                      </a:ext>
                    </a:extLst>
                  </p:cNvPr>
                  <p:cNvSpPr/>
                  <p:nvPr userDrawn="1"/>
                </p:nvSpPr>
                <p:spPr>
                  <a:xfrm>
                    <a:off x="8201480" y="4530650"/>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90" y="0"/>
                          <a:pt x="42097" y="9430"/>
                          <a:pt x="42097" y="21060"/>
                        </a:cubicBezTo>
                        <a:close/>
                      </a:path>
                    </a:pathLst>
                  </a:custGeom>
                  <a:solidFill>
                    <a:srgbClr val="F2F3F7"/>
                  </a:solidFill>
                  <a:ln w="2339" cap="flat">
                    <a:noFill/>
                    <a:prstDash val="solid"/>
                    <a:miter/>
                  </a:ln>
                </p:spPr>
                <p:txBody>
                  <a:bodyPr rtlCol="0" anchor="ctr"/>
                  <a:lstStyle/>
                  <a:p>
                    <a:endParaRPr lang="en-US"/>
                  </a:p>
                </p:txBody>
              </p:sp>
              <p:sp>
                <p:nvSpPr>
                  <p:cNvPr id="756" name="Freeform: Shape 755">
                    <a:extLst>
                      <a:ext uri="{FF2B5EF4-FFF2-40B4-BE49-F238E27FC236}">
                        <a16:creationId xmlns:a16="http://schemas.microsoft.com/office/drawing/2014/main" id="{148C5644-7908-1428-396B-FE9816FBADF7}"/>
                      </a:ext>
                    </a:extLst>
                  </p:cNvPr>
                  <p:cNvSpPr/>
                  <p:nvPr userDrawn="1"/>
                </p:nvSpPr>
                <p:spPr>
                  <a:xfrm>
                    <a:off x="8201223" y="4531071"/>
                    <a:ext cx="42096" cy="42096"/>
                  </a:xfrm>
                  <a:custGeom>
                    <a:avLst/>
                    <a:gdLst>
                      <a:gd name="connsiteX0" fmla="*/ 42097 w 42096"/>
                      <a:gd name="connsiteY0" fmla="*/ 21060 h 42096"/>
                      <a:gd name="connsiteX1" fmla="*/ 21060 w 42096"/>
                      <a:gd name="connsiteY1" fmla="*/ 42097 h 42096"/>
                      <a:gd name="connsiteX2" fmla="*/ 0 w 42096"/>
                      <a:gd name="connsiteY2" fmla="*/ 21060 h 42096"/>
                      <a:gd name="connsiteX3" fmla="*/ 21060 w 42096"/>
                      <a:gd name="connsiteY3" fmla="*/ 0 h 42096"/>
                      <a:gd name="connsiteX4" fmla="*/ 42097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42097" y="21060"/>
                        </a:moveTo>
                        <a:cubicBezTo>
                          <a:pt x="42097" y="32667"/>
                          <a:pt x="32667" y="42097"/>
                          <a:pt x="21060" y="42097"/>
                        </a:cubicBezTo>
                        <a:cubicBezTo>
                          <a:pt x="9430" y="42097"/>
                          <a:pt x="0" y="32667"/>
                          <a:pt x="0" y="21060"/>
                        </a:cubicBezTo>
                        <a:cubicBezTo>
                          <a:pt x="0" y="9430"/>
                          <a:pt x="9430" y="0"/>
                          <a:pt x="21060" y="0"/>
                        </a:cubicBezTo>
                        <a:cubicBezTo>
                          <a:pt x="32667" y="0"/>
                          <a:pt x="42097" y="9430"/>
                          <a:pt x="42097" y="21060"/>
                        </a:cubicBezTo>
                        <a:close/>
                      </a:path>
                    </a:pathLst>
                  </a:custGeom>
                  <a:solidFill>
                    <a:srgbClr val="F2F4F7"/>
                  </a:solidFill>
                  <a:ln w="2339" cap="flat">
                    <a:noFill/>
                    <a:prstDash val="solid"/>
                    <a:miter/>
                  </a:ln>
                </p:spPr>
                <p:txBody>
                  <a:bodyPr rtlCol="0" anchor="ctr"/>
                  <a:lstStyle/>
                  <a:p>
                    <a:endParaRPr lang="en-US"/>
                  </a:p>
                </p:txBody>
              </p:sp>
              <p:sp>
                <p:nvSpPr>
                  <p:cNvPr id="757" name="Freeform: Shape 756">
                    <a:extLst>
                      <a:ext uri="{FF2B5EF4-FFF2-40B4-BE49-F238E27FC236}">
                        <a16:creationId xmlns:a16="http://schemas.microsoft.com/office/drawing/2014/main" id="{81A2FE6D-AA64-4D92-DF30-492D85ED508C}"/>
                      </a:ext>
                    </a:extLst>
                  </p:cNvPr>
                  <p:cNvSpPr/>
                  <p:nvPr userDrawn="1"/>
                </p:nvSpPr>
                <p:spPr>
                  <a:xfrm>
                    <a:off x="8200966" y="4531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a:p>
                </p:txBody>
              </p:sp>
              <p:sp>
                <p:nvSpPr>
                  <p:cNvPr id="758" name="Freeform: Shape 757">
                    <a:extLst>
                      <a:ext uri="{FF2B5EF4-FFF2-40B4-BE49-F238E27FC236}">
                        <a16:creationId xmlns:a16="http://schemas.microsoft.com/office/drawing/2014/main" id="{5040D10C-3134-A1F8-D47A-3275858AE233}"/>
                      </a:ext>
                    </a:extLst>
                  </p:cNvPr>
                  <p:cNvSpPr/>
                  <p:nvPr userDrawn="1"/>
                </p:nvSpPr>
                <p:spPr>
                  <a:xfrm>
                    <a:off x="8200708" y="453191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3F4F7"/>
                  </a:solidFill>
                  <a:ln w="2339" cap="flat">
                    <a:noFill/>
                    <a:prstDash val="solid"/>
                    <a:miter/>
                  </a:ln>
                </p:spPr>
                <p:txBody>
                  <a:bodyPr rtlCol="0" anchor="ctr"/>
                  <a:lstStyle/>
                  <a:p>
                    <a:endParaRPr lang="en-US"/>
                  </a:p>
                </p:txBody>
              </p:sp>
              <p:sp>
                <p:nvSpPr>
                  <p:cNvPr id="759" name="Freeform: Shape 758">
                    <a:extLst>
                      <a:ext uri="{FF2B5EF4-FFF2-40B4-BE49-F238E27FC236}">
                        <a16:creationId xmlns:a16="http://schemas.microsoft.com/office/drawing/2014/main" id="{C4D8C040-48AF-90FB-C35E-524E6A068D2F}"/>
                      </a:ext>
                    </a:extLst>
                  </p:cNvPr>
                  <p:cNvSpPr/>
                  <p:nvPr userDrawn="1"/>
                </p:nvSpPr>
                <p:spPr>
                  <a:xfrm>
                    <a:off x="8200474" y="45323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3F4F7"/>
                  </a:solidFill>
                  <a:ln w="2339" cap="flat">
                    <a:noFill/>
                    <a:prstDash val="solid"/>
                    <a:miter/>
                  </a:ln>
                </p:spPr>
                <p:txBody>
                  <a:bodyPr rtlCol="0" anchor="ctr"/>
                  <a:lstStyle/>
                  <a:p>
                    <a:endParaRPr lang="en-US"/>
                  </a:p>
                </p:txBody>
              </p:sp>
              <p:sp>
                <p:nvSpPr>
                  <p:cNvPr id="760" name="Freeform: Shape 759">
                    <a:extLst>
                      <a:ext uri="{FF2B5EF4-FFF2-40B4-BE49-F238E27FC236}">
                        <a16:creationId xmlns:a16="http://schemas.microsoft.com/office/drawing/2014/main" id="{241F8E9C-9B9B-6C9E-55B1-74F00F0D1FD0}"/>
                      </a:ext>
                    </a:extLst>
                  </p:cNvPr>
                  <p:cNvSpPr/>
                  <p:nvPr userDrawn="1"/>
                </p:nvSpPr>
                <p:spPr>
                  <a:xfrm>
                    <a:off x="8200217" y="453275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4F5F8"/>
                  </a:solidFill>
                  <a:ln w="2339" cap="flat">
                    <a:noFill/>
                    <a:prstDash val="solid"/>
                    <a:miter/>
                  </a:ln>
                </p:spPr>
                <p:txBody>
                  <a:bodyPr rtlCol="0" anchor="ctr"/>
                  <a:lstStyle/>
                  <a:p>
                    <a:endParaRPr lang="en-US"/>
                  </a:p>
                </p:txBody>
              </p:sp>
              <p:sp>
                <p:nvSpPr>
                  <p:cNvPr id="761" name="Freeform: Shape 760">
                    <a:extLst>
                      <a:ext uri="{FF2B5EF4-FFF2-40B4-BE49-F238E27FC236}">
                        <a16:creationId xmlns:a16="http://schemas.microsoft.com/office/drawing/2014/main" id="{3600960D-55DD-D942-EDD4-C5ED50231E97}"/>
                      </a:ext>
                    </a:extLst>
                  </p:cNvPr>
                  <p:cNvSpPr/>
                  <p:nvPr userDrawn="1"/>
                </p:nvSpPr>
                <p:spPr>
                  <a:xfrm>
                    <a:off x="8199983" y="453317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a:p>
                </p:txBody>
              </p:sp>
              <p:sp>
                <p:nvSpPr>
                  <p:cNvPr id="762" name="Freeform: Shape 761">
                    <a:extLst>
                      <a:ext uri="{FF2B5EF4-FFF2-40B4-BE49-F238E27FC236}">
                        <a16:creationId xmlns:a16="http://schemas.microsoft.com/office/drawing/2014/main" id="{FEADE57B-965E-7D4D-A799-1D12DA348D1F}"/>
                      </a:ext>
                    </a:extLst>
                  </p:cNvPr>
                  <p:cNvSpPr/>
                  <p:nvPr userDrawn="1"/>
                </p:nvSpPr>
                <p:spPr>
                  <a:xfrm>
                    <a:off x="8199749" y="453359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4F5F8"/>
                  </a:solidFill>
                  <a:ln w="2339" cap="flat">
                    <a:noFill/>
                    <a:prstDash val="solid"/>
                    <a:miter/>
                  </a:ln>
                </p:spPr>
                <p:txBody>
                  <a:bodyPr rtlCol="0" anchor="ctr"/>
                  <a:lstStyle/>
                  <a:p>
                    <a:endParaRPr lang="en-US"/>
                  </a:p>
                </p:txBody>
              </p:sp>
              <p:sp>
                <p:nvSpPr>
                  <p:cNvPr id="763" name="Freeform: Shape 762">
                    <a:extLst>
                      <a:ext uri="{FF2B5EF4-FFF2-40B4-BE49-F238E27FC236}">
                        <a16:creationId xmlns:a16="http://schemas.microsoft.com/office/drawing/2014/main" id="{9B9E1BC2-3F88-DD81-63C5-77EB25F71D29}"/>
                      </a:ext>
                    </a:extLst>
                  </p:cNvPr>
                  <p:cNvSpPr/>
                  <p:nvPr userDrawn="1"/>
                </p:nvSpPr>
                <p:spPr>
                  <a:xfrm>
                    <a:off x="8199515" y="453401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5F6F8"/>
                  </a:solidFill>
                  <a:ln w="2339" cap="flat">
                    <a:noFill/>
                    <a:prstDash val="solid"/>
                    <a:miter/>
                  </a:ln>
                </p:spPr>
                <p:txBody>
                  <a:bodyPr rtlCol="0" anchor="ctr"/>
                  <a:lstStyle/>
                  <a:p>
                    <a:endParaRPr lang="en-US"/>
                  </a:p>
                </p:txBody>
              </p:sp>
              <p:sp>
                <p:nvSpPr>
                  <p:cNvPr id="764" name="Freeform: Shape 763">
                    <a:extLst>
                      <a:ext uri="{FF2B5EF4-FFF2-40B4-BE49-F238E27FC236}">
                        <a16:creationId xmlns:a16="http://schemas.microsoft.com/office/drawing/2014/main" id="{4A353150-94AF-561D-8678-2A150291810D}"/>
                      </a:ext>
                    </a:extLst>
                  </p:cNvPr>
                  <p:cNvSpPr/>
                  <p:nvPr userDrawn="1"/>
                </p:nvSpPr>
                <p:spPr>
                  <a:xfrm>
                    <a:off x="8199281" y="453444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5F6F8"/>
                  </a:solidFill>
                  <a:ln w="2339" cap="flat">
                    <a:noFill/>
                    <a:prstDash val="solid"/>
                    <a:miter/>
                  </a:ln>
                </p:spPr>
                <p:txBody>
                  <a:bodyPr rtlCol="0" anchor="ctr"/>
                  <a:lstStyle/>
                  <a:p>
                    <a:endParaRPr lang="en-US"/>
                  </a:p>
                </p:txBody>
              </p:sp>
              <p:sp>
                <p:nvSpPr>
                  <p:cNvPr id="765" name="Freeform: Shape 764">
                    <a:extLst>
                      <a:ext uri="{FF2B5EF4-FFF2-40B4-BE49-F238E27FC236}">
                        <a16:creationId xmlns:a16="http://schemas.microsoft.com/office/drawing/2014/main" id="{520D25E5-65AF-1E79-90AF-E21114B4F380}"/>
                      </a:ext>
                    </a:extLst>
                  </p:cNvPr>
                  <p:cNvSpPr/>
                  <p:nvPr userDrawn="1"/>
                </p:nvSpPr>
                <p:spPr>
                  <a:xfrm>
                    <a:off x="8199070" y="453483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5F6F9"/>
                  </a:solidFill>
                  <a:ln w="2339" cap="flat">
                    <a:noFill/>
                    <a:prstDash val="solid"/>
                    <a:miter/>
                  </a:ln>
                </p:spPr>
                <p:txBody>
                  <a:bodyPr rtlCol="0" anchor="ctr"/>
                  <a:lstStyle/>
                  <a:p>
                    <a:endParaRPr lang="en-US"/>
                  </a:p>
                </p:txBody>
              </p:sp>
              <p:sp>
                <p:nvSpPr>
                  <p:cNvPr id="766" name="Freeform: Shape 765">
                    <a:extLst>
                      <a:ext uri="{FF2B5EF4-FFF2-40B4-BE49-F238E27FC236}">
                        <a16:creationId xmlns:a16="http://schemas.microsoft.com/office/drawing/2014/main" id="{F7EAC157-9DF1-B8DC-025E-51C0F889DE75}"/>
                      </a:ext>
                    </a:extLst>
                  </p:cNvPr>
                  <p:cNvSpPr/>
                  <p:nvPr userDrawn="1"/>
                </p:nvSpPr>
                <p:spPr>
                  <a:xfrm>
                    <a:off x="8198860" y="453526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6F9"/>
                  </a:solidFill>
                  <a:ln w="2339" cap="flat">
                    <a:noFill/>
                    <a:prstDash val="solid"/>
                    <a:miter/>
                  </a:ln>
                </p:spPr>
                <p:txBody>
                  <a:bodyPr rtlCol="0" anchor="ctr"/>
                  <a:lstStyle/>
                  <a:p>
                    <a:endParaRPr lang="en-US"/>
                  </a:p>
                </p:txBody>
              </p:sp>
              <p:sp>
                <p:nvSpPr>
                  <p:cNvPr id="767" name="Freeform: Shape 766">
                    <a:extLst>
                      <a:ext uri="{FF2B5EF4-FFF2-40B4-BE49-F238E27FC236}">
                        <a16:creationId xmlns:a16="http://schemas.microsoft.com/office/drawing/2014/main" id="{E2593326-1E22-87FC-F40C-1AA7E74DD935}"/>
                      </a:ext>
                    </a:extLst>
                  </p:cNvPr>
                  <p:cNvSpPr/>
                  <p:nvPr userDrawn="1"/>
                </p:nvSpPr>
                <p:spPr>
                  <a:xfrm>
                    <a:off x="8198649" y="453568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6F7F9"/>
                  </a:solidFill>
                  <a:ln w="2339" cap="flat">
                    <a:noFill/>
                    <a:prstDash val="solid"/>
                    <a:miter/>
                  </a:ln>
                </p:spPr>
                <p:txBody>
                  <a:bodyPr rtlCol="0" anchor="ctr"/>
                  <a:lstStyle/>
                  <a:p>
                    <a:endParaRPr lang="en-US"/>
                  </a:p>
                </p:txBody>
              </p:sp>
              <p:sp>
                <p:nvSpPr>
                  <p:cNvPr id="768" name="Freeform: Shape 767">
                    <a:extLst>
                      <a:ext uri="{FF2B5EF4-FFF2-40B4-BE49-F238E27FC236}">
                        <a16:creationId xmlns:a16="http://schemas.microsoft.com/office/drawing/2014/main" id="{C3AE38FA-48FD-CD52-A78C-9745E303DB4A}"/>
                      </a:ext>
                    </a:extLst>
                  </p:cNvPr>
                  <p:cNvSpPr/>
                  <p:nvPr userDrawn="1"/>
                </p:nvSpPr>
                <p:spPr>
                  <a:xfrm>
                    <a:off x="8198438" y="453610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6F7F9"/>
                  </a:solidFill>
                  <a:ln w="2339" cap="flat">
                    <a:noFill/>
                    <a:prstDash val="solid"/>
                    <a:miter/>
                  </a:ln>
                </p:spPr>
                <p:txBody>
                  <a:bodyPr rtlCol="0" anchor="ctr"/>
                  <a:lstStyle/>
                  <a:p>
                    <a:endParaRPr lang="en-US"/>
                  </a:p>
                </p:txBody>
              </p:sp>
              <p:sp>
                <p:nvSpPr>
                  <p:cNvPr id="769" name="Freeform: Shape 768">
                    <a:extLst>
                      <a:ext uri="{FF2B5EF4-FFF2-40B4-BE49-F238E27FC236}">
                        <a16:creationId xmlns:a16="http://schemas.microsoft.com/office/drawing/2014/main" id="{9C1F9F00-85F9-B821-FD3F-C7C4DB53B9A4}"/>
                      </a:ext>
                    </a:extLst>
                  </p:cNvPr>
                  <p:cNvSpPr/>
                  <p:nvPr userDrawn="1"/>
                </p:nvSpPr>
                <p:spPr>
                  <a:xfrm>
                    <a:off x="8198251" y="453652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6F7F9"/>
                  </a:solidFill>
                  <a:ln w="2339" cap="flat">
                    <a:noFill/>
                    <a:prstDash val="solid"/>
                    <a:miter/>
                  </a:ln>
                </p:spPr>
                <p:txBody>
                  <a:bodyPr rtlCol="0" anchor="ctr"/>
                  <a:lstStyle/>
                  <a:p>
                    <a:endParaRPr lang="en-US"/>
                  </a:p>
                </p:txBody>
              </p:sp>
              <p:sp>
                <p:nvSpPr>
                  <p:cNvPr id="770" name="Freeform: Shape 769">
                    <a:extLst>
                      <a:ext uri="{FF2B5EF4-FFF2-40B4-BE49-F238E27FC236}">
                        <a16:creationId xmlns:a16="http://schemas.microsoft.com/office/drawing/2014/main" id="{4E09F77E-A3A3-E178-4A4C-52A3FD8926D4}"/>
                      </a:ext>
                    </a:extLst>
                  </p:cNvPr>
                  <p:cNvSpPr/>
                  <p:nvPr userDrawn="1"/>
                </p:nvSpPr>
                <p:spPr>
                  <a:xfrm>
                    <a:off x="8198064" y="453694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7FA"/>
                  </a:solidFill>
                  <a:ln w="2339" cap="flat">
                    <a:noFill/>
                    <a:prstDash val="solid"/>
                    <a:miter/>
                  </a:ln>
                </p:spPr>
                <p:txBody>
                  <a:bodyPr rtlCol="0" anchor="ctr"/>
                  <a:lstStyle/>
                  <a:p>
                    <a:endParaRPr lang="en-US"/>
                  </a:p>
                </p:txBody>
              </p:sp>
              <p:sp>
                <p:nvSpPr>
                  <p:cNvPr id="771" name="Freeform: Shape 770">
                    <a:extLst>
                      <a:ext uri="{FF2B5EF4-FFF2-40B4-BE49-F238E27FC236}">
                        <a16:creationId xmlns:a16="http://schemas.microsoft.com/office/drawing/2014/main" id="{F85CEDBB-C700-2911-1079-1761FD6A52AB}"/>
                      </a:ext>
                    </a:extLst>
                  </p:cNvPr>
                  <p:cNvSpPr/>
                  <p:nvPr userDrawn="1"/>
                </p:nvSpPr>
                <p:spPr>
                  <a:xfrm>
                    <a:off x="8197877" y="4537366"/>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7F8FA"/>
                  </a:solidFill>
                  <a:ln w="2339" cap="flat">
                    <a:noFill/>
                    <a:prstDash val="solid"/>
                    <a:miter/>
                  </a:ln>
                </p:spPr>
                <p:txBody>
                  <a:bodyPr rtlCol="0" anchor="ctr"/>
                  <a:lstStyle/>
                  <a:p>
                    <a:endParaRPr lang="en-US"/>
                  </a:p>
                </p:txBody>
              </p:sp>
              <p:sp>
                <p:nvSpPr>
                  <p:cNvPr id="772" name="Freeform: Shape 771">
                    <a:extLst>
                      <a:ext uri="{FF2B5EF4-FFF2-40B4-BE49-F238E27FC236}">
                        <a16:creationId xmlns:a16="http://schemas.microsoft.com/office/drawing/2014/main" id="{260329DF-77F3-316E-A46D-7AAFF787BFB7}"/>
                      </a:ext>
                    </a:extLst>
                  </p:cNvPr>
                  <p:cNvSpPr/>
                  <p:nvPr userDrawn="1"/>
                </p:nvSpPr>
                <p:spPr>
                  <a:xfrm>
                    <a:off x="8197690" y="453778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7F8FA"/>
                  </a:solidFill>
                  <a:ln w="2339" cap="flat">
                    <a:noFill/>
                    <a:prstDash val="solid"/>
                    <a:miter/>
                  </a:ln>
                </p:spPr>
                <p:txBody>
                  <a:bodyPr rtlCol="0" anchor="ctr"/>
                  <a:lstStyle/>
                  <a:p>
                    <a:endParaRPr lang="en-US"/>
                  </a:p>
                </p:txBody>
              </p:sp>
              <p:sp>
                <p:nvSpPr>
                  <p:cNvPr id="773" name="Freeform: Shape 772">
                    <a:extLst>
                      <a:ext uri="{FF2B5EF4-FFF2-40B4-BE49-F238E27FC236}">
                        <a16:creationId xmlns:a16="http://schemas.microsoft.com/office/drawing/2014/main" id="{9DDAEABC-58DA-852B-1259-FA359C1F02AD}"/>
                      </a:ext>
                    </a:extLst>
                  </p:cNvPr>
                  <p:cNvSpPr/>
                  <p:nvPr userDrawn="1"/>
                </p:nvSpPr>
                <p:spPr>
                  <a:xfrm>
                    <a:off x="8197526" y="453820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8FA"/>
                  </a:solidFill>
                  <a:ln w="2339" cap="flat">
                    <a:noFill/>
                    <a:prstDash val="solid"/>
                    <a:miter/>
                  </a:ln>
                </p:spPr>
                <p:txBody>
                  <a:bodyPr rtlCol="0" anchor="ctr"/>
                  <a:lstStyle/>
                  <a:p>
                    <a:endParaRPr lang="en-US"/>
                  </a:p>
                </p:txBody>
              </p:sp>
              <p:sp>
                <p:nvSpPr>
                  <p:cNvPr id="774" name="Freeform: Shape 773">
                    <a:extLst>
                      <a:ext uri="{FF2B5EF4-FFF2-40B4-BE49-F238E27FC236}">
                        <a16:creationId xmlns:a16="http://schemas.microsoft.com/office/drawing/2014/main" id="{E64DCFFD-6783-FC7F-FD2C-996B9A320A4A}"/>
                      </a:ext>
                    </a:extLst>
                  </p:cNvPr>
                  <p:cNvSpPr/>
                  <p:nvPr userDrawn="1"/>
                </p:nvSpPr>
                <p:spPr>
                  <a:xfrm>
                    <a:off x="8197362" y="453862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8F9FA"/>
                  </a:solidFill>
                  <a:ln w="2339" cap="flat">
                    <a:noFill/>
                    <a:prstDash val="solid"/>
                    <a:miter/>
                  </a:ln>
                </p:spPr>
                <p:txBody>
                  <a:bodyPr rtlCol="0" anchor="ctr"/>
                  <a:lstStyle/>
                  <a:p>
                    <a:endParaRPr lang="en-US"/>
                  </a:p>
                </p:txBody>
              </p:sp>
              <p:sp>
                <p:nvSpPr>
                  <p:cNvPr id="775" name="Freeform: Shape 774">
                    <a:extLst>
                      <a:ext uri="{FF2B5EF4-FFF2-40B4-BE49-F238E27FC236}">
                        <a16:creationId xmlns:a16="http://schemas.microsoft.com/office/drawing/2014/main" id="{B273A2CB-1471-1D08-CF6F-F5430B62F764}"/>
                      </a:ext>
                    </a:extLst>
                  </p:cNvPr>
                  <p:cNvSpPr/>
                  <p:nvPr userDrawn="1"/>
                </p:nvSpPr>
                <p:spPr>
                  <a:xfrm>
                    <a:off x="8197198" y="4539027"/>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8F9FB"/>
                  </a:solidFill>
                  <a:ln w="2339" cap="flat">
                    <a:noFill/>
                    <a:prstDash val="solid"/>
                    <a:miter/>
                  </a:ln>
                </p:spPr>
                <p:txBody>
                  <a:bodyPr rtlCol="0" anchor="ctr"/>
                  <a:lstStyle/>
                  <a:p>
                    <a:endParaRPr lang="en-US"/>
                  </a:p>
                </p:txBody>
              </p:sp>
              <p:sp>
                <p:nvSpPr>
                  <p:cNvPr id="776" name="Freeform: Shape 775">
                    <a:extLst>
                      <a:ext uri="{FF2B5EF4-FFF2-40B4-BE49-F238E27FC236}">
                        <a16:creationId xmlns:a16="http://schemas.microsoft.com/office/drawing/2014/main" id="{61EA3DAF-DE29-14B9-8C85-AF439357F687}"/>
                      </a:ext>
                    </a:extLst>
                  </p:cNvPr>
                  <p:cNvSpPr/>
                  <p:nvPr userDrawn="1"/>
                </p:nvSpPr>
                <p:spPr>
                  <a:xfrm>
                    <a:off x="8197034" y="4539448"/>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9F9FB"/>
                  </a:solidFill>
                  <a:ln w="2339" cap="flat">
                    <a:noFill/>
                    <a:prstDash val="solid"/>
                    <a:miter/>
                  </a:ln>
                </p:spPr>
                <p:txBody>
                  <a:bodyPr rtlCol="0" anchor="ctr"/>
                  <a:lstStyle/>
                  <a:p>
                    <a:endParaRPr lang="en-US"/>
                  </a:p>
                </p:txBody>
              </p:sp>
              <p:sp>
                <p:nvSpPr>
                  <p:cNvPr id="777" name="Freeform: Shape 776">
                    <a:extLst>
                      <a:ext uri="{FF2B5EF4-FFF2-40B4-BE49-F238E27FC236}">
                        <a16:creationId xmlns:a16="http://schemas.microsoft.com/office/drawing/2014/main" id="{AC1C32A9-30AE-D1BC-B27E-7A5CD65E9B32}"/>
                      </a:ext>
                    </a:extLst>
                  </p:cNvPr>
                  <p:cNvSpPr/>
                  <p:nvPr userDrawn="1"/>
                </p:nvSpPr>
                <p:spPr>
                  <a:xfrm>
                    <a:off x="8196871" y="453987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9FB"/>
                  </a:solidFill>
                  <a:ln w="2339" cap="flat">
                    <a:noFill/>
                    <a:prstDash val="solid"/>
                    <a:miter/>
                  </a:ln>
                </p:spPr>
                <p:txBody>
                  <a:bodyPr rtlCol="0" anchor="ctr"/>
                  <a:lstStyle/>
                  <a:p>
                    <a:endParaRPr lang="en-US"/>
                  </a:p>
                </p:txBody>
              </p:sp>
              <p:sp>
                <p:nvSpPr>
                  <p:cNvPr id="778" name="Freeform: Shape 777">
                    <a:extLst>
                      <a:ext uri="{FF2B5EF4-FFF2-40B4-BE49-F238E27FC236}">
                        <a16:creationId xmlns:a16="http://schemas.microsoft.com/office/drawing/2014/main" id="{5DBC0E52-C0E4-5EB8-A59D-2456F8712018}"/>
                      </a:ext>
                    </a:extLst>
                  </p:cNvPr>
                  <p:cNvSpPr/>
                  <p:nvPr userDrawn="1"/>
                </p:nvSpPr>
                <p:spPr>
                  <a:xfrm>
                    <a:off x="8196730" y="454029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a:p>
                </p:txBody>
              </p:sp>
              <p:sp>
                <p:nvSpPr>
                  <p:cNvPr id="779" name="Freeform: Shape 778">
                    <a:extLst>
                      <a:ext uri="{FF2B5EF4-FFF2-40B4-BE49-F238E27FC236}">
                        <a16:creationId xmlns:a16="http://schemas.microsoft.com/office/drawing/2014/main" id="{895483E8-FCEB-2C4C-D9FC-CFA72085F206}"/>
                      </a:ext>
                    </a:extLst>
                  </p:cNvPr>
                  <p:cNvSpPr/>
                  <p:nvPr userDrawn="1"/>
                </p:nvSpPr>
                <p:spPr>
                  <a:xfrm>
                    <a:off x="8196590" y="454071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9FAFB"/>
                  </a:solidFill>
                  <a:ln w="2339" cap="flat">
                    <a:noFill/>
                    <a:prstDash val="solid"/>
                    <a:miter/>
                  </a:ln>
                </p:spPr>
                <p:txBody>
                  <a:bodyPr rtlCol="0" anchor="ctr"/>
                  <a:lstStyle/>
                  <a:p>
                    <a:endParaRPr lang="en-US"/>
                  </a:p>
                </p:txBody>
              </p:sp>
              <p:sp>
                <p:nvSpPr>
                  <p:cNvPr id="780" name="Freeform: Shape 779">
                    <a:extLst>
                      <a:ext uri="{FF2B5EF4-FFF2-40B4-BE49-F238E27FC236}">
                        <a16:creationId xmlns:a16="http://schemas.microsoft.com/office/drawing/2014/main" id="{4F66D95D-80DB-7F7F-790B-78C4BD734941}"/>
                      </a:ext>
                    </a:extLst>
                  </p:cNvPr>
                  <p:cNvSpPr/>
                  <p:nvPr userDrawn="1"/>
                </p:nvSpPr>
                <p:spPr>
                  <a:xfrm>
                    <a:off x="8196449" y="45411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07"/>
                          <a:pt x="42074" y="21060"/>
                        </a:cubicBezTo>
                        <a:close/>
                      </a:path>
                    </a:pathLst>
                  </a:custGeom>
                  <a:solidFill>
                    <a:srgbClr val="FAFAFC"/>
                  </a:solidFill>
                  <a:ln w="2339" cap="flat">
                    <a:noFill/>
                    <a:prstDash val="solid"/>
                    <a:miter/>
                  </a:ln>
                </p:spPr>
                <p:txBody>
                  <a:bodyPr rtlCol="0" anchor="ctr"/>
                  <a:lstStyle/>
                  <a:p>
                    <a:endParaRPr lang="en-US"/>
                  </a:p>
                </p:txBody>
              </p:sp>
              <p:sp>
                <p:nvSpPr>
                  <p:cNvPr id="781" name="Freeform: Shape 780">
                    <a:extLst>
                      <a:ext uri="{FF2B5EF4-FFF2-40B4-BE49-F238E27FC236}">
                        <a16:creationId xmlns:a16="http://schemas.microsoft.com/office/drawing/2014/main" id="{7DC62FA3-0157-F14A-4E75-9DF8D4F3C991}"/>
                      </a:ext>
                    </a:extLst>
                  </p:cNvPr>
                  <p:cNvSpPr/>
                  <p:nvPr userDrawn="1"/>
                </p:nvSpPr>
                <p:spPr>
                  <a:xfrm>
                    <a:off x="8196332" y="454153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AFBFC"/>
                  </a:solidFill>
                  <a:ln w="2339" cap="flat">
                    <a:noFill/>
                    <a:prstDash val="solid"/>
                    <a:miter/>
                  </a:ln>
                </p:spPr>
                <p:txBody>
                  <a:bodyPr rtlCol="0" anchor="ctr"/>
                  <a:lstStyle/>
                  <a:p>
                    <a:endParaRPr lang="en-US"/>
                  </a:p>
                </p:txBody>
              </p:sp>
              <p:sp>
                <p:nvSpPr>
                  <p:cNvPr id="782" name="Freeform: Shape 781">
                    <a:extLst>
                      <a:ext uri="{FF2B5EF4-FFF2-40B4-BE49-F238E27FC236}">
                        <a16:creationId xmlns:a16="http://schemas.microsoft.com/office/drawing/2014/main" id="{99B6A069-1075-DD91-6AF4-A99123EB8138}"/>
                      </a:ext>
                    </a:extLst>
                  </p:cNvPr>
                  <p:cNvSpPr/>
                  <p:nvPr userDrawn="1"/>
                </p:nvSpPr>
                <p:spPr>
                  <a:xfrm>
                    <a:off x="8196215" y="45419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AFBFC"/>
                  </a:solidFill>
                  <a:ln w="2339" cap="flat">
                    <a:noFill/>
                    <a:prstDash val="solid"/>
                    <a:miter/>
                  </a:ln>
                </p:spPr>
                <p:txBody>
                  <a:bodyPr rtlCol="0" anchor="ctr"/>
                  <a:lstStyle/>
                  <a:p>
                    <a:endParaRPr lang="en-US"/>
                  </a:p>
                </p:txBody>
              </p:sp>
              <p:sp>
                <p:nvSpPr>
                  <p:cNvPr id="783" name="Freeform: Shape 782">
                    <a:extLst>
                      <a:ext uri="{FF2B5EF4-FFF2-40B4-BE49-F238E27FC236}">
                        <a16:creationId xmlns:a16="http://schemas.microsoft.com/office/drawing/2014/main" id="{DDC37512-AC22-5F18-2500-DCB7D175D662}"/>
                      </a:ext>
                    </a:extLst>
                  </p:cNvPr>
                  <p:cNvSpPr/>
                  <p:nvPr userDrawn="1"/>
                </p:nvSpPr>
                <p:spPr>
                  <a:xfrm>
                    <a:off x="8196098" y="45423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BFBFC"/>
                  </a:solidFill>
                  <a:ln w="2339" cap="flat">
                    <a:noFill/>
                    <a:prstDash val="solid"/>
                    <a:miter/>
                  </a:ln>
                </p:spPr>
                <p:txBody>
                  <a:bodyPr rtlCol="0" anchor="ctr"/>
                  <a:lstStyle/>
                  <a:p>
                    <a:endParaRPr lang="en-US"/>
                  </a:p>
                </p:txBody>
              </p:sp>
              <p:sp>
                <p:nvSpPr>
                  <p:cNvPr id="784" name="Freeform: Shape 783">
                    <a:extLst>
                      <a:ext uri="{FF2B5EF4-FFF2-40B4-BE49-F238E27FC236}">
                        <a16:creationId xmlns:a16="http://schemas.microsoft.com/office/drawing/2014/main" id="{7628D5DD-0507-17AA-9222-AF25BDE88216}"/>
                      </a:ext>
                    </a:extLst>
                  </p:cNvPr>
                  <p:cNvSpPr/>
                  <p:nvPr userDrawn="1"/>
                </p:nvSpPr>
                <p:spPr>
                  <a:xfrm>
                    <a:off x="8195981" y="45427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23"/>
                          <a:pt x="42074" y="9430"/>
                          <a:pt x="42074" y="21060"/>
                        </a:cubicBezTo>
                        <a:close/>
                      </a:path>
                    </a:pathLst>
                  </a:custGeom>
                  <a:solidFill>
                    <a:srgbClr val="FBFBFC"/>
                  </a:solidFill>
                  <a:ln w="2339" cap="flat">
                    <a:noFill/>
                    <a:prstDash val="solid"/>
                    <a:miter/>
                  </a:ln>
                </p:spPr>
                <p:txBody>
                  <a:bodyPr rtlCol="0" anchor="ctr"/>
                  <a:lstStyle/>
                  <a:p>
                    <a:endParaRPr lang="en-US"/>
                  </a:p>
                </p:txBody>
              </p:sp>
              <p:sp>
                <p:nvSpPr>
                  <p:cNvPr id="785" name="Freeform: Shape 784">
                    <a:extLst>
                      <a:ext uri="{FF2B5EF4-FFF2-40B4-BE49-F238E27FC236}">
                        <a16:creationId xmlns:a16="http://schemas.microsoft.com/office/drawing/2014/main" id="{44312CD4-142B-A9A1-10F2-FAB0C78A6D00}"/>
                      </a:ext>
                    </a:extLst>
                  </p:cNvPr>
                  <p:cNvSpPr/>
                  <p:nvPr userDrawn="1"/>
                </p:nvSpPr>
                <p:spPr>
                  <a:xfrm>
                    <a:off x="8195864" y="45431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BFCFD"/>
                  </a:solidFill>
                  <a:ln w="2339" cap="flat">
                    <a:noFill/>
                    <a:prstDash val="solid"/>
                    <a:miter/>
                  </a:ln>
                </p:spPr>
                <p:txBody>
                  <a:bodyPr rtlCol="0" anchor="ctr"/>
                  <a:lstStyle/>
                  <a:p>
                    <a:endParaRPr lang="en-US"/>
                  </a:p>
                </p:txBody>
              </p:sp>
              <p:sp>
                <p:nvSpPr>
                  <p:cNvPr id="786" name="Freeform: Shape 785">
                    <a:extLst>
                      <a:ext uri="{FF2B5EF4-FFF2-40B4-BE49-F238E27FC236}">
                        <a16:creationId xmlns:a16="http://schemas.microsoft.com/office/drawing/2014/main" id="{BF2B258C-C495-3C7E-65BC-1C06AB3B5FA8}"/>
                      </a:ext>
                    </a:extLst>
                  </p:cNvPr>
                  <p:cNvSpPr/>
                  <p:nvPr userDrawn="1"/>
                </p:nvSpPr>
                <p:spPr>
                  <a:xfrm>
                    <a:off x="8195771" y="454361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a:p>
                </p:txBody>
              </p:sp>
              <p:sp>
                <p:nvSpPr>
                  <p:cNvPr id="787" name="Freeform: Shape 786">
                    <a:extLst>
                      <a:ext uri="{FF2B5EF4-FFF2-40B4-BE49-F238E27FC236}">
                        <a16:creationId xmlns:a16="http://schemas.microsoft.com/office/drawing/2014/main" id="{128662C9-1199-E5F6-DE12-C8EE5AE305BC}"/>
                      </a:ext>
                    </a:extLst>
                  </p:cNvPr>
                  <p:cNvSpPr/>
                  <p:nvPr userDrawn="1"/>
                </p:nvSpPr>
                <p:spPr>
                  <a:xfrm>
                    <a:off x="8195677" y="4544035"/>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07"/>
                          <a:pt x="42074" y="21060"/>
                        </a:cubicBezTo>
                        <a:close/>
                      </a:path>
                    </a:pathLst>
                  </a:custGeom>
                  <a:solidFill>
                    <a:srgbClr val="FCFCFD"/>
                  </a:solidFill>
                  <a:ln w="2339" cap="flat">
                    <a:noFill/>
                    <a:prstDash val="solid"/>
                    <a:miter/>
                  </a:ln>
                </p:spPr>
                <p:txBody>
                  <a:bodyPr rtlCol="0" anchor="ctr"/>
                  <a:lstStyle/>
                  <a:p>
                    <a:endParaRPr lang="en-US"/>
                  </a:p>
                </p:txBody>
              </p:sp>
              <p:sp>
                <p:nvSpPr>
                  <p:cNvPr id="788" name="Freeform: Shape 787">
                    <a:extLst>
                      <a:ext uri="{FF2B5EF4-FFF2-40B4-BE49-F238E27FC236}">
                        <a16:creationId xmlns:a16="http://schemas.microsoft.com/office/drawing/2014/main" id="{27741F1D-87ED-80FB-D398-DA9D4AF978FF}"/>
                      </a:ext>
                    </a:extLst>
                  </p:cNvPr>
                  <p:cNvSpPr/>
                  <p:nvPr userDrawn="1"/>
                </p:nvSpPr>
                <p:spPr>
                  <a:xfrm>
                    <a:off x="8195584" y="454443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CFCFD"/>
                  </a:solidFill>
                  <a:ln w="2339" cap="flat">
                    <a:noFill/>
                    <a:prstDash val="solid"/>
                    <a:miter/>
                  </a:ln>
                </p:spPr>
                <p:txBody>
                  <a:bodyPr rtlCol="0" anchor="ctr"/>
                  <a:lstStyle/>
                  <a:p>
                    <a:endParaRPr lang="en-US"/>
                  </a:p>
                </p:txBody>
              </p:sp>
              <p:sp>
                <p:nvSpPr>
                  <p:cNvPr id="789" name="Freeform: Shape 788">
                    <a:extLst>
                      <a:ext uri="{FF2B5EF4-FFF2-40B4-BE49-F238E27FC236}">
                        <a16:creationId xmlns:a16="http://schemas.microsoft.com/office/drawing/2014/main" id="{E730A6D6-4F58-B26F-1FB4-C23A2945B5AB}"/>
                      </a:ext>
                    </a:extLst>
                  </p:cNvPr>
                  <p:cNvSpPr/>
                  <p:nvPr userDrawn="1"/>
                </p:nvSpPr>
                <p:spPr>
                  <a:xfrm>
                    <a:off x="8195490" y="4544854"/>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DFDFD"/>
                  </a:solidFill>
                  <a:ln w="2339" cap="flat">
                    <a:noFill/>
                    <a:prstDash val="solid"/>
                    <a:miter/>
                  </a:ln>
                </p:spPr>
                <p:txBody>
                  <a:bodyPr rtlCol="0" anchor="ctr"/>
                  <a:lstStyle/>
                  <a:p>
                    <a:endParaRPr lang="en-US"/>
                  </a:p>
                </p:txBody>
              </p:sp>
              <p:sp>
                <p:nvSpPr>
                  <p:cNvPr id="790" name="Freeform: Shape 789">
                    <a:extLst>
                      <a:ext uri="{FF2B5EF4-FFF2-40B4-BE49-F238E27FC236}">
                        <a16:creationId xmlns:a16="http://schemas.microsoft.com/office/drawing/2014/main" id="{68259089-61B5-BB40-535E-BBD2D9B0696E}"/>
                      </a:ext>
                    </a:extLst>
                  </p:cNvPr>
                  <p:cNvSpPr/>
                  <p:nvPr userDrawn="1"/>
                </p:nvSpPr>
                <p:spPr>
                  <a:xfrm>
                    <a:off x="8195420" y="454525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DFE"/>
                  </a:solidFill>
                  <a:ln w="2339" cap="flat">
                    <a:noFill/>
                    <a:prstDash val="solid"/>
                    <a:miter/>
                  </a:ln>
                </p:spPr>
                <p:txBody>
                  <a:bodyPr rtlCol="0" anchor="ctr"/>
                  <a:lstStyle/>
                  <a:p>
                    <a:endParaRPr lang="en-US"/>
                  </a:p>
                </p:txBody>
              </p:sp>
              <p:sp>
                <p:nvSpPr>
                  <p:cNvPr id="791" name="Freeform: Shape 790">
                    <a:extLst>
                      <a:ext uri="{FF2B5EF4-FFF2-40B4-BE49-F238E27FC236}">
                        <a16:creationId xmlns:a16="http://schemas.microsoft.com/office/drawing/2014/main" id="{D1AB3285-EBD5-D9DF-5986-8FAAB1322376}"/>
                      </a:ext>
                    </a:extLst>
                  </p:cNvPr>
                  <p:cNvSpPr/>
                  <p:nvPr userDrawn="1"/>
                </p:nvSpPr>
                <p:spPr>
                  <a:xfrm>
                    <a:off x="8195350" y="4545673"/>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DFDFE"/>
                  </a:solidFill>
                  <a:ln w="2339" cap="flat">
                    <a:noFill/>
                    <a:prstDash val="solid"/>
                    <a:miter/>
                  </a:ln>
                </p:spPr>
                <p:txBody>
                  <a:bodyPr rtlCol="0" anchor="ctr"/>
                  <a:lstStyle/>
                  <a:p>
                    <a:endParaRPr lang="en-US"/>
                  </a:p>
                </p:txBody>
              </p:sp>
              <p:sp>
                <p:nvSpPr>
                  <p:cNvPr id="792" name="Freeform: Shape 791">
                    <a:extLst>
                      <a:ext uri="{FF2B5EF4-FFF2-40B4-BE49-F238E27FC236}">
                        <a16:creationId xmlns:a16="http://schemas.microsoft.com/office/drawing/2014/main" id="{FFB86897-0B8F-6244-A2B9-F96181AA9222}"/>
                      </a:ext>
                    </a:extLst>
                  </p:cNvPr>
                  <p:cNvSpPr/>
                  <p:nvPr userDrawn="1"/>
                </p:nvSpPr>
                <p:spPr>
                  <a:xfrm>
                    <a:off x="8195279" y="454607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DFEFE"/>
                  </a:solidFill>
                  <a:ln w="2339" cap="flat">
                    <a:noFill/>
                    <a:prstDash val="solid"/>
                    <a:miter/>
                  </a:ln>
                </p:spPr>
                <p:txBody>
                  <a:bodyPr rtlCol="0" anchor="ctr"/>
                  <a:lstStyle/>
                  <a:p>
                    <a:endParaRPr lang="en-US"/>
                  </a:p>
                </p:txBody>
              </p:sp>
              <p:sp>
                <p:nvSpPr>
                  <p:cNvPr id="793" name="Freeform: Shape 792">
                    <a:extLst>
                      <a:ext uri="{FF2B5EF4-FFF2-40B4-BE49-F238E27FC236}">
                        <a16:creationId xmlns:a16="http://schemas.microsoft.com/office/drawing/2014/main" id="{C8CADA43-38A7-FEED-4B0F-A5E7EE2CC868}"/>
                      </a:ext>
                    </a:extLst>
                  </p:cNvPr>
                  <p:cNvSpPr/>
                  <p:nvPr userDrawn="1"/>
                </p:nvSpPr>
                <p:spPr>
                  <a:xfrm>
                    <a:off x="8195233" y="4546492"/>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EFEFE"/>
                  </a:solidFill>
                  <a:ln w="2339" cap="flat">
                    <a:noFill/>
                    <a:prstDash val="solid"/>
                    <a:miter/>
                  </a:ln>
                </p:spPr>
                <p:txBody>
                  <a:bodyPr rtlCol="0" anchor="ctr"/>
                  <a:lstStyle/>
                  <a:p>
                    <a:endParaRPr lang="en-US"/>
                  </a:p>
                </p:txBody>
              </p:sp>
              <p:sp>
                <p:nvSpPr>
                  <p:cNvPr id="794" name="Freeform: Shape 793">
                    <a:extLst>
                      <a:ext uri="{FF2B5EF4-FFF2-40B4-BE49-F238E27FC236}">
                        <a16:creationId xmlns:a16="http://schemas.microsoft.com/office/drawing/2014/main" id="{C5B888CC-9BE6-AD6D-1BC2-E54C9AED0EDE}"/>
                      </a:ext>
                    </a:extLst>
                  </p:cNvPr>
                  <p:cNvSpPr/>
                  <p:nvPr userDrawn="1"/>
                </p:nvSpPr>
                <p:spPr>
                  <a:xfrm>
                    <a:off x="8195162" y="454689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EFEFE"/>
                  </a:solidFill>
                  <a:ln w="2339" cap="flat">
                    <a:noFill/>
                    <a:prstDash val="solid"/>
                    <a:miter/>
                  </a:ln>
                </p:spPr>
                <p:txBody>
                  <a:bodyPr rtlCol="0" anchor="ctr"/>
                  <a:lstStyle/>
                  <a:p>
                    <a:endParaRPr lang="en-US"/>
                  </a:p>
                </p:txBody>
              </p:sp>
              <p:sp>
                <p:nvSpPr>
                  <p:cNvPr id="795" name="Freeform: Shape 794">
                    <a:extLst>
                      <a:ext uri="{FF2B5EF4-FFF2-40B4-BE49-F238E27FC236}">
                        <a16:creationId xmlns:a16="http://schemas.microsoft.com/office/drawing/2014/main" id="{0D2A4F54-FFFE-7280-B4FD-0DED9E738478}"/>
                      </a:ext>
                    </a:extLst>
                  </p:cNvPr>
                  <p:cNvSpPr/>
                  <p:nvPr userDrawn="1"/>
                </p:nvSpPr>
                <p:spPr>
                  <a:xfrm>
                    <a:off x="8195116" y="4547311"/>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0"/>
                          <a:pt x="42074" y="9430"/>
                          <a:pt x="42074" y="21060"/>
                        </a:cubicBezTo>
                        <a:close/>
                      </a:path>
                    </a:pathLst>
                  </a:custGeom>
                  <a:solidFill>
                    <a:srgbClr val="FEFEFF"/>
                  </a:solidFill>
                  <a:ln w="2339" cap="flat">
                    <a:noFill/>
                    <a:prstDash val="solid"/>
                    <a:miter/>
                  </a:ln>
                </p:spPr>
                <p:txBody>
                  <a:bodyPr rtlCol="0" anchor="ctr"/>
                  <a:lstStyle/>
                  <a:p>
                    <a:endParaRPr lang="en-US"/>
                  </a:p>
                </p:txBody>
              </p:sp>
              <p:sp>
                <p:nvSpPr>
                  <p:cNvPr id="796" name="Freeform: Shape 795">
                    <a:extLst>
                      <a:ext uri="{FF2B5EF4-FFF2-40B4-BE49-F238E27FC236}">
                        <a16:creationId xmlns:a16="http://schemas.microsoft.com/office/drawing/2014/main" id="{94108A76-BB67-DD4E-E8E7-9BB6B3DF6626}"/>
                      </a:ext>
                    </a:extLst>
                  </p:cNvPr>
                  <p:cNvSpPr/>
                  <p:nvPr userDrawn="1"/>
                </p:nvSpPr>
                <p:spPr>
                  <a:xfrm>
                    <a:off x="8195069" y="4547709"/>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67" y="23"/>
                          <a:pt x="42074" y="9430"/>
                          <a:pt x="42074" y="21060"/>
                        </a:cubicBezTo>
                        <a:close/>
                      </a:path>
                    </a:pathLst>
                  </a:custGeom>
                  <a:solidFill>
                    <a:srgbClr val="FFFFFF"/>
                  </a:solidFill>
                  <a:ln w="2339" cap="flat">
                    <a:noFill/>
                    <a:prstDash val="solid"/>
                    <a:miter/>
                  </a:ln>
                </p:spPr>
                <p:txBody>
                  <a:bodyPr rtlCol="0" anchor="ctr"/>
                  <a:lstStyle/>
                  <a:p>
                    <a:endParaRPr lang="en-US"/>
                  </a:p>
                </p:txBody>
              </p:sp>
              <p:sp>
                <p:nvSpPr>
                  <p:cNvPr id="797" name="Freeform: Shape 796">
                    <a:extLst>
                      <a:ext uri="{FF2B5EF4-FFF2-40B4-BE49-F238E27FC236}">
                        <a16:creationId xmlns:a16="http://schemas.microsoft.com/office/drawing/2014/main" id="{32343370-D8A6-368C-45D2-8CFF6B95A804}"/>
                      </a:ext>
                    </a:extLst>
                  </p:cNvPr>
                  <p:cNvSpPr/>
                  <p:nvPr userDrawn="1"/>
                </p:nvSpPr>
                <p:spPr>
                  <a:xfrm>
                    <a:off x="8195045" y="4548130"/>
                    <a:ext cx="42073" cy="42096"/>
                  </a:xfrm>
                  <a:custGeom>
                    <a:avLst/>
                    <a:gdLst>
                      <a:gd name="connsiteX0" fmla="*/ 42074 w 42073"/>
                      <a:gd name="connsiteY0" fmla="*/ 21060 h 42096"/>
                      <a:gd name="connsiteX1" fmla="*/ 21037 w 42073"/>
                      <a:gd name="connsiteY1" fmla="*/ 42097 h 42096"/>
                      <a:gd name="connsiteX2" fmla="*/ 0 w 42073"/>
                      <a:gd name="connsiteY2" fmla="*/ 21060 h 42096"/>
                      <a:gd name="connsiteX3" fmla="*/ 21037 w 42073"/>
                      <a:gd name="connsiteY3" fmla="*/ 0 h 42096"/>
                      <a:gd name="connsiteX4" fmla="*/ 42074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42074" y="21060"/>
                        </a:moveTo>
                        <a:cubicBezTo>
                          <a:pt x="42074" y="32667"/>
                          <a:pt x="32643" y="42097"/>
                          <a:pt x="21037" y="42097"/>
                        </a:cubicBezTo>
                        <a:cubicBezTo>
                          <a:pt x="9407" y="42097"/>
                          <a:pt x="0" y="32667"/>
                          <a:pt x="0" y="21060"/>
                        </a:cubicBezTo>
                        <a:cubicBezTo>
                          <a:pt x="0" y="9430"/>
                          <a:pt x="9430" y="0"/>
                          <a:pt x="21037" y="0"/>
                        </a:cubicBezTo>
                        <a:cubicBezTo>
                          <a:pt x="32643" y="0"/>
                          <a:pt x="42074" y="9430"/>
                          <a:pt x="42074" y="21060"/>
                        </a:cubicBezTo>
                        <a:close/>
                      </a:path>
                    </a:pathLst>
                  </a:custGeom>
                  <a:solidFill>
                    <a:srgbClr val="FFFFFF"/>
                  </a:solidFill>
                  <a:ln w="2339" cap="flat">
                    <a:noFill/>
                    <a:prstDash val="solid"/>
                    <a:miter/>
                  </a:ln>
                </p:spPr>
                <p:txBody>
                  <a:bodyPr rtlCol="0" anchor="ctr"/>
                  <a:lstStyle/>
                  <a:p>
                    <a:endParaRPr lang="en-US"/>
                  </a:p>
                </p:txBody>
              </p:sp>
            </p:grpSp>
            <p:grpSp>
              <p:nvGrpSpPr>
                <p:cNvPr id="798" name="Graphic 4">
                  <a:extLst>
                    <a:ext uri="{FF2B5EF4-FFF2-40B4-BE49-F238E27FC236}">
                      <a16:creationId xmlns:a16="http://schemas.microsoft.com/office/drawing/2014/main" id="{49498D74-2319-C3AA-1A1F-A570ED918020}"/>
                    </a:ext>
                  </a:extLst>
                </p:cNvPr>
                <p:cNvGrpSpPr/>
                <p:nvPr userDrawn="1"/>
              </p:nvGrpSpPr>
              <p:grpSpPr>
                <a:xfrm>
                  <a:off x="8382317" y="4482867"/>
                  <a:ext cx="144917" cy="107360"/>
                  <a:chOff x="8382317" y="4482867"/>
                  <a:chExt cx="144917" cy="107359"/>
                </a:xfrm>
              </p:grpSpPr>
              <p:sp>
                <p:nvSpPr>
                  <p:cNvPr id="799" name="Freeform: Shape 798">
                    <a:extLst>
                      <a:ext uri="{FF2B5EF4-FFF2-40B4-BE49-F238E27FC236}">
                        <a16:creationId xmlns:a16="http://schemas.microsoft.com/office/drawing/2014/main" id="{ED981670-0184-7700-BB91-53B97CEE0F22}"/>
                      </a:ext>
                    </a:extLst>
                  </p:cNvPr>
                  <p:cNvSpPr/>
                  <p:nvPr userDrawn="1"/>
                </p:nvSpPr>
                <p:spPr>
                  <a:xfrm>
                    <a:off x="8382317" y="448286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1B8CC"/>
                  </a:solidFill>
                  <a:ln w="2339" cap="flat">
                    <a:noFill/>
                    <a:prstDash val="solid"/>
                    <a:miter/>
                  </a:ln>
                </p:spPr>
                <p:txBody>
                  <a:bodyPr rtlCol="0" anchor="ctr"/>
                  <a:lstStyle/>
                  <a:p>
                    <a:endParaRPr lang="en-US"/>
                  </a:p>
                </p:txBody>
              </p:sp>
              <p:sp>
                <p:nvSpPr>
                  <p:cNvPr id="800" name="Freeform: Shape 799">
                    <a:extLst>
                      <a:ext uri="{FF2B5EF4-FFF2-40B4-BE49-F238E27FC236}">
                        <a16:creationId xmlns:a16="http://schemas.microsoft.com/office/drawing/2014/main" id="{AFCD6D97-A79B-04DA-23CA-1EA93533E7F5}"/>
                      </a:ext>
                    </a:extLst>
                  </p:cNvPr>
                  <p:cNvSpPr/>
                  <p:nvPr userDrawn="1"/>
                </p:nvSpPr>
                <p:spPr>
                  <a:xfrm>
                    <a:off x="8382902" y="448293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1B8CC"/>
                  </a:solidFill>
                  <a:ln w="2339" cap="flat">
                    <a:noFill/>
                    <a:prstDash val="solid"/>
                    <a:miter/>
                  </a:ln>
                </p:spPr>
                <p:txBody>
                  <a:bodyPr rtlCol="0" anchor="ctr"/>
                  <a:lstStyle/>
                  <a:p>
                    <a:endParaRPr lang="en-US"/>
                  </a:p>
                </p:txBody>
              </p:sp>
              <p:sp>
                <p:nvSpPr>
                  <p:cNvPr id="801" name="Freeform: Shape 800">
                    <a:extLst>
                      <a:ext uri="{FF2B5EF4-FFF2-40B4-BE49-F238E27FC236}">
                        <a16:creationId xmlns:a16="http://schemas.microsoft.com/office/drawing/2014/main" id="{A743CDEC-67F4-3441-2DFE-279E91FAD764}"/>
                      </a:ext>
                    </a:extLst>
                  </p:cNvPr>
                  <p:cNvSpPr/>
                  <p:nvPr userDrawn="1"/>
                </p:nvSpPr>
                <p:spPr>
                  <a:xfrm>
                    <a:off x="8383464" y="448303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B2B9CC"/>
                  </a:solidFill>
                  <a:ln w="2339" cap="flat">
                    <a:noFill/>
                    <a:prstDash val="solid"/>
                    <a:miter/>
                  </a:ln>
                </p:spPr>
                <p:txBody>
                  <a:bodyPr rtlCol="0" anchor="ctr"/>
                  <a:lstStyle/>
                  <a:p>
                    <a:endParaRPr lang="en-US"/>
                  </a:p>
                </p:txBody>
              </p:sp>
              <p:sp>
                <p:nvSpPr>
                  <p:cNvPr id="802" name="Freeform: Shape 801">
                    <a:extLst>
                      <a:ext uri="{FF2B5EF4-FFF2-40B4-BE49-F238E27FC236}">
                        <a16:creationId xmlns:a16="http://schemas.microsoft.com/office/drawing/2014/main" id="{2603FD01-BD6E-D78B-D332-F1BAB32D2458}"/>
                      </a:ext>
                    </a:extLst>
                  </p:cNvPr>
                  <p:cNvSpPr/>
                  <p:nvPr userDrawn="1"/>
                </p:nvSpPr>
                <p:spPr>
                  <a:xfrm>
                    <a:off x="8384025" y="44831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a:p>
                </p:txBody>
              </p:sp>
              <p:sp>
                <p:nvSpPr>
                  <p:cNvPr id="803" name="Freeform: Shape 802">
                    <a:extLst>
                      <a:ext uri="{FF2B5EF4-FFF2-40B4-BE49-F238E27FC236}">
                        <a16:creationId xmlns:a16="http://schemas.microsoft.com/office/drawing/2014/main" id="{C5B4CED5-AC2F-87AD-A39F-0BDECFF309E2}"/>
                      </a:ext>
                    </a:extLst>
                  </p:cNvPr>
                  <p:cNvSpPr/>
                  <p:nvPr userDrawn="1"/>
                </p:nvSpPr>
                <p:spPr>
                  <a:xfrm>
                    <a:off x="8384587" y="448321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2B9CD"/>
                  </a:solidFill>
                  <a:ln w="2339" cap="flat">
                    <a:noFill/>
                    <a:prstDash val="solid"/>
                    <a:miter/>
                  </a:ln>
                </p:spPr>
                <p:txBody>
                  <a:bodyPr rtlCol="0" anchor="ctr"/>
                  <a:lstStyle/>
                  <a:p>
                    <a:endParaRPr lang="en-US"/>
                  </a:p>
                </p:txBody>
              </p:sp>
              <p:sp>
                <p:nvSpPr>
                  <p:cNvPr id="804" name="Freeform: Shape 803">
                    <a:extLst>
                      <a:ext uri="{FF2B5EF4-FFF2-40B4-BE49-F238E27FC236}">
                        <a16:creationId xmlns:a16="http://schemas.microsoft.com/office/drawing/2014/main" id="{CAEC5832-65AC-06B3-CA58-C6252632C95F}"/>
                      </a:ext>
                    </a:extLst>
                  </p:cNvPr>
                  <p:cNvSpPr/>
                  <p:nvPr userDrawn="1"/>
                </p:nvSpPr>
                <p:spPr>
                  <a:xfrm>
                    <a:off x="8385148" y="448328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3B9CD"/>
                  </a:solidFill>
                  <a:ln w="2339" cap="flat">
                    <a:noFill/>
                    <a:prstDash val="solid"/>
                    <a:miter/>
                  </a:ln>
                </p:spPr>
                <p:txBody>
                  <a:bodyPr rtlCol="0" anchor="ctr"/>
                  <a:lstStyle/>
                  <a:p>
                    <a:endParaRPr lang="en-US"/>
                  </a:p>
                </p:txBody>
              </p:sp>
              <p:sp>
                <p:nvSpPr>
                  <p:cNvPr id="805" name="Freeform: Shape 804">
                    <a:extLst>
                      <a:ext uri="{FF2B5EF4-FFF2-40B4-BE49-F238E27FC236}">
                        <a16:creationId xmlns:a16="http://schemas.microsoft.com/office/drawing/2014/main" id="{B71FDBD8-6C93-FD72-06A0-63655161C631}"/>
                      </a:ext>
                    </a:extLst>
                  </p:cNvPr>
                  <p:cNvSpPr/>
                  <p:nvPr userDrawn="1"/>
                </p:nvSpPr>
                <p:spPr>
                  <a:xfrm>
                    <a:off x="8385710" y="448338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a:p>
                </p:txBody>
              </p:sp>
              <p:sp>
                <p:nvSpPr>
                  <p:cNvPr id="806" name="Freeform: Shape 805">
                    <a:extLst>
                      <a:ext uri="{FF2B5EF4-FFF2-40B4-BE49-F238E27FC236}">
                        <a16:creationId xmlns:a16="http://schemas.microsoft.com/office/drawing/2014/main" id="{7FA4A341-1B3D-4B9D-C9A2-ECF23B873006}"/>
                      </a:ext>
                    </a:extLst>
                  </p:cNvPr>
                  <p:cNvSpPr/>
                  <p:nvPr userDrawn="1"/>
                </p:nvSpPr>
                <p:spPr>
                  <a:xfrm>
                    <a:off x="8386272" y="44834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D"/>
                  </a:solidFill>
                  <a:ln w="2339" cap="flat">
                    <a:noFill/>
                    <a:prstDash val="solid"/>
                    <a:miter/>
                  </a:ln>
                </p:spPr>
                <p:txBody>
                  <a:bodyPr rtlCol="0" anchor="ctr"/>
                  <a:lstStyle/>
                  <a:p>
                    <a:endParaRPr lang="en-US"/>
                  </a:p>
                </p:txBody>
              </p:sp>
              <p:sp>
                <p:nvSpPr>
                  <p:cNvPr id="807" name="Freeform: Shape 806">
                    <a:extLst>
                      <a:ext uri="{FF2B5EF4-FFF2-40B4-BE49-F238E27FC236}">
                        <a16:creationId xmlns:a16="http://schemas.microsoft.com/office/drawing/2014/main" id="{907757A9-B29D-11C1-2F69-B5F02AF3991D}"/>
                      </a:ext>
                    </a:extLst>
                  </p:cNvPr>
                  <p:cNvSpPr/>
                  <p:nvPr userDrawn="1"/>
                </p:nvSpPr>
                <p:spPr>
                  <a:xfrm>
                    <a:off x="8386833" y="44835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3BACE"/>
                  </a:solidFill>
                  <a:ln w="2339" cap="flat">
                    <a:noFill/>
                    <a:prstDash val="solid"/>
                    <a:miter/>
                  </a:ln>
                </p:spPr>
                <p:txBody>
                  <a:bodyPr rtlCol="0" anchor="ctr"/>
                  <a:lstStyle/>
                  <a:p>
                    <a:endParaRPr lang="en-US"/>
                  </a:p>
                </p:txBody>
              </p:sp>
              <p:sp>
                <p:nvSpPr>
                  <p:cNvPr id="808" name="Freeform: Shape 807">
                    <a:extLst>
                      <a:ext uri="{FF2B5EF4-FFF2-40B4-BE49-F238E27FC236}">
                        <a16:creationId xmlns:a16="http://schemas.microsoft.com/office/drawing/2014/main" id="{25D3B317-3A83-47A3-833B-9DC216025290}"/>
                      </a:ext>
                    </a:extLst>
                  </p:cNvPr>
                  <p:cNvSpPr/>
                  <p:nvPr userDrawn="1"/>
                </p:nvSpPr>
                <p:spPr>
                  <a:xfrm>
                    <a:off x="8387395" y="448366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4BBCE"/>
                  </a:solidFill>
                  <a:ln w="2339" cap="flat">
                    <a:noFill/>
                    <a:prstDash val="solid"/>
                    <a:miter/>
                  </a:ln>
                </p:spPr>
                <p:txBody>
                  <a:bodyPr rtlCol="0" anchor="ctr"/>
                  <a:lstStyle/>
                  <a:p>
                    <a:endParaRPr lang="en-US"/>
                  </a:p>
                </p:txBody>
              </p:sp>
              <p:sp>
                <p:nvSpPr>
                  <p:cNvPr id="809" name="Freeform: Shape 808">
                    <a:extLst>
                      <a:ext uri="{FF2B5EF4-FFF2-40B4-BE49-F238E27FC236}">
                        <a16:creationId xmlns:a16="http://schemas.microsoft.com/office/drawing/2014/main" id="{C3C666BD-CB0F-7D1E-666B-E5E7A55FB1CB}"/>
                      </a:ext>
                    </a:extLst>
                  </p:cNvPr>
                  <p:cNvSpPr/>
                  <p:nvPr userDrawn="1"/>
                </p:nvSpPr>
                <p:spPr>
                  <a:xfrm>
                    <a:off x="8387956" y="448375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a:p>
                </p:txBody>
              </p:sp>
              <p:sp>
                <p:nvSpPr>
                  <p:cNvPr id="810" name="Freeform: Shape 809">
                    <a:extLst>
                      <a:ext uri="{FF2B5EF4-FFF2-40B4-BE49-F238E27FC236}">
                        <a16:creationId xmlns:a16="http://schemas.microsoft.com/office/drawing/2014/main" id="{37A87CAF-D1AA-440B-8A47-1971216A4DDF}"/>
                      </a:ext>
                    </a:extLst>
                  </p:cNvPr>
                  <p:cNvSpPr/>
                  <p:nvPr userDrawn="1"/>
                </p:nvSpPr>
                <p:spPr>
                  <a:xfrm>
                    <a:off x="8388518" y="448385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4BBCE"/>
                  </a:solidFill>
                  <a:ln w="2339" cap="flat">
                    <a:noFill/>
                    <a:prstDash val="solid"/>
                    <a:miter/>
                  </a:ln>
                </p:spPr>
                <p:txBody>
                  <a:bodyPr rtlCol="0" anchor="ctr"/>
                  <a:lstStyle/>
                  <a:p>
                    <a:endParaRPr lang="en-US"/>
                  </a:p>
                </p:txBody>
              </p:sp>
              <p:sp>
                <p:nvSpPr>
                  <p:cNvPr id="811" name="Freeform: Shape 810">
                    <a:extLst>
                      <a:ext uri="{FF2B5EF4-FFF2-40B4-BE49-F238E27FC236}">
                        <a16:creationId xmlns:a16="http://schemas.microsoft.com/office/drawing/2014/main" id="{AFD77177-AF02-C5BC-2635-01732B3AA46A}"/>
                      </a:ext>
                    </a:extLst>
                  </p:cNvPr>
                  <p:cNvSpPr/>
                  <p:nvPr userDrawn="1"/>
                </p:nvSpPr>
                <p:spPr>
                  <a:xfrm>
                    <a:off x="8389080" y="44839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BCE"/>
                  </a:solidFill>
                  <a:ln w="2339" cap="flat">
                    <a:noFill/>
                    <a:prstDash val="solid"/>
                    <a:miter/>
                  </a:ln>
                </p:spPr>
                <p:txBody>
                  <a:bodyPr rtlCol="0" anchor="ctr"/>
                  <a:lstStyle/>
                  <a:p>
                    <a:endParaRPr lang="en-US"/>
                  </a:p>
                </p:txBody>
              </p:sp>
              <p:sp>
                <p:nvSpPr>
                  <p:cNvPr id="812" name="Freeform: Shape 811">
                    <a:extLst>
                      <a:ext uri="{FF2B5EF4-FFF2-40B4-BE49-F238E27FC236}">
                        <a16:creationId xmlns:a16="http://schemas.microsoft.com/office/drawing/2014/main" id="{1E67FAE5-43C7-B346-5BFB-EB448F1FC87E}"/>
                      </a:ext>
                    </a:extLst>
                  </p:cNvPr>
                  <p:cNvSpPr/>
                  <p:nvPr userDrawn="1"/>
                </p:nvSpPr>
                <p:spPr>
                  <a:xfrm>
                    <a:off x="8389641" y="448406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5BCCF"/>
                  </a:solidFill>
                  <a:ln w="2339" cap="flat">
                    <a:noFill/>
                    <a:prstDash val="solid"/>
                    <a:miter/>
                  </a:ln>
                </p:spPr>
                <p:txBody>
                  <a:bodyPr rtlCol="0" anchor="ctr"/>
                  <a:lstStyle/>
                  <a:p>
                    <a:endParaRPr lang="en-US"/>
                  </a:p>
                </p:txBody>
              </p:sp>
              <p:sp>
                <p:nvSpPr>
                  <p:cNvPr id="813" name="Freeform: Shape 812">
                    <a:extLst>
                      <a:ext uri="{FF2B5EF4-FFF2-40B4-BE49-F238E27FC236}">
                        <a16:creationId xmlns:a16="http://schemas.microsoft.com/office/drawing/2014/main" id="{A4D46D91-55AF-0104-B25E-3211F1702156}"/>
                      </a:ext>
                    </a:extLst>
                  </p:cNvPr>
                  <p:cNvSpPr/>
                  <p:nvPr userDrawn="1"/>
                </p:nvSpPr>
                <p:spPr>
                  <a:xfrm>
                    <a:off x="8390203" y="448415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5BCCF"/>
                  </a:solidFill>
                  <a:ln w="2339" cap="flat">
                    <a:noFill/>
                    <a:prstDash val="solid"/>
                    <a:miter/>
                  </a:ln>
                </p:spPr>
                <p:txBody>
                  <a:bodyPr rtlCol="0" anchor="ctr"/>
                  <a:lstStyle/>
                  <a:p>
                    <a:endParaRPr lang="en-US"/>
                  </a:p>
                </p:txBody>
              </p:sp>
              <p:sp>
                <p:nvSpPr>
                  <p:cNvPr id="814" name="Freeform: Shape 813">
                    <a:extLst>
                      <a:ext uri="{FF2B5EF4-FFF2-40B4-BE49-F238E27FC236}">
                        <a16:creationId xmlns:a16="http://schemas.microsoft.com/office/drawing/2014/main" id="{96B013E7-75B3-858E-DE06-8C55F0263CD3}"/>
                      </a:ext>
                    </a:extLst>
                  </p:cNvPr>
                  <p:cNvSpPr/>
                  <p:nvPr userDrawn="1"/>
                </p:nvSpPr>
                <p:spPr>
                  <a:xfrm>
                    <a:off x="8390764" y="44842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6BCCF"/>
                  </a:solidFill>
                  <a:ln w="2339" cap="flat">
                    <a:noFill/>
                    <a:prstDash val="solid"/>
                    <a:miter/>
                  </a:ln>
                </p:spPr>
                <p:txBody>
                  <a:bodyPr rtlCol="0" anchor="ctr"/>
                  <a:lstStyle/>
                  <a:p>
                    <a:endParaRPr lang="en-US"/>
                  </a:p>
                </p:txBody>
              </p:sp>
              <p:sp>
                <p:nvSpPr>
                  <p:cNvPr id="815" name="Freeform: Shape 814">
                    <a:extLst>
                      <a:ext uri="{FF2B5EF4-FFF2-40B4-BE49-F238E27FC236}">
                        <a16:creationId xmlns:a16="http://schemas.microsoft.com/office/drawing/2014/main" id="{A8AE9EBE-06C9-AA58-9693-C2B56F78E931}"/>
                      </a:ext>
                    </a:extLst>
                  </p:cNvPr>
                  <p:cNvSpPr/>
                  <p:nvPr userDrawn="1"/>
                </p:nvSpPr>
                <p:spPr>
                  <a:xfrm>
                    <a:off x="8391326" y="44843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6BCCF"/>
                  </a:solidFill>
                  <a:ln w="2339" cap="flat">
                    <a:noFill/>
                    <a:prstDash val="solid"/>
                    <a:miter/>
                  </a:ln>
                </p:spPr>
                <p:txBody>
                  <a:bodyPr rtlCol="0" anchor="ctr"/>
                  <a:lstStyle/>
                  <a:p>
                    <a:endParaRPr lang="en-US"/>
                  </a:p>
                </p:txBody>
              </p:sp>
              <p:sp>
                <p:nvSpPr>
                  <p:cNvPr id="816" name="Freeform: Shape 815">
                    <a:extLst>
                      <a:ext uri="{FF2B5EF4-FFF2-40B4-BE49-F238E27FC236}">
                        <a16:creationId xmlns:a16="http://schemas.microsoft.com/office/drawing/2014/main" id="{BFCD30C8-9835-07FA-7E0A-8093F88C3F67}"/>
                      </a:ext>
                    </a:extLst>
                  </p:cNvPr>
                  <p:cNvSpPr/>
                  <p:nvPr userDrawn="1"/>
                </p:nvSpPr>
                <p:spPr>
                  <a:xfrm>
                    <a:off x="8391888" y="448445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6BDCF"/>
                  </a:solidFill>
                  <a:ln w="2339" cap="flat">
                    <a:noFill/>
                    <a:prstDash val="solid"/>
                    <a:miter/>
                  </a:ln>
                </p:spPr>
                <p:txBody>
                  <a:bodyPr rtlCol="0" anchor="ctr"/>
                  <a:lstStyle/>
                  <a:p>
                    <a:endParaRPr lang="en-US"/>
                  </a:p>
                </p:txBody>
              </p:sp>
              <p:sp>
                <p:nvSpPr>
                  <p:cNvPr id="817" name="Freeform: Shape 816">
                    <a:extLst>
                      <a:ext uri="{FF2B5EF4-FFF2-40B4-BE49-F238E27FC236}">
                        <a16:creationId xmlns:a16="http://schemas.microsoft.com/office/drawing/2014/main" id="{6D01859F-E64F-AF73-0866-9BC07D131FCF}"/>
                      </a:ext>
                    </a:extLst>
                  </p:cNvPr>
                  <p:cNvSpPr/>
                  <p:nvPr userDrawn="1"/>
                </p:nvSpPr>
                <p:spPr>
                  <a:xfrm>
                    <a:off x="8392449" y="448457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7BDD0"/>
                  </a:solidFill>
                  <a:ln w="2339" cap="flat">
                    <a:noFill/>
                    <a:prstDash val="solid"/>
                    <a:miter/>
                  </a:ln>
                </p:spPr>
                <p:txBody>
                  <a:bodyPr rtlCol="0" anchor="ctr"/>
                  <a:lstStyle/>
                  <a:p>
                    <a:endParaRPr lang="en-US"/>
                  </a:p>
                </p:txBody>
              </p:sp>
              <p:sp>
                <p:nvSpPr>
                  <p:cNvPr id="818" name="Freeform: Shape 817">
                    <a:extLst>
                      <a:ext uri="{FF2B5EF4-FFF2-40B4-BE49-F238E27FC236}">
                        <a16:creationId xmlns:a16="http://schemas.microsoft.com/office/drawing/2014/main" id="{75FBFA9A-8FCD-D9C9-46E3-72D4A4F5AACA}"/>
                      </a:ext>
                    </a:extLst>
                  </p:cNvPr>
                  <p:cNvSpPr/>
                  <p:nvPr userDrawn="1"/>
                </p:nvSpPr>
                <p:spPr>
                  <a:xfrm>
                    <a:off x="8392987" y="448466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7BDD0"/>
                  </a:solidFill>
                  <a:ln w="2339" cap="flat">
                    <a:noFill/>
                    <a:prstDash val="solid"/>
                    <a:miter/>
                  </a:ln>
                </p:spPr>
                <p:txBody>
                  <a:bodyPr rtlCol="0" anchor="ctr"/>
                  <a:lstStyle/>
                  <a:p>
                    <a:endParaRPr lang="en-US"/>
                  </a:p>
                </p:txBody>
              </p:sp>
              <p:sp>
                <p:nvSpPr>
                  <p:cNvPr id="819" name="Freeform: Shape 818">
                    <a:extLst>
                      <a:ext uri="{FF2B5EF4-FFF2-40B4-BE49-F238E27FC236}">
                        <a16:creationId xmlns:a16="http://schemas.microsoft.com/office/drawing/2014/main" id="{9E481C85-8E2E-F969-0175-1C3A5D6A5C6A}"/>
                      </a:ext>
                    </a:extLst>
                  </p:cNvPr>
                  <p:cNvSpPr/>
                  <p:nvPr userDrawn="1"/>
                </p:nvSpPr>
                <p:spPr>
                  <a:xfrm>
                    <a:off x="8393549" y="448478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7BED0"/>
                  </a:solidFill>
                  <a:ln w="2339" cap="flat">
                    <a:noFill/>
                    <a:prstDash val="solid"/>
                    <a:miter/>
                  </a:ln>
                </p:spPr>
                <p:txBody>
                  <a:bodyPr rtlCol="0" anchor="ctr"/>
                  <a:lstStyle/>
                  <a:p>
                    <a:endParaRPr lang="en-US"/>
                  </a:p>
                </p:txBody>
              </p:sp>
              <p:sp>
                <p:nvSpPr>
                  <p:cNvPr id="820" name="Freeform: Shape 819">
                    <a:extLst>
                      <a:ext uri="{FF2B5EF4-FFF2-40B4-BE49-F238E27FC236}">
                        <a16:creationId xmlns:a16="http://schemas.microsoft.com/office/drawing/2014/main" id="{8B0188C3-962F-ACA0-337A-FD574CDF28AA}"/>
                      </a:ext>
                    </a:extLst>
                  </p:cNvPr>
                  <p:cNvSpPr/>
                  <p:nvPr userDrawn="1"/>
                </p:nvSpPr>
                <p:spPr>
                  <a:xfrm>
                    <a:off x="8394111" y="44849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7BED0"/>
                  </a:solidFill>
                  <a:ln w="2339" cap="flat">
                    <a:noFill/>
                    <a:prstDash val="solid"/>
                    <a:miter/>
                  </a:ln>
                </p:spPr>
                <p:txBody>
                  <a:bodyPr rtlCol="0" anchor="ctr"/>
                  <a:lstStyle/>
                  <a:p>
                    <a:endParaRPr lang="en-US"/>
                  </a:p>
                </p:txBody>
              </p:sp>
              <p:sp>
                <p:nvSpPr>
                  <p:cNvPr id="821" name="Freeform: Shape 820">
                    <a:extLst>
                      <a:ext uri="{FF2B5EF4-FFF2-40B4-BE49-F238E27FC236}">
                        <a16:creationId xmlns:a16="http://schemas.microsoft.com/office/drawing/2014/main" id="{E5D30E73-5334-3B26-98D5-822AC06C9907}"/>
                      </a:ext>
                    </a:extLst>
                  </p:cNvPr>
                  <p:cNvSpPr/>
                  <p:nvPr userDrawn="1"/>
                </p:nvSpPr>
                <p:spPr>
                  <a:xfrm>
                    <a:off x="8394672" y="44849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8BED0"/>
                  </a:solidFill>
                  <a:ln w="2339" cap="flat">
                    <a:noFill/>
                    <a:prstDash val="solid"/>
                    <a:miter/>
                  </a:ln>
                </p:spPr>
                <p:txBody>
                  <a:bodyPr rtlCol="0" anchor="ctr"/>
                  <a:lstStyle/>
                  <a:p>
                    <a:endParaRPr lang="en-US"/>
                  </a:p>
                </p:txBody>
              </p:sp>
              <p:sp>
                <p:nvSpPr>
                  <p:cNvPr id="822" name="Freeform: Shape 821">
                    <a:extLst>
                      <a:ext uri="{FF2B5EF4-FFF2-40B4-BE49-F238E27FC236}">
                        <a16:creationId xmlns:a16="http://schemas.microsoft.com/office/drawing/2014/main" id="{8287E318-89EE-BEF5-B3BA-E404BCFCA284}"/>
                      </a:ext>
                    </a:extLst>
                  </p:cNvPr>
                  <p:cNvSpPr/>
                  <p:nvPr userDrawn="1"/>
                </p:nvSpPr>
                <p:spPr>
                  <a:xfrm>
                    <a:off x="8395210" y="448511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ED1"/>
                  </a:solidFill>
                  <a:ln w="2339" cap="flat">
                    <a:noFill/>
                    <a:prstDash val="solid"/>
                    <a:miter/>
                  </a:ln>
                </p:spPr>
                <p:txBody>
                  <a:bodyPr rtlCol="0" anchor="ctr"/>
                  <a:lstStyle/>
                  <a:p>
                    <a:endParaRPr lang="en-US"/>
                  </a:p>
                </p:txBody>
              </p:sp>
              <p:sp>
                <p:nvSpPr>
                  <p:cNvPr id="823" name="Freeform: Shape 822">
                    <a:extLst>
                      <a:ext uri="{FF2B5EF4-FFF2-40B4-BE49-F238E27FC236}">
                        <a16:creationId xmlns:a16="http://schemas.microsoft.com/office/drawing/2014/main" id="{F1A7959F-D35D-0294-D045-FF9A344C268C}"/>
                      </a:ext>
                    </a:extLst>
                  </p:cNvPr>
                  <p:cNvSpPr/>
                  <p:nvPr userDrawn="1"/>
                </p:nvSpPr>
                <p:spPr>
                  <a:xfrm>
                    <a:off x="8395772" y="448523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8BFD1"/>
                  </a:solidFill>
                  <a:ln w="2339" cap="flat">
                    <a:noFill/>
                    <a:prstDash val="solid"/>
                    <a:miter/>
                  </a:ln>
                </p:spPr>
                <p:txBody>
                  <a:bodyPr rtlCol="0" anchor="ctr"/>
                  <a:lstStyle/>
                  <a:p>
                    <a:endParaRPr lang="en-US"/>
                  </a:p>
                </p:txBody>
              </p:sp>
              <p:sp>
                <p:nvSpPr>
                  <p:cNvPr id="824" name="Freeform: Shape 823">
                    <a:extLst>
                      <a:ext uri="{FF2B5EF4-FFF2-40B4-BE49-F238E27FC236}">
                        <a16:creationId xmlns:a16="http://schemas.microsoft.com/office/drawing/2014/main" id="{460FD42E-6EF6-FF8E-6E33-78B02CCFCB1E}"/>
                      </a:ext>
                    </a:extLst>
                  </p:cNvPr>
                  <p:cNvSpPr/>
                  <p:nvPr userDrawn="1"/>
                </p:nvSpPr>
                <p:spPr>
                  <a:xfrm>
                    <a:off x="8396310" y="448534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a:p>
                </p:txBody>
              </p:sp>
              <p:sp>
                <p:nvSpPr>
                  <p:cNvPr id="825" name="Freeform: Shape 824">
                    <a:extLst>
                      <a:ext uri="{FF2B5EF4-FFF2-40B4-BE49-F238E27FC236}">
                        <a16:creationId xmlns:a16="http://schemas.microsoft.com/office/drawing/2014/main" id="{C6013E4B-79BA-15D3-4906-D2953694CDB5}"/>
                      </a:ext>
                    </a:extLst>
                  </p:cNvPr>
                  <p:cNvSpPr/>
                  <p:nvPr userDrawn="1"/>
                </p:nvSpPr>
                <p:spPr>
                  <a:xfrm>
                    <a:off x="8396872" y="448546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9BFD1"/>
                  </a:solidFill>
                  <a:ln w="2339" cap="flat">
                    <a:noFill/>
                    <a:prstDash val="solid"/>
                    <a:miter/>
                  </a:ln>
                </p:spPr>
                <p:txBody>
                  <a:bodyPr rtlCol="0" anchor="ctr"/>
                  <a:lstStyle/>
                  <a:p>
                    <a:endParaRPr lang="en-US"/>
                  </a:p>
                </p:txBody>
              </p:sp>
              <p:sp>
                <p:nvSpPr>
                  <p:cNvPr id="826" name="Freeform: Shape 825">
                    <a:extLst>
                      <a:ext uri="{FF2B5EF4-FFF2-40B4-BE49-F238E27FC236}">
                        <a16:creationId xmlns:a16="http://schemas.microsoft.com/office/drawing/2014/main" id="{D9578A16-99DA-BC11-1374-41067FDA3787}"/>
                      </a:ext>
                    </a:extLst>
                  </p:cNvPr>
                  <p:cNvSpPr/>
                  <p:nvPr userDrawn="1"/>
                </p:nvSpPr>
                <p:spPr>
                  <a:xfrm>
                    <a:off x="8397433" y="44855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9C0D1"/>
                  </a:solidFill>
                  <a:ln w="2339" cap="flat">
                    <a:noFill/>
                    <a:prstDash val="solid"/>
                    <a:miter/>
                  </a:ln>
                </p:spPr>
                <p:txBody>
                  <a:bodyPr rtlCol="0" anchor="ctr"/>
                  <a:lstStyle/>
                  <a:p>
                    <a:endParaRPr lang="en-US"/>
                  </a:p>
                </p:txBody>
              </p:sp>
              <p:sp>
                <p:nvSpPr>
                  <p:cNvPr id="827" name="Freeform: Shape 826">
                    <a:extLst>
                      <a:ext uri="{FF2B5EF4-FFF2-40B4-BE49-F238E27FC236}">
                        <a16:creationId xmlns:a16="http://schemas.microsoft.com/office/drawing/2014/main" id="{6E551B56-094C-D344-905D-403FC9DD1F37}"/>
                      </a:ext>
                    </a:extLst>
                  </p:cNvPr>
                  <p:cNvSpPr/>
                  <p:nvPr userDrawn="1"/>
                </p:nvSpPr>
                <p:spPr>
                  <a:xfrm>
                    <a:off x="8397972" y="44856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a:p>
                </p:txBody>
              </p:sp>
              <p:sp>
                <p:nvSpPr>
                  <p:cNvPr id="828" name="Freeform: Shape 827">
                    <a:extLst>
                      <a:ext uri="{FF2B5EF4-FFF2-40B4-BE49-F238E27FC236}">
                        <a16:creationId xmlns:a16="http://schemas.microsoft.com/office/drawing/2014/main" id="{CA3A2033-581F-3E22-AE3C-F9B2125FAC1C}"/>
                      </a:ext>
                    </a:extLst>
                  </p:cNvPr>
                  <p:cNvSpPr/>
                  <p:nvPr userDrawn="1"/>
                </p:nvSpPr>
                <p:spPr>
                  <a:xfrm>
                    <a:off x="8398510" y="44858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AC0D2"/>
                  </a:solidFill>
                  <a:ln w="2339" cap="flat">
                    <a:noFill/>
                    <a:prstDash val="solid"/>
                    <a:miter/>
                  </a:ln>
                </p:spPr>
                <p:txBody>
                  <a:bodyPr rtlCol="0" anchor="ctr"/>
                  <a:lstStyle/>
                  <a:p>
                    <a:endParaRPr lang="en-US"/>
                  </a:p>
                </p:txBody>
              </p:sp>
              <p:sp>
                <p:nvSpPr>
                  <p:cNvPr id="829" name="Freeform: Shape 828">
                    <a:extLst>
                      <a:ext uri="{FF2B5EF4-FFF2-40B4-BE49-F238E27FC236}">
                        <a16:creationId xmlns:a16="http://schemas.microsoft.com/office/drawing/2014/main" id="{157CAD30-32CB-104C-4B5E-8B76B2BABEF2}"/>
                      </a:ext>
                    </a:extLst>
                  </p:cNvPr>
                  <p:cNvSpPr/>
                  <p:nvPr userDrawn="1"/>
                </p:nvSpPr>
                <p:spPr>
                  <a:xfrm>
                    <a:off x="8399071" y="448593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0D2"/>
                  </a:solidFill>
                  <a:ln w="2339" cap="flat">
                    <a:noFill/>
                    <a:prstDash val="solid"/>
                    <a:miter/>
                  </a:ln>
                </p:spPr>
                <p:txBody>
                  <a:bodyPr rtlCol="0" anchor="ctr"/>
                  <a:lstStyle/>
                  <a:p>
                    <a:endParaRPr lang="en-US"/>
                  </a:p>
                </p:txBody>
              </p:sp>
              <p:sp>
                <p:nvSpPr>
                  <p:cNvPr id="830" name="Freeform: Shape 829">
                    <a:extLst>
                      <a:ext uri="{FF2B5EF4-FFF2-40B4-BE49-F238E27FC236}">
                        <a16:creationId xmlns:a16="http://schemas.microsoft.com/office/drawing/2014/main" id="{A70FFF44-4A6C-4BBE-5319-C65E941BCB1C}"/>
                      </a:ext>
                    </a:extLst>
                  </p:cNvPr>
                  <p:cNvSpPr/>
                  <p:nvPr userDrawn="1"/>
                </p:nvSpPr>
                <p:spPr>
                  <a:xfrm>
                    <a:off x="8399610" y="4486049"/>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AC1D2"/>
                  </a:solidFill>
                  <a:ln w="2339" cap="flat">
                    <a:noFill/>
                    <a:prstDash val="solid"/>
                    <a:miter/>
                  </a:ln>
                </p:spPr>
                <p:txBody>
                  <a:bodyPr rtlCol="0" anchor="ctr"/>
                  <a:lstStyle/>
                  <a:p>
                    <a:endParaRPr lang="en-US"/>
                  </a:p>
                </p:txBody>
              </p:sp>
              <p:sp>
                <p:nvSpPr>
                  <p:cNvPr id="831" name="Freeform: Shape 830">
                    <a:extLst>
                      <a:ext uri="{FF2B5EF4-FFF2-40B4-BE49-F238E27FC236}">
                        <a16:creationId xmlns:a16="http://schemas.microsoft.com/office/drawing/2014/main" id="{5FE05EE7-8A3D-7BCA-384A-24FEF10B894C}"/>
                      </a:ext>
                    </a:extLst>
                  </p:cNvPr>
                  <p:cNvSpPr/>
                  <p:nvPr userDrawn="1"/>
                </p:nvSpPr>
                <p:spPr>
                  <a:xfrm>
                    <a:off x="8400171" y="44861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BC1D2"/>
                  </a:solidFill>
                  <a:ln w="2339" cap="flat">
                    <a:noFill/>
                    <a:prstDash val="solid"/>
                    <a:miter/>
                  </a:ln>
                </p:spPr>
                <p:txBody>
                  <a:bodyPr rtlCol="0" anchor="ctr"/>
                  <a:lstStyle/>
                  <a:p>
                    <a:endParaRPr lang="en-US"/>
                  </a:p>
                </p:txBody>
              </p:sp>
              <p:sp>
                <p:nvSpPr>
                  <p:cNvPr id="832" name="Freeform: Shape 831">
                    <a:extLst>
                      <a:ext uri="{FF2B5EF4-FFF2-40B4-BE49-F238E27FC236}">
                        <a16:creationId xmlns:a16="http://schemas.microsoft.com/office/drawing/2014/main" id="{C19DA6E9-56D2-ADD2-8EC5-59C957A75399}"/>
                      </a:ext>
                    </a:extLst>
                  </p:cNvPr>
                  <p:cNvSpPr/>
                  <p:nvPr userDrawn="1"/>
                </p:nvSpPr>
                <p:spPr>
                  <a:xfrm>
                    <a:off x="8400710" y="44863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BC1D3"/>
                  </a:solidFill>
                  <a:ln w="2339" cap="flat">
                    <a:noFill/>
                    <a:prstDash val="solid"/>
                    <a:miter/>
                  </a:ln>
                </p:spPr>
                <p:txBody>
                  <a:bodyPr rtlCol="0" anchor="ctr"/>
                  <a:lstStyle/>
                  <a:p>
                    <a:endParaRPr lang="en-US"/>
                  </a:p>
                </p:txBody>
              </p:sp>
              <p:sp>
                <p:nvSpPr>
                  <p:cNvPr id="833" name="Freeform: Shape 832">
                    <a:extLst>
                      <a:ext uri="{FF2B5EF4-FFF2-40B4-BE49-F238E27FC236}">
                        <a16:creationId xmlns:a16="http://schemas.microsoft.com/office/drawing/2014/main" id="{048E643D-BB9A-CDE9-5AED-39BB7B61873B}"/>
                      </a:ext>
                    </a:extLst>
                  </p:cNvPr>
                  <p:cNvSpPr/>
                  <p:nvPr userDrawn="1"/>
                </p:nvSpPr>
                <p:spPr>
                  <a:xfrm>
                    <a:off x="8401248" y="448642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BC1D3"/>
                  </a:solidFill>
                  <a:ln w="2339" cap="flat">
                    <a:noFill/>
                    <a:prstDash val="solid"/>
                    <a:miter/>
                  </a:ln>
                </p:spPr>
                <p:txBody>
                  <a:bodyPr rtlCol="0" anchor="ctr"/>
                  <a:lstStyle/>
                  <a:p>
                    <a:endParaRPr lang="en-US"/>
                  </a:p>
                </p:txBody>
              </p:sp>
              <p:sp>
                <p:nvSpPr>
                  <p:cNvPr id="834" name="Freeform: Shape 833">
                    <a:extLst>
                      <a:ext uri="{FF2B5EF4-FFF2-40B4-BE49-F238E27FC236}">
                        <a16:creationId xmlns:a16="http://schemas.microsoft.com/office/drawing/2014/main" id="{5EFF1AA5-6A9E-124C-55FA-090BD2D8A595}"/>
                      </a:ext>
                    </a:extLst>
                  </p:cNvPr>
                  <p:cNvSpPr/>
                  <p:nvPr userDrawn="1"/>
                </p:nvSpPr>
                <p:spPr>
                  <a:xfrm>
                    <a:off x="8401809" y="448654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30"/>
                          <a:pt x="0" y="21037"/>
                        </a:cubicBezTo>
                        <a:close/>
                      </a:path>
                    </a:pathLst>
                  </a:custGeom>
                  <a:solidFill>
                    <a:srgbClr val="BCC2D3"/>
                  </a:solidFill>
                  <a:ln w="2339" cap="flat">
                    <a:noFill/>
                    <a:prstDash val="solid"/>
                    <a:miter/>
                  </a:ln>
                </p:spPr>
                <p:txBody>
                  <a:bodyPr rtlCol="0" anchor="ctr"/>
                  <a:lstStyle/>
                  <a:p>
                    <a:endParaRPr lang="en-US"/>
                  </a:p>
                </p:txBody>
              </p:sp>
              <p:sp>
                <p:nvSpPr>
                  <p:cNvPr id="835" name="Freeform: Shape 834">
                    <a:extLst>
                      <a:ext uri="{FF2B5EF4-FFF2-40B4-BE49-F238E27FC236}">
                        <a16:creationId xmlns:a16="http://schemas.microsoft.com/office/drawing/2014/main" id="{2057DB7E-882D-C15C-C85F-CEE8953764F3}"/>
                      </a:ext>
                    </a:extLst>
                  </p:cNvPr>
                  <p:cNvSpPr/>
                  <p:nvPr userDrawn="1"/>
                </p:nvSpPr>
                <p:spPr>
                  <a:xfrm>
                    <a:off x="8402348" y="448668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CC2D3"/>
                  </a:solidFill>
                  <a:ln w="2339" cap="flat">
                    <a:noFill/>
                    <a:prstDash val="solid"/>
                    <a:miter/>
                  </a:ln>
                </p:spPr>
                <p:txBody>
                  <a:bodyPr rtlCol="0" anchor="ctr"/>
                  <a:lstStyle/>
                  <a:p>
                    <a:endParaRPr lang="en-US"/>
                  </a:p>
                </p:txBody>
              </p:sp>
              <p:sp>
                <p:nvSpPr>
                  <p:cNvPr id="836" name="Freeform: Shape 835">
                    <a:extLst>
                      <a:ext uri="{FF2B5EF4-FFF2-40B4-BE49-F238E27FC236}">
                        <a16:creationId xmlns:a16="http://schemas.microsoft.com/office/drawing/2014/main" id="{0F9BA9CF-E824-4367-83F9-06F26B4B5A21}"/>
                      </a:ext>
                    </a:extLst>
                  </p:cNvPr>
                  <p:cNvSpPr/>
                  <p:nvPr userDrawn="1"/>
                </p:nvSpPr>
                <p:spPr>
                  <a:xfrm>
                    <a:off x="8402886" y="448679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CC2D3"/>
                  </a:solidFill>
                  <a:ln w="2339" cap="flat">
                    <a:noFill/>
                    <a:prstDash val="solid"/>
                    <a:miter/>
                  </a:ln>
                </p:spPr>
                <p:txBody>
                  <a:bodyPr rtlCol="0" anchor="ctr"/>
                  <a:lstStyle/>
                  <a:p>
                    <a:endParaRPr lang="en-US"/>
                  </a:p>
                </p:txBody>
              </p:sp>
              <p:sp>
                <p:nvSpPr>
                  <p:cNvPr id="837" name="Freeform: Shape 836">
                    <a:extLst>
                      <a:ext uri="{FF2B5EF4-FFF2-40B4-BE49-F238E27FC236}">
                        <a16:creationId xmlns:a16="http://schemas.microsoft.com/office/drawing/2014/main" id="{8AFD96C4-B6D8-DB12-BE1E-9F57749702DC}"/>
                      </a:ext>
                    </a:extLst>
                  </p:cNvPr>
                  <p:cNvSpPr/>
                  <p:nvPr userDrawn="1"/>
                </p:nvSpPr>
                <p:spPr>
                  <a:xfrm>
                    <a:off x="8403424" y="448693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DC3D4"/>
                  </a:solidFill>
                  <a:ln w="2339" cap="flat">
                    <a:noFill/>
                    <a:prstDash val="solid"/>
                    <a:miter/>
                  </a:ln>
                </p:spPr>
                <p:txBody>
                  <a:bodyPr rtlCol="0" anchor="ctr"/>
                  <a:lstStyle/>
                  <a:p>
                    <a:endParaRPr lang="en-US"/>
                  </a:p>
                </p:txBody>
              </p:sp>
              <p:sp>
                <p:nvSpPr>
                  <p:cNvPr id="838" name="Freeform: Shape 837">
                    <a:extLst>
                      <a:ext uri="{FF2B5EF4-FFF2-40B4-BE49-F238E27FC236}">
                        <a16:creationId xmlns:a16="http://schemas.microsoft.com/office/drawing/2014/main" id="{3EE365E8-4802-CC0F-F5C7-9A1D5F7C9F5E}"/>
                      </a:ext>
                    </a:extLst>
                  </p:cNvPr>
                  <p:cNvSpPr/>
                  <p:nvPr userDrawn="1"/>
                </p:nvSpPr>
                <p:spPr>
                  <a:xfrm>
                    <a:off x="8403962" y="44870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DC3D4"/>
                  </a:solidFill>
                  <a:ln w="2339" cap="flat">
                    <a:noFill/>
                    <a:prstDash val="solid"/>
                    <a:miter/>
                  </a:ln>
                </p:spPr>
                <p:txBody>
                  <a:bodyPr rtlCol="0" anchor="ctr"/>
                  <a:lstStyle/>
                  <a:p>
                    <a:endParaRPr lang="en-US"/>
                  </a:p>
                </p:txBody>
              </p:sp>
              <p:sp>
                <p:nvSpPr>
                  <p:cNvPr id="839" name="Freeform: Shape 838">
                    <a:extLst>
                      <a:ext uri="{FF2B5EF4-FFF2-40B4-BE49-F238E27FC236}">
                        <a16:creationId xmlns:a16="http://schemas.microsoft.com/office/drawing/2014/main" id="{5910B7F1-5ED5-C08F-C038-202B397650B9}"/>
                      </a:ext>
                    </a:extLst>
                  </p:cNvPr>
                  <p:cNvSpPr/>
                  <p:nvPr userDrawn="1"/>
                </p:nvSpPr>
                <p:spPr>
                  <a:xfrm>
                    <a:off x="8404500" y="44871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DC3D4"/>
                  </a:solidFill>
                  <a:ln w="2339" cap="flat">
                    <a:noFill/>
                    <a:prstDash val="solid"/>
                    <a:miter/>
                  </a:ln>
                </p:spPr>
                <p:txBody>
                  <a:bodyPr rtlCol="0" anchor="ctr"/>
                  <a:lstStyle/>
                  <a:p>
                    <a:endParaRPr lang="en-US"/>
                  </a:p>
                </p:txBody>
              </p:sp>
              <p:sp>
                <p:nvSpPr>
                  <p:cNvPr id="840" name="Freeform: Shape 839">
                    <a:extLst>
                      <a:ext uri="{FF2B5EF4-FFF2-40B4-BE49-F238E27FC236}">
                        <a16:creationId xmlns:a16="http://schemas.microsoft.com/office/drawing/2014/main" id="{8D799E99-DA44-405A-1171-AC3A15E35F72}"/>
                      </a:ext>
                    </a:extLst>
                  </p:cNvPr>
                  <p:cNvSpPr/>
                  <p:nvPr userDrawn="1"/>
                </p:nvSpPr>
                <p:spPr>
                  <a:xfrm>
                    <a:off x="8405039" y="44873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EC3D4"/>
                  </a:solidFill>
                  <a:ln w="2339" cap="flat">
                    <a:noFill/>
                    <a:prstDash val="solid"/>
                    <a:miter/>
                  </a:ln>
                </p:spPr>
                <p:txBody>
                  <a:bodyPr rtlCol="0" anchor="ctr"/>
                  <a:lstStyle/>
                  <a:p>
                    <a:endParaRPr lang="en-US"/>
                  </a:p>
                </p:txBody>
              </p:sp>
              <p:sp>
                <p:nvSpPr>
                  <p:cNvPr id="841" name="Freeform: Shape 840">
                    <a:extLst>
                      <a:ext uri="{FF2B5EF4-FFF2-40B4-BE49-F238E27FC236}">
                        <a16:creationId xmlns:a16="http://schemas.microsoft.com/office/drawing/2014/main" id="{9256EC53-9C03-7590-A50A-6E8B2A0E72E5}"/>
                      </a:ext>
                    </a:extLst>
                  </p:cNvPr>
                  <p:cNvSpPr/>
                  <p:nvPr userDrawn="1"/>
                </p:nvSpPr>
                <p:spPr>
                  <a:xfrm>
                    <a:off x="8405577" y="4487453"/>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BEC4D4"/>
                  </a:solidFill>
                  <a:ln w="2339" cap="flat">
                    <a:noFill/>
                    <a:prstDash val="solid"/>
                    <a:miter/>
                  </a:ln>
                </p:spPr>
                <p:txBody>
                  <a:bodyPr rtlCol="0" anchor="ctr"/>
                  <a:lstStyle/>
                  <a:p>
                    <a:endParaRPr lang="en-US"/>
                  </a:p>
                </p:txBody>
              </p:sp>
              <p:sp>
                <p:nvSpPr>
                  <p:cNvPr id="842" name="Freeform: Shape 841">
                    <a:extLst>
                      <a:ext uri="{FF2B5EF4-FFF2-40B4-BE49-F238E27FC236}">
                        <a16:creationId xmlns:a16="http://schemas.microsoft.com/office/drawing/2014/main" id="{F11D2210-2940-CBBE-0031-25FF37698592}"/>
                      </a:ext>
                    </a:extLst>
                  </p:cNvPr>
                  <p:cNvSpPr/>
                  <p:nvPr userDrawn="1"/>
                </p:nvSpPr>
                <p:spPr>
                  <a:xfrm>
                    <a:off x="8406115" y="448759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a:p>
                </p:txBody>
              </p:sp>
              <p:sp>
                <p:nvSpPr>
                  <p:cNvPr id="843" name="Freeform: Shape 842">
                    <a:extLst>
                      <a:ext uri="{FF2B5EF4-FFF2-40B4-BE49-F238E27FC236}">
                        <a16:creationId xmlns:a16="http://schemas.microsoft.com/office/drawing/2014/main" id="{F5AB854B-BCB3-A8AE-A500-7795B30DEEF6}"/>
                      </a:ext>
                    </a:extLst>
                  </p:cNvPr>
                  <p:cNvSpPr/>
                  <p:nvPr userDrawn="1"/>
                </p:nvSpPr>
                <p:spPr>
                  <a:xfrm>
                    <a:off x="8406653" y="448773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BEC4D5"/>
                  </a:solidFill>
                  <a:ln w="2339" cap="flat">
                    <a:noFill/>
                    <a:prstDash val="solid"/>
                    <a:miter/>
                  </a:ln>
                </p:spPr>
                <p:txBody>
                  <a:bodyPr rtlCol="0" anchor="ctr"/>
                  <a:lstStyle/>
                  <a:p>
                    <a:endParaRPr lang="en-US"/>
                  </a:p>
                </p:txBody>
              </p:sp>
              <p:sp>
                <p:nvSpPr>
                  <p:cNvPr id="844" name="Freeform: Shape 843">
                    <a:extLst>
                      <a:ext uri="{FF2B5EF4-FFF2-40B4-BE49-F238E27FC236}">
                        <a16:creationId xmlns:a16="http://schemas.microsoft.com/office/drawing/2014/main" id="{C0B303FC-B5CA-D754-7899-EBBABFFC5ED0}"/>
                      </a:ext>
                    </a:extLst>
                  </p:cNvPr>
                  <p:cNvSpPr/>
                  <p:nvPr userDrawn="1"/>
                </p:nvSpPr>
                <p:spPr>
                  <a:xfrm>
                    <a:off x="8407191" y="44878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a:p>
                </p:txBody>
              </p:sp>
              <p:sp>
                <p:nvSpPr>
                  <p:cNvPr id="845" name="Freeform: Shape 844">
                    <a:extLst>
                      <a:ext uri="{FF2B5EF4-FFF2-40B4-BE49-F238E27FC236}">
                        <a16:creationId xmlns:a16="http://schemas.microsoft.com/office/drawing/2014/main" id="{3BB9BC76-6BEC-4A52-201B-57F6B080E13F}"/>
                      </a:ext>
                    </a:extLst>
                  </p:cNvPr>
                  <p:cNvSpPr/>
                  <p:nvPr userDrawn="1"/>
                </p:nvSpPr>
                <p:spPr>
                  <a:xfrm>
                    <a:off x="8407730" y="448801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BFC5D5"/>
                  </a:solidFill>
                  <a:ln w="2339" cap="flat">
                    <a:noFill/>
                    <a:prstDash val="solid"/>
                    <a:miter/>
                  </a:ln>
                </p:spPr>
                <p:txBody>
                  <a:bodyPr rtlCol="0" anchor="ctr"/>
                  <a:lstStyle/>
                  <a:p>
                    <a:endParaRPr lang="en-US"/>
                  </a:p>
                </p:txBody>
              </p:sp>
              <p:sp>
                <p:nvSpPr>
                  <p:cNvPr id="846" name="Freeform: Shape 845">
                    <a:extLst>
                      <a:ext uri="{FF2B5EF4-FFF2-40B4-BE49-F238E27FC236}">
                        <a16:creationId xmlns:a16="http://schemas.microsoft.com/office/drawing/2014/main" id="{659083FE-EB8F-7C25-C6C8-B429E530F2FF}"/>
                      </a:ext>
                    </a:extLst>
                  </p:cNvPr>
                  <p:cNvSpPr/>
                  <p:nvPr userDrawn="1"/>
                </p:nvSpPr>
                <p:spPr>
                  <a:xfrm>
                    <a:off x="8408268" y="4488155"/>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BFC5D5"/>
                  </a:solidFill>
                  <a:ln w="2339" cap="flat">
                    <a:noFill/>
                    <a:prstDash val="solid"/>
                    <a:miter/>
                  </a:ln>
                </p:spPr>
                <p:txBody>
                  <a:bodyPr rtlCol="0" anchor="ctr"/>
                  <a:lstStyle/>
                  <a:p>
                    <a:endParaRPr lang="en-US"/>
                  </a:p>
                </p:txBody>
              </p:sp>
              <p:sp>
                <p:nvSpPr>
                  <p:cNvPr id="847" name="Freeform: Shape 846">
                    <a:extLst>
                      <a:ext uri="{FF2B5EF4-FFF2-40B4-BE49-F238E27FC236}">
                        <a16:creationId xmlns:a16="http://schemas.microsoft.com/office/drawing/2014/main" id="{EA6B1AEA-70F1-FEB4-8EBE-C5D903A79D1F}"/>
                      </a:ext>
                    </a:extLst>
                  </p:cNvPr>
                  <p:cNvSpPr/>
                  <p:nvPr userDrawn="1"/>
                </p:nvSpPr>
                <p:spPr>
                  <a:xfrm>
                    <a:off x="8408783" y="448829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5D6"/>
                  </a:solidFill>
                  <a:ln w="2339" cap="flat">
                    <a:noFill/>
                    <a:prstDash val="solid"/>
                    <a:miter/>
                  </a:ln>
                </p:spPr>
                <p:txBody>
                  <a:bodyPr rtlCol="0" anchor="ctr"/>
                  <a:lstStyle/>
                  <a:p>
                    <a:endParaRPr lang="en-US"/>
                  </a:p>
                </p:txBody>
              </p:sp>
              <p:sp>
                <p:nvSpPr>
                  <p:cNvPr id="848" name="Freeform: Shape 847">
                    <a:extLst>
                      <a:ext uri="{FF2B5EF4-FFF2-40B4-BE49-F238E27FC236}">
                        <a16:creationId xmlns:a16="http://schemas.microsoft.com/office/drawing/2014/main" id="{0A1764A2-D464-6BE7-3553-9C9FF80D9878}"/>
                      </a:ext>
                    </a:extLst>
                  </p:cNvPr>
                  <p:cNvSpPr/>
                  <p:nvPr userDrawn="1"/>
                </p:nvSpPr>
                <p:spPr>
                  <a:xfrm>
                    <a:off x="8409321" y="448843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0C6D6"/>
                  </a:solidFill>
                  <a:ln w="2339" cap="flat">
                    <a:noFill/>
                    <a:prstDash val="solid"/>
                    <a:miter/>
                  </a:ln>
                </p:spPr>
                <p:txBody>
                  <a:bodyPr rtlCol="0" anchor="ctr"/>
                  <a:lstStyle/>
                  <a:p>
                    <a:endParaRPr lang="en-US"/>
                  </a:p>
                </p:txBody>
              </p:sp>
              <p:sp>
                <p:nvSpPr>
                  <p:cNvPr id="849" name="Freeform: Shape 848">
                    <a:extLst>
                      <a:ext uri="{FF2B5EF4-FFF2-40B4-BE49-F238E27FC236}">
                        <a16:creationId xmlns:a16="http://schemas.microsoft.com/office/drawing/2014/main" id="{DDA6F555-DED0-B628-C531-2946B2081C9E}"/>
                      </a:ext>
                    </a:extLst>
                  </p:cNvPr>
                  <p:cNvSpPr/>
                  <p:nvPr userDrawn="1"/>
                </p:nvSpPr>
                <p:spPr>
                  <a:xfrm>
                    <a:off x="8409859" y="448857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0C6D6"/>
                  </a:solidFill>
                  <a:ln w="2339" cap="flat">
                    <a:noFill/>
                    <a:prstDash val="solid"/>
                    <a:miter/>
                  </a:ln>
                </p:spPr>
                <p:txBody>
                  <a:bodyPr rtlCol="0" anchor="ctr"/>
                  <a:lstStyle/>
                  <a:p>
                    <a:endParaRPr lang="en-US"/>
                  </a:p>
                </p:txBody>
              </p:sp>
              <p:sp>
                <p:nvSpPr>
                  <p:cNvPr id="850" name="Freeform: Shape 849">
                    <a:extLst>
                      <a:ext uri="{FF2B5EF4-FFF2-40B4-BE49-F238E27FC236}">
                        <a16:creationId xmlns:a16="http://schemas.microsoft.com/office/drawing/2014/main" id="{22276E79-7A3A-FB21-11ED-C4FFC1CD16AF}"/>
                      </a:ext>
                    </a:extLst>
                  </p:cNvPr>
                  <p:cNvSpPr/>
                  <p:nvPr userDrawn="1"/>
                </p:nvSpPr>
                <p:spPr>
                  <a:xfrm>
                    <a:off x="8410374" y="448871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1C6D6"/>
                  </a:solidFill>
                  <a:ln w="2339" cap="flat">
                    <a:noFill/>
                    <a:prstDash val="solid"/>
                    <a:miter/>
                  </a:ln>
                </p:spPr>
                <p:txBody>
                  <a:bodyPr rtlCol="0" anchor="ctr"/>
                  <a:lstStyle/>
                  <a:p>
                    <a:endParaRPr lang="en-US"/>
                  </a:p>
                </p:txBody>
              </p:sp>
              <p:sp>
                <p:nvSpPr>
                  <p:cNvPr id="851" name="Freeform: Shape 850">
                    <a:extLst>
                      <a:ext uri="{FF2B5EF4-FFF2-40B4-BE49-F238E27FC236}">
                        <a16:creationId xmlns:a16="http://schemas.microsoft.com/office/drawing/2014/main" id="{04654498-BC42-A1F2-7BE0-5F028B4B9443}"/>
                      </a:ext>
                    </a:extLst>
                  </p:cNvPr>
                  <p:cNvSpPr/>
                  <p:nvPr userDrawn="1"/>
                </p:nvSpPr>
                <p:spPr>
                  <a:xfrm>
                    <a:off x="8410912" y="4488857"/>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1C6D6"/>
                  </a:solidFill>
                  <a:ln w="2339" cap="flat">
                    <a:noFill/>
                    <a:prstDash val="solid"/>
                    <a:miter/>
                  </a:ln>
                </p:spPr>
                <p:txBody>
                  <a:bodyPr rtlCol="0" anchor="ctr"/>
                  <a:lstStyle/>
                  <a:p>
                    <a:endParaRPr lang="en-US"/>
                  </a:p>
                </p:txBody>
              </p:sp>
              <p:sp>
                <p:nvSpPr>
                  <p:cNvPr id="852" name="Freeform: Shape 851">
                    <a:extLst>
                      <a:ext uri="{FF2B5EF4-FFF2-40B4-BE49-F238E27FC236}">
                        <a16:creationId xmlns:a16="http://schemas.microsoft.com/office/drawing/2014/main" id="{958F8095-7DA7-E28C-4882-5F8EE281F5CE}"/>
                      </a:ext>
                    </a:extLst>
                  </p:cNvPr>
                  <p:cNvSpPr/>
                  <p:nvPr userDrawn="1"/>
                </p:nvSpPr>
                <p:spPr>
                  <a:xfrm>
                    <a:off x="8411427" y="448902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1C7D7"/>
                  </a:solidFill>
                  <a:ln w="2339" cap="flat">
                    <a:noFill/>
                    <a:prstDash val="solid"/>
                    <a:miter/>
                  </a:ln>
                </p:spPr>
                <p:txBody>
                  <a:bodyPr rtlCol="0" anchor="ctr"/>
                  <a:lstStyle/>
                  <a:p>
                    <a:endParaRPr lang="en-US"/>
                  </a:p>
                </p:txBody>
              </p:sp>
              <p:sp>
                <p:nvSpPr>
                  <p:cNvPr id="853" name="Freeform: Shape 852">
                    <a:extLst>
                      <a:ext uri="{FF2B5EF4-FFF2-40B4-BE49-F238E27FC236}">
                        <a16:creationId xmlns:a16="http://schemas.microsoft.com/office/drawing/2014/main" id="{9786332B-9271-F134-7006-2F9A26F44F5E}"/>
                      </a:ext>
                    </a:extLst>
                  </p:cNvPr>
                  <p:cNvSpPr/>
                  <p:nvPr userDrawn="1"/>
                </p:nvSpPr>
                <p:spPr>
                  <a:xfrm>
                    <a:off x="8411965" y="4489161"/>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2C7D7"/>
                  </a:solidFill>
                  <a:ln w="2339" cap="flat">
                    <a:noFill/>
                    <a:prstDash val="solid"/>
                    <a:miter/>
                  </a:ln>
                </p:spPr>
                <p:txBody>
                  <a:bodyPr rtlCol="0" anchor="ctr"/>
                  <a:lstStyle/>
                  <a:p>
                    <a:endParaRPr lang="en-US"/>
                  </a:p>
                </p:txBody>
              </p:sp>
              <p:sp>
                <p:nvSpPr>
                  <p:cNvPr id="854" name="Freeform: Shape 853">
                    <a:extLst>
                      <a:ext uri="{FF2B5EF4-FFF2-40B4-BE49-F238E27FC236}">
                        <a16:creationId xmlns:a16="http://schemas.microsoft.com/office/drawing/2014/main" id="{4BF7D09D-3D14-A4F6-FE82-7020366617E4}"/>
                      </a:ext>
                    </a:extLst>
                  </p:cNvPr>
                  <p:cNvSpPr/>
                  <p:nvPr userDrawn="1"/>
                </p:nvSpPr>
                <p:spPr>
                  <a:xfrm>
                    <a:off x="8412480" y="448930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7D7"/>
                  </a:solidFill>
                  <a:ln w="2339" cap="flat">
                    <a:noFill/>
                    <a:prstDash val="solid"/>
                    <a:miter/>
                  </a:ln>
                </p:spPr>
                <p:txBody>
                  <a:bodyPr rtlCol="0" anchor="ctr"/>
                  <a:lstStyle/>
                  <a:p>
                    <a:endParaRPr lang="en-US"/>
                  </a:p>
                </p:txBody>
              </p:sp>
              <p:sp>
                <p:nvSpPr>
                  <p:cNvPr id="855" name="Freeform: Shape 854">
                    <a:extLst>
                      <a:ext uri="{FF2B5EF4-FFF2-40B4-BE49-F238E27FC236}">
                        <a16:creationId xmlns:a16="http://schemas.microsoft.com/office/drawing/2014/main" id="{4B591B4B-BF6E-5804-EA83-FC7029A39165}"/>
                      </a:ext>
                    </a:extLst>
                  </p:cNvPr>
                  <p:cNvSpPr/>
                  <p:nvPr userDrawn="1"/>
                </p:nvSpPr>
                <p:spPr>
                  <a:xfrm>
                    <a:off x="8413018" y="448946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2C8D7"/>
                  </a:solidFill>
                  <a:ln w="2339" cap="flat">
                    <a:noFill/>
                    <a:prstDash val="solid"/>
                    <a:miter/>
                  </a:ln>
                </p:spPr>
                <p:txBody>
                  <a:bodyPr rtlCol="0" anchor="ctr"/>
                  <a:lstStyle/>
                  <a:p>
                    <a:endParaRPr lang="en-US"/>
                  </a:p>
                </p:txBody>
              </p:sp>
              <p:sp>
                <p:nvSpPr>
                  <p:cNvPr id="856" name="Freeform: Shape 855">
                    <a:extLst>
                      <a:ext uri="{FF2B5EF4-FFF2-40B4-BE49-F238E27FC236}">
                        <a16:creationId xmlns:a16="http://schemas.microsoft.com/office/drawing/2014/main" id="{78283B6F-BAAB-5909-5DF8-E51B1E2551C5}"/>
                      </a:ext>
                    </a:extLst>
                  </p:cNvPr>
                  <p:cNvSpPr/>
                  <p:nvPr userDrawn="1"/>
                </p:nvSpPr>
                <p:spPr>
                  <a:xfrm>
                    <a:off x="8413533" y="44896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2C8D7"/>
                  </a:solidFill>
                  <a:ln w="2339" cap="flat">
                    <a:noFill/>
                    <a:prstDash val="solid"/>
                    <a:miter/>
                  </a:ln>
                </p:spPr>
                <p:txBody>
                  <a:bodyPr rtlCol="0" anchor="ctr"/>
                  <a:lstStyle/>
                  <a:p>
                    <a:endParaRPr lang="en-US"/>
                  </a:p>
                </p:txBody>
              </p:sp>
              <p:sp>
                <p:nvSpPr>
                  <p:cNvPr id="857" name="Freeform: Shape 856">
                    <a:extLst>
                      <a:ext uri="{FF2B5EF4-FFF2-40B4-BE49-F238E27FC236}">
                        <a16:creationId xmlns:a16="http://schemas.microsoft.com/office/drawing/2014/main" id="{08C4D59F-BC70-5B90-D5CD-55C8A665867D}"/>
                      </a:ext>
                    </a:extLst>
                  </p:cNvPr>
                  <p:cNvSpPr/>
                  <p:nvPr userDrawn="1"/>
                </p:nvSpPr>
                <p:spPr>
                  <a:xfrm>
                    <a:off x="8414048" y="448977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3C8D8"/>
                  </a:solidFill>
                  <a:ln w="2339" cap="flat">
                    <a:noFill/>
                    <a:prstDash val="solid"/>
                    <a:miter/>
                  </a:ln>
                </p:spPr>
                <p:txBody>
                  <a:bodyPr rtlCol="0" anchor="ctr"/>
                  <a:lstStyle/>
                  <a:p>
                    <a:endParaRPr lang="en-US"/>
                  </a:p>
                </p:txBody>
              </p:sp>
              <p:sp>
                <p:nvSpPr>
                  <p:cNvPr id="858" name="Freeform: Shape 857">
                    <a:extLst>
                      <a:ext uri="{FF2B5EF4-FFF2-40B4-BE49-F238E27FC236}">
                        <a16:creationId xmlns:a16="http://schemas.microsoft.com/office/drawing/2014/main" id="{6D51AA62-AC32-569D-E67D-2E03CAB8A84F}"/>
                      </a:ext>
                    </a:extLst>
                  </p:cNvPr>
                  <p:cNvSpPr/>
                  <p:nvPr userDrawn="1"/>
                </p:nvSpPr>
                <p:spPr>
                  <a:xfrm>
                    <a:off x="8414586" y="4489910"/>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0"/>
                          <a:pt x="0" y="9407"/>
                          <a:pt x="0" y="21037"/>
                        </a:cubicBezTo>
                        <a:close/>
                      </a:path>
                    </a:pathLst>
                  </a:custGeom>
                  <a:solidFill>
                    <a:srgbClr val="C3C8D8"/>
                  </a:solidFill>
                  <a:ln w="2339" cap="flat">
                    <a:noFill/>
                    <a:prstDash val="solid"/>
                    <a:miter/>
                  </a:ln>
                </p:spPr>
                <p:txBody>
                  <a:bodyPr rtlCol="0" anchor="ctr"/>
                  <a:lstStyle/>
                  <a:p>
                    <a:endParaRPr lang="en-US"/>
                  </a:p>
                </p:txBody>
              </p:sp>
              <p:sp>
                <p:nvSpPr>
                  <p:cNvPr id="859" name="Freeform: Shape 858">
                    <a:extLst>
                      <a:ext uri="{FF2B5EF4-FFF2-40B4-BE49-F238E27FC236}">
                        <a16:creationId xmlns:a16="http://schemas.microsoft.com/office/drawing/2014/main" id="{D904A4AE-4ED8-4764-D11F-DD1FE3F0D3C5}"/>
                      </a:ext>
                    </a:extLst>
                  </p:cNvPr>
                  <p:cNvSpPr/>
                  <p:nvPr userDrawn="1"/>
                </p:nvSpPr>
                <p:spPr>
                  <a:xfrm>
                    <a:off x="8415101" y="449007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07" y="-23"/>
                          <a:pt x="0" y="9407"/>
                          <a:pt x="0" y="21037"/>
                        </a:cubicBezTo>
                        <a:close/>
                      </a:path>
                    </a:pathLst>
                  </a:custGeom>
                  <a:solidFill>
                    <a:srgbClr val="C3C9D8"/>
                  </a:solidFill>
                  <a:ln w="2339" cap="flat">
                    <a:noFill/>
                    <a:prstDash val="solid"/>
                    <a:miter/>
                  </a:ln>
                </p:spPr>
                <p:txBody>
                  <a:bodyPr rtlCol="0" anchor="ctr"/>
                  <a:lstStyle/>
                  <a:p>
                    <a:endParaRPr lang="en-US"/>
                  </a:p>
                </p:txBody>
              </p:sp>
              <p:sp>
                <p:nvSpPr>
                  <p:cNvPr id="860" name="Freeform: Shape 859">
                    <a:extLst>
                      <a:ext uri="{FF2B5EF4-FFF2-40B4-BE49-F238E27FC236}">
                        <a16:creationId xmlns:a16="http://schemas.microsoft.com/office/drawing/2014/main" id="{45F1FB6D-F422-870A-B5F0-0D89C2B0A539}"/>
                      </a:ext>
                    </a:extLst>
                  </p:cNvPr>
                  <p:cNvSpPr/>
                  <p:nvPr userDrawn="1"/>
                </p:nvSpPr>
                <p:spPr>
                  <a:xfrm>
                    <a:off x="8415615" y="4490214"/>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30"/>
                          <a:pt x="0" y="21037"/>
                        </a:cubicBezTo>
                        <a:close/>
                      </a:path>
                    </a:pathLst>
                  </a:custGeom>
                  <a:solidFill>
                    <a:srgbClr val="C4C9D8"/>
                  </a:solidFill>
                  <a:ln w="2339" cap="flat">
                    <a:noFill/>
                    <a:prstDash val="solid"/>
                    <a:miter/>
                  </a:ln>
                </p:spPr>
                <p:txBody>
                  <a:bodyPr rtlCol="0" anchor="ctr"/>
                  <a:lstStyle/>
                  <a:p>
                    <a:endParaRPr lang="en-US"/>
                  </a:p>
                </p:txBody>
              </p:sp>
              <p:sp>
                <p:nvSpPr>
                  <p:cNvPr id="861" name="Freeform: Shape 860">
                    <a:extLst>
                      <a:ext uri="{FF2B5EF4-FFF2-40B4-BE49-F238E27FC236}">
                        <a16:creationId xmlns:a16="http://schemas.microsoft.com/office/drawing/2014/main" id="{23B395E6-4835-3B7B-5894-8A63E69E528E}"/>
                      </a:ext>
                    </a:extLst>
                  </p:cNvPr>
                  <p:cNvSpPr/>
                  <p:nvPr userDrawn="1"/>
                </p:nvSpPr>
                <p:spPr>
                  <a:xfrm>
                    <a:off x="8416130" y="4490378"/>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0"/>
                          <a:pt x="0" y="9407"/>
                          <a:pt x="0" y="21037"/>
                        </a:cubicBezTo>
                        <a:close/>
                      </a:path>
                    </a:pathLst>
                  </a:custGeom>
                  <a:solidFill>
                    <a:srgbClr val="C4C9D8"/>
                  </a:solidFill>
                  <a:ln w="2339" cap="flat">
                    <a:noFill/>
                    <a:prstDash val="solid"/>
                    <a:miter/>
                  </a:ln>
                </p:spPr>
                <p:txBody>
                  <a:bodyPr rtlCol="0" anchor="ctr"/>
                  <a:lstStyle/>
                  <a:p>
                    <a:endParaRPr lang="en-US"/>
                  </a:p>
                </p:txBody>
              </p:sp>
              <p:sp>
                <p:nvSpPr>
                  <p:cNvPr id="862" name="Freeform: Shape 861">
                    <a:extLst>
                      <a:ext uri="{FF2B5EF4-FFF2-40B4-BE49-F238E27FC236}">
                        <a16:creationId xmlns:a16="http://schemas.microsoft.com/office/drawing/2014/main" id="{95BAA7CE-2085-AAB2-A2BE-B6E433DA4AFD}"/>
                      </a:ext>
                    </a:extLst>
                  </p:cNvPr>
                  <p:cNvSpPr/>
                  <p:nvPr userDrawn="1"/>
                </p:nvSpPr>
                <p:spPr>
                  <a:xfrm>
                    <a:off x="8416645" y="4490542"/>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4CAD9"/>
                  </a:solidFill>
                  <a:ln w="2339" cap="flat">
                    <a:noFill/>
                    <a:prstDash val="solid"/>
                    <a:miter/>
                  </a:ln>
                </p:spPr>
                <p:txBody>
                  <a:bodyPr rtlCol="0" anchor="ctr"/>
                  <a:lstStyle/>
                  <a:p>
                    <a:endParaRPr lang="en-US"/>
                  </a:p>
                </p:txBody>
              </p:sp>
              <p:sp>
                <p:nvSpPr>
                  <p:cNvPr id="863" name="Freeform: Shape 862">
                    <a:extLst>
                      <a:ext uri="{FF2B5EF4-FFF2-40B4-BE49-F238E27FC236}">
                        <a16:creationId xmlns:a16="http://schemas.microsoft.com/office/drawing/2014/main" id="{C10789A2-787A-EBED-C201-C593E8E8696C}"/>
                      </a:ext>
                    </a:extLst>
                  </p:cNvPr>
                  <p:cNvSpPr/>
                  <p:nvPr userDrawn="1"/>
                </p:nvSpPr>
                <p:spPr>
                  <a:xfrm>
                    <a:off x="8417160" y="4490706"/>
                    <a:ext cx="42096" cy="42073"/>
                  </a:xfrm>
                  <a:custGeom>
                    <a:avLst/>
                    <a:gdLst>
                      <a:gd name="connsiteX0" fmla="*/ 0 w 42096"/>
                      <a:gd name="connsiteY0" fmla="*/ 21037 h 42073"/>
                      <a:gd name="connsiteX1" fmla="*/ 21037 w 42096"/>
                      <a:gd name="connsiteY1" fmla="*/ 42074 h 42073"/>
                      <a:gd name="connsiteX2" fmla="*/ 42097 w 42096"/>
                      <a:gd name="connsiteY2" fmla="*/ 21037 h 42073"/>
                      <a:gd name="connsiteX3" fmla="*/ 21037 w 42096"/>
                      <a:gd name="connsiteY3" fmla="*/ 0 h 42073"/>
                      <a:gd name="connsiteX4" fmla="*/ 0 w 42096"/>
                      <a:gd name="connsiteY4" fmla="*/ 21037 h 4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73">
                        <a:moveTo>
                          <a:pt x="0" y="21037"/>
                        </a:moveTo>
                        <a:cubicBezTo>
                          <a:pt x="0" y="32643"/>
                          <a:pt x="9430" y="42074"/>
                          <a:pt x="21037" y="42074"/>
                        </a:cubicBezTo>
                        <a:cubicBezTo>
                          <a:pt x="32667" y="42074"/>
                          <a:pt x="42097" y="32643"/>
                          <a:pt x="42097" y="21037"/>
                        </a:cubicBezTo>
                        <a:cubicBezTo>
                          <a:pt x="42097" y="9407"/>
                          <a:pt x="32667" y="0"/>
                          <a:pt x="21037" y="0"/>
                        </a:cubicBezTo>
                        <a:cubicBezTo>
                          <a:pt x="9430" y="-23"/>
                          <a:pt x="0" y="9407"/>
                          <a:pt x="0" y="21037"/>
                        </a:cubicBezTo>
                        <a:close/>
                      </a:path>
                    </a:pathLst>
                  </a:custGeom>
                  <a:solidFill>
                    <a:srgbClr val="C5CAD9"/>
                  </a:solidFill>
                  <a:ln w="2339" cap="flat">
                    <a:noFill/>
                    <a:prstDash val="solid"/>
                    <a:miter/>
                  </a:ln>
                </p:spPr>
                <p:txBody>
                  <a:bodyPr rtlCol="0" anchor="ctr"/>
                  <a:lstStyle/>
                  <a:p>
                    <a:endParaRPr lang="en-US"/>
                  </a:p>
                </p:txBody>
              </p:sp>
              <p:sp>
                <p:nvSpPr>
                  <p:cNvPr id="864" name="Freeform: Shape 863">
                    <a:extLst>
                      <a:ext uri="{FF2B5EF4-FFF2-40B4-BE49-F238E27FC236}">
                        <a16:creationId xmlns:a16="http://schemas.microsoft.com/office/drawing/2014/main" id="{4E0B2950-1FAC-CC3B-8457-9E41294E48D6}"/>
                      </a:ext>
                    </a:extLst>
                  </p:cNvPr>
                  <p:cNvSpPr/>
                  <p:nvPr userDrawn="1"/>
                </p:nvSpPr>
                <p:spPr>
                  <a:xfrm>
                    <a:off x="8417675" y="44908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5CAD9"/>
                  </a:solidFill>
                  <a:ln w="2339" cap="flat">
                    <a:noFill/>
                    <a:prstDash val="solid"/>
                    <a:miter/>
                  </a:ln>
                </p:spPr>
                <p:txBody>
                  <a:bodyPr rtlCol="0" anchor="ctr"/>
                  <a:lstStyle/>
                  <a:p>
                    <a:endParaRPr lang="en-US"/>
                  </a:p>
                </p:txBody>
              </p:sp>
              <p:sp>
                <p:nvSpPr>
                  <p:cNvPr id="865" name="Freeform: Shape 864">
                    <a:extLst>
                      <a:ext uri="{FF2B5EF4-FFF2-40B4-BE49-F238E27FC236}">
                        <a16:creationId xmlns:a16="http://schemas.microsoft.com/office/drawing/2014/main" id="{A7520080-8CBB-862E-85DF-31F98A8D343B}"/>
                      </a:ext>
                    </a:extLst>
                  </p:cNvPr>
                  <p:cNvSpPr/>
                  <p:nvPr userDrawn="1"/>
                </p:nvSpPr>
                <p:spPr>
                  <a:xfrm>
                    <a:off x="8418189" y="449098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AD9"/>
                  </a:solidFill>
                  <a:ln w="2339" cap="flat">
                    <a:noFill/>
                    <a:prstDash val="solid"/>
                    <a:miter/>
                  </a:ln>
                </p:spPr>
                <p:txBody>
                  <a:bodyPr rtlCol="0" anchor="ctr"/>
                  <a:lstStyle/>
                  <a:p>
                    <a:endParaRPr lang="en-US"/>
                  </a:p>
                </p:txBody>
              </p:sp>
              <p:sp>
                <p:nvSpPr>
                  <p:cNvPr id="866" name="Freeform: Shape 865">
                    <a:extLst>
                      <a:ext uri="{FF2B5EF4-FFF2-40B4-BE49-F238E27FC236}">
                        <a16:creationId xmlns:a16="http://schemas.microsoft.com/office/drawing/2014/main" id="{8D26C55F-873B-CB8F-1B11-A53BB444926B}"/>
                      </a:ext>
                    </a:extLst>
                  </p:cNvPr>
                  <p:cNvSpPr/>
                  <p:nvPr userDrawn="1"/>
                </p:nvSpPr>
                <p:spPr>
                  <a:xfrm>
                    <a:off x="8418704" y="44911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5CBD9"/>
                  </a:solidFill>
                  <a:ln w="2339" cap="flat">
                    <a:noFill/>
                    <a:prstDash val="solid"/>
                    <a:miter/>
                  </a:ln>
                </p:spPr>
                <p:txBody>
                  <a:bodyPr rtlCol="0" anchor="ctr"/>
                  <a:lstStyle/>
                  <a:p>
                    <a:endParaRPr lang="en-US"/>
                  </a:p>
                </p:txBody>
              </p:sp>
              <p:sp>
                <p:nvSpPr>
                  <p:cNvPr id="867" name="Freeform: Shape 866">
                    <a:extLst>
                      <a:ext uri="{FF2B5EF4-FFF2-40B4-BE49-F238E27FC236}">
                        <a16:creationId xmlns:a16="http://schemas.microsoft.com/office/drawing/2014/main" id="{824F8609-66A0-AEFA-FD25-222C8A762E8A}"/>
                      </a:ext>
                    </a:extLst>
                  </p:cNvPr>
                  <p:cNvSpPr/>
                  <p:nvPr userDrawn="1"/>
                </p:nvSpPr>
                <p:spPr>
                  <a:xfrm>
                    <a:off x="8419196" y="44913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a:p>
                </p:txBody>
              </p:sp>
              <p:sp>
                <p:nvSpPr>
                  <p:cNvPr id="868" name="Freeform: Shape 867">
                    <a:extLst>
                      <a:ext uri="{FF2B5EF4-FFF2-40B4-BE49-F238E27FC236}">
                        <a16:creationId xmlns:a16="http://schemas.microsoft.com/office/drawing/2014/main" id="{D41610E8-20E8-D8BD-F1FE-01A1280B0F90}"/>
                      </a:ext>
                    </a:extLst>
                  </p:cNvPr>
                  <p:cNvSpPr/>
                  <p:nvPr userDrawn="1"/>
                </p:nvSpPr>
                <p:spPr>
                  <a:xfrm>
                    <a:off x="8419710" y="44914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6CBDA"/>
                  </a:solidFill>
                  <a:ln w="2339" cap="flat">
                    <a:noFill/>
                    <a:prstDash val="solid"/>
                    <a:miter/>
                  </a:ln>
                </p:spPr>
                <p:txBody>
                  <a:bodyPr rtlCol="0" anchor="ctr"/>
                  <a:lstStyle/>
                  <a:p>
                    <a:endParaRPr lang="en-US"/>
                  </a:p>
                </p:txBody>
              </p:sp>
              <p:sp>
                <p:nvSpPr>
                  <p:cNvPr id="869" name="Freeform: Shape 868">
                    <a:extLst>
                      <a:ext uri="{FF2B5EF4-FFF2-40B4-BE49-F238E27FC236}">
                        <a16:creationId xmlns:a16="http://schemas.microsoft.com/office/drawing/2014/main" id="{1C33F9D1-29FA-23CF-8615-D71EBC57365E}"/>
                      </a:ext>
                    </a:extLst>
                  </p:cNvPr>
                  <p:cNvSpPr/>
                  <p:nvPr userDrawn="1"/>
                </p:nvSpPr>
                <p:spPr>
                  <a:xfrm>
                    <a:off x="8420225" y="449164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6CBDA"/>
                  </a:solidFill>
                  <a:ln w="2339" cap="flat">
                    <a:noFill/>
                    <a:prstDash val="solid"/>
                    <a:miter/>
                  </a:ln>
                </p:spPr>
                <p:txBody>
                  <a:bodyPr rtlCol="0" anchor="ctr"/>
                  <a:lstStyle/>
                  <a:p>
                    <a:endParaRPr lang="en-US"/>
                  </a:p>
                </p:txBody>
              </p:sp>
              <p:sp>
                <p:nvSpPr>
                  <p:cNvPr id="870" name="Freeform: Shape 869">
                    <a:extLst>
                      <a:ext uri="{FF2B5EF4-FFF2-40B4-BE49-F238E27FC236}">
                        <a16:creationId xmlns:a16="http://schemas.microsoft.com/office/drawing/2014/main" id="{CB54DB4E-2EB8-780B-4A0D-1984A93BABC3}"/>
                      </a:ext>
                    </a:extLst>
                  </p:cNvPr>
                  <p:cNvSpPr/>
                  <p:nvPr userDrawn="1"/>
                </p:nvSpPr>
                <p:spPr>
                  <a:xfrm>
                    <a:off x="8420717" y="44918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7CCDA"/>
                  </a:solidFill>
                  <a:ln w="2339" cap="flat">
                    <a:noFill/>
                    <a:prstDash val="solid"/>
                    <a:miter/>
                  </a:ln>
                </p:spPr>
                <p:txBody>
                  <a:bodyPr rtlCol="0" anchor="ctr"/>
                  <a:lstStyle/>
                  <a:p>
                    <a:endParaRPr lang="en-US"/>
                  </a:p>
                </p:txBody>
              </p:sp>
              <p:sp>
                <p:nvSpPr>
                  <p:cNvPr id="871" name="Freeform: Shape 870">
                    <a:extLst>
                      <a:ext uri="{FF2B5EF4-FFF2-40B4-BE49-F238E27FC236}">
                        <a16:creationId xmlns:a16="http://schemas.microsoft.com/office/drawing/2014/main" id="{8AEBC39F-77A1-2AF3-D747-089C31353F59}"/>
                      </a:ext>
                    </a:extLst>
                  </p:cNvPr>
                  <p:cNvSpPr/>
                  <p:nvPr userDrawn="1"/>
                </p:nvSpPr>
                <p:spPr>
                  <a:xfrm>
                    <a:off x="8421231" y="44919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7CCDA"/>
                  </a:solidFill>
                  <a:ln w="2339" cap="flat">
                    <a:noFill/>
                    <a:prstDash val="solid"/>
                    <a:miter/>
                  </a:ln>
                </p:spPr>
                <p:txBody>
                  <a:bodyPr rtlCol="0" anchor="ctr"/>
                  <a:lstStyle/>
                  <a:p>
                    <a:endParaRPr lang="en-US"/>
                  </a:p>
                </p:txBody>
              </p:sp>
              <p:sp>
                <p:nvSpPr>
                  <p:cNvPr id="872" name="Freeform: Shape 871">
                    <a:extLst>
                      <a:ext uri="{FF2B5EF4-FFF2-40B4-BE49-F238E27FC236}">
                        <a16:creationId xmlns:a16="http://schemas.microsoft.com/office/drawing/2014/main" id="{DFBE6E34-0237-0905-D05E-7F72801362CC}"/>
                      </a:ext>
                    </a:extLst>
                  </p:cNvPr>
                  <p:cNvSpPr/>
                  <p:nvPr userDrawn="1"/>
                </p:nvSpPr>
                <p:spPr>
                  <a:xfrm>
                    <a:off x="8421723" y="449215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7CCDB"/>
                  </a:solidFill>
                  <a:ln w="2339" cap="flat">
                    <a:noFill/>
                    <a:prstDash val="solid"/>
                    <a:miter/>
                  </a:ln>
                </p:spPr>
                <p:txBody>
                  <a:bodyPr rtlCol="0" anchor="ctr"/>
                  <a:lstStyle/>
                  <a:p>
                    <a:endParaRPr lang="en-US"/>
                  </a:p>
                </p:txBody>
              </p:sp>
              <p:sp>
                <p:nvSpPr>
                  <p:cNvPr id="873" name="Freeform: Shape 872">
                    <a:extLst>
                      <a:ext uri="{FF2B5EF4-FFF2-40B4-BE49-F238E27FC236}">
                        <a16:creationId xmlns:a16="http://schemas.microsoft.com/office/drawing/2014/main" id="{6462F41C-84A7-90DA-A6B2-1EF25E4E0064}"/>
                      </a:ext>
                    </a:extLst>
                  </p:cNvPr>
                  <p:cNvSpPr/>
                  <p:nvPr userDrawn="1"/>
                </p:nvSpPr>
                <p:spPr>
                  <a:xfrm>
                    <a:off x="8422238" y="449232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8CDDB"/>
                  </a:solidFill>
                  <a:ln w="2339" cap="flat">
                    <a:noFill/>
                    <a:prstDash val="solid"/>
                    <a:miter/>
                  </a:ln>
                </p:spPr>
                <p:txBody>
                  <a:bodyPr rtlCol="0" anchor="ctr"/>
                  <a:lstStyle/>
                  <a:p>
                    <a:endParaRPr lang="en-US"/>
                  </a:p>
                </p:txBody>
              </p:sp>
              <p:sp>
                <p:nvSpPr>
                  <p:cNvPr id="874" name="Freeform: Shape 873">
                    <a:extLst>
                      <a:ext uri="{FF2B5EF4-FFF2-40B4-BE49-F238E27FC236}">
                        <a16:creationId xmlns:a16="http://schemas.microsoft.com/office/drawing/2014/main" id="{27E56B92-D8E3-103B-9228-F9115276E1D8}"/>
                      </a:ext>
                    </a:extLst>
                  </p:cNvPr>
                  <p:cNvSpPr/>
                  <p:nvPr userDrawn="1"/>
                </p:nvSpPr>
                <p:spPr>
                  <a:xfrm>
                    <a:off x="8422729" y="449248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8CDDB"/>
                  </a:solidFill>
                  <a:ln w="2339" cap="flat">
                    <a:noFill/>
                    <a:prstDash val="solid"/>
                    <a:miter/>
                  </a:ln>
                </p:spPr>
                <p:txBody>
                  <a:bodyPr rtlCol="0" anchor="ctr"/>
                  <a:lstStyle/>
                  <a:p>
                    <a:endParaRPr lang="en-US"/>
                  </a:p>
                </p:txBody>
              </p:sp>
              <p:sp>
                <p:nvSpPr>
                  <p:cNvPr id="875" name="Freeform: Shape 874">
                    <a:extLst>
                      <a:ext uri="{FF2B5EF4-FFF2-40B4-BE49-F238E27FC236}">
                        <a16:creationId xmlns:a16="http://schemas.microsoft.com/office/drawing/2014/main" id="{CC052A4A-2E65-D62B-7FE4-8212AC58AC3C}"/>
                      </a:ext>
                    </a:extLst>
                  </p:cNvPr>
                  <p:cNvSpPr/>
                  <p:nvPr userDrawn="1"/>
                </p:nvSpPr>
                <p:spPr>
                  <a:xfrm>
                    <a:off x="8423244" y="44926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C8CDDB"/>
                  </a:solidFill>
                  <a:ln w="2339" cap="flat">
                    <a:noFill/>
                    <a:prstDash val="solid"/>
                    <a:miter/>
                  </a:ln>
                </p:spPr>
                <p:txBody>
                  <a:bodyPr rtlCol="0" anchor="ctr"/>
                  <a:lstStyle/>
                  <a:p>
                    <a:endParaRPr lang="en-US"/>
                  </a:p>
                </p:txBody>
              </p:sp>
              <p:sp>
                <p:nvSpPr>
                  <p:cNvPr id="876" name="Freeform: Shape 875">
                    <a:extLst>
                      <a:ext uri="{FF2B5EF4-FFF2-40B4-BE49-F238E27FC236}">
                        <a16:creationId xmlns:a16="http://schemas.microsoft.com/office/drawing/2014/main" id="{CC0EF91D-6EE0-7BA4-CC12-C25D05098596}"/>
                      </a:ext>
                    </a:extLst>
                  </p:cNvPr>
                  <p:cNvSpPr/>
                  <p:nvPr userDrawn="1"/>
                </p:nvSpPr>
                <p:spPr>
                  <a:xfrm>
                    <a:off x="8423735" y="449283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9CDDB"/>
                  </a:solidFill>
                  <a:ln w="2339" cap="flat">
                    <a:noFill/>
                    <a:prstDash val="solid"/>
                    <a:miter/>
                  </a:ln>
                </p:spPr>
                <p:txBody>
                  <a:bodyPr rtlCol="0" anchor="ctr"/>
                  <a:lstStyle/>
                  <a:p>
                    <a:endParaRPr lang="en-US"/>
                  </a:p>
                </p:txBody>
              </p:sp>
              <p:sp>
                <p:nvSpPr>
                  <p:cNvPr id="877" name="Freeform: Shape 876">
                    <a:extLst>
                      <a:ext uri="{FF2B5EF4-FFF2-40B4-BE49-F238E27FC236}">
                        <a16:creationId xmlns:a16="http://schemas.microsoft.com/office/drawing/2014/main" id="{E34E9EFD-90B1-4930-578F-D18C1777D63E}"/>
                      </a:ext>
                    </a:extLst>
                  </p:cNvPr>
                  <p:cNvSpPr/>
                  <p:nvPr userDrawn="1"/>
                </p:nvSpPr>
                <p:spPr>
                  <a:xfrm>
                    <a:off x="8424227" y="44929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a:p>
                </p:txBody>
              </p:sp>
              <p:sp>
                <p:nvSpPr>
                  <p:cNvPr id="878" name="Freeform: Shape 877">
                    <a:extLst>
                      <a:ext uri="{FF2B5EF4-FFF2-40B4-BE49-F238E27FC236}">
                        <a16:creationId xmlns:a16="http://schemas.microsoft.com/office/drawing/2014/main" id="{3710BC05-9019-8603-904F-09F4D2B99D1F}"/>
                      </a:ext>
                    </a:extLst>
                  </p:cNvPr>
                  <p:cNvSpPr/>
                  <p:nvPr userDrawn="1"/>
                </p:nvSpPr>
                <p:spPr>
                  <a:xfrm>
                    <a:off x="8424718" y="44931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9CEDC"/>
                  </a:solidFill>
                  <a:ln w="2339" cap="flat">
                    <a:noFill/>
                    <a:prstDash val="solid"/>
                    <a:miter/>
                  </a:ln>
                </p:spPr>
                <p:txBody>
                  <a:bodyPr rtlCol="0" anchor="ctr"/>
                  <a:lstStyle/>
                  <a:p>
                    <a:endParaRPr lang="en-US"/>
                  </a:p>
                </p:txBody>
              </p:sp>
              <p:sp>
                <p:nvSpPr>
                  <p:cNvPr id="879" name="Freeform: Shape 878">
                    <a:extLst>
                      <a:ext uri="{FF2B5EF4-FFF2-40B4-BE49-F238E27FC236}">
                        <a16:creationId xmlns:a16="http://schemas.microsoft.com/office/drawing/2014/main" id="{BD230C9C-6882-72EB-739D-45768FD559BC}"/>
                      </a:ext>
                    </a:extLst>
                  </p:cNvPr>
                  <p:cNvSpPr/>
                  <p:nvPr userDrawn="1"/>
                </p:nvSpPr>
                <p:spPr>
                  <a:xfrm>
                    <a:off x="8425209" y="44933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9CEDC"/>
                  </a:solidFill>
                  <a:ln w="2339" cap="flat">
                    <a:noFill/>
                    <a:prstDash val="solid"/>
                    <a:miter/>
                  </a:ln>
                </p:spPr>
                <p:txBody>
                  <a:bodyPr rtlCol="0" anchor="ctr"/>
                  <a:lstStyle/>
                  <a:p>
                    <a:endParaRPr lang="en-US"/>
                  </a:p>
                </p:txBody>
              </p:sp>
              <p:sp>
                <p:nvSpPr>
                  <p:cNvPr id="880" name="Freeform: Shape 879">
                    <a:extLst>
                      <a:ext uri="{FF2B5EF4-FFF2-40B4-BE49-F238E27FC236}">
                        <a16:creationId xmlns:a16="http://schemas.microsoft.com/office/drawing/2014/main" id="{538E637C-7F58-D595-AFC5-294D7062EBFC}"/>
                      </a:ext>
                    </a:extLst>
                  </p:cNvPr>
                  <p:cNvSpPr/>
                  <p:nvPr userDrawn="1"/>
                </p:nvSpPr>
                <p:spPr>
                  <a:xfrm>
                    <a:off x="8425701" y="44935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C"/>
                  </a:solidFill>
                  <a:ln w="2339" cap="flat">
                    <a:noFill/>
                    <a:prstDash val="solid"/>
                    <a:miter/>
                  </a:ln>
                </p:spPr>
                <p:txBody>
                  <a:bodyPr rtlCol="0" anchor="ctr"/>
                  <a:lstStyle/>
                  <a:p>
                    <a:endParaRPr lang="en-US"/>
                  </a:p>
                </p:txBody>
              </p:sp>
              <p:sp>
                <p:nvSpPr>
                  <p:cNvPr id="881" name="Freeform: Shape 880">
                    <a:extLst>
                      <a:ext uri="{FF2B5EF4-FFF2-40B4-BE49-F238E27FC236}">
                        <a16:creationId xmlns:a16="http://schemas.microsoft.com/office/drawing/2014/main" id="{39C1380E-35A8-FE77-02BD-CBD73EB0B3CD}"/>
                      </a:ext>
                    </a:extLst>
                  </p:cNvPr>
                  <p:cNvSpPr/>
                  <p:nvPr userDrawn="1"/>
                </p:nvSpPr>
                <p:spPr>
                  <a:xfrm>
                    <a:off x="8426192" y="4493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ACFDC"/>
                  </a:solidFill>
                  <a:ln w="2339" cap="flat">
                    <a:noFill/>
                    <a:prstDash val="solid"/>
                    <a:miter/>
                  </a:ln>
                </p:spPr>
                <p:txBody>
                  <a:bodyPr rtlCol="0" anchor="ctr"/>
                  <a:lstStyle/>
                  <a:p>
                    <a:endParaRPr lang="en-US"/>
                  </a:p>
                </p:txBody>
              </p:sp>
              <p:sp>
                <p:nvSpPr>
                  <p:cNvPr id="882" name="Freeform: Shape 881">
                    <a:extLst>
                      <a:ext uri="{FF2B5EF4-FFF2-40B4-BE49-F238E27FC236}">
                        <a16:creationId xmlns:a16="http://schemas.microsoft.com/office/drawing/2014/main" id="{74CAF148-0156-EB79-103E-BBF0671487B9}"/>
                      </a:ext>
                    </a:extLst>
                  </p:cNvPr>
                  <p:cNvSpPr/>
                  <p:nvPr userDrawn="1"/>
                </p:nvSpPr>
                <p:spPr>
                  <a:xfrm>
                    <a:off x="8426684" y="44938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ACFDD"/>
                  </a:solidFill>
                  <a:ln w="2339" cap="flat">
                    <a:noFill/>
                    <a:prstDash val="solid"/>
                    <a:miter/>
                  </a:ln>
                </p:spPr>
                <p:txBody>
                  <a:bodyPr rtlCol="0" anchor="ctr"/>
                  <a:lstStyle/>
                  <a:p>
                    <a:endParaRPr lang="en-US"/>
                  </a:p>
                </p:txBody>
              </p:sp>
              <p:sp>
                <p:nvSpPr>
                  <p:cNvPr id="883" name="Freeform: Shape 882">
                    <a:extLst>
                      <a:ext uri="{FF2B5EF4-FFF2-40B4-BE49-F238E27FC236}">
                        <a16:creationId xmlns:a16="http://schemas.microsoft.com/office/drawing/2014/main" id="{6B805E67-270E-1FAF-F913-8FBE26C012E0}"/>
                      </a:ext>
                    </a:extLst>
                  </p:cNvPr>
                  <p:cNvSpPr/>
                  <p:nvPr userDrawn="1"/>
                </p:nvSpPr>
                <p:spPr>
                  <a:xfrm>
                    <a:off x="8427175" y="44940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BCFDD"/>
                  </a:solidFill>
                  <a:ln w="2339" cap="flat">
                    <a:noFill/>
                    <a:prstDash val="solid"/>
                    <a:miter/>
                  </a:ln>
                </p:spPr>
                <p:txBody>
                  <a:bodyPr rtlCol="0" anchor="ctr"/>
                  <a:lstStyle/>
                  <a:p>
                    <a:endParaRPr lang="en-US"/>
                  </a:p>
                </p:txBody>
              </p:sp>
              <p:sp>
                <p:nvSpPr>
                  <p:cNvPr id="884" name="Freeform: Shape 883">
                    <a:extLst>
                      <a:ext uri="{FF2B5EF4-FFF2-40B4-BE49-F238E27FC236}">
                        <a16:creationId xmlns:a16="http://schemas.microsoft.com/office/drawing/2014/main" id="{CB0B7843-6C1D-DB03-56F8-A72F6CA33C17}"/>
                      </a:ext>
                    </a:extLst>
                  </p:cNvPr>
                  <p:cNvSpPr/>
                  <p:nvPr userDrawn="1"/>
                </p:nvSpPr>
                <p:spPr>
                  <a:xfrm>
                    <a:off x="8427666" y="4494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CBD0DD"/>
                  </a:solidFill>
                  <a:ln w="2339" cap="flat">
                    <a:noFill/>
                    <a:prstDash val="solid"/>
                    <a:miter/>
                  </a:ln>
                </p:spPr>
                <p:txBody>
                  <a:bodyPr rtlCol="0" anchor="ctr"/>
                  <a:lstStyle/>
                  <a:p>
                    <a:endParaRPr lang="en-US"/>
                  </a:p>
                </p:txBody>
              </p:sp>
              <p:sp>
                <p:nvSpPr>
                  <p:cNvPr id="885" name="Freeform: Shape 884">
                    <a:extLst>
                      <a:ext uri="{FF2B5EF4-FFF2-40B4-BE49-F238E27FC236}">
                        <a16:creationId xmlns:a16="http://schemas.microsoft.com/office/drawing/2014/main" id="{A8F563A2-23E5-1A9F-1F3C-70FE0EA8A917}"/>
                      </a:ext>
                    </a:extLst>
                  </p:cNvPr>
                  <p:cNvSpPr/>
                  <p:nvPr userDrawn="1"/>
                </p:nvSpPr>
                <p:spPr>
                  <a:xfrm>
                    <a:off x="8428135" y="44944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BD0DD"/>
                  </a:solidFill>
                  <a:ln w="2339" cap="flat">
                    <a:noFill/>
                    <a:prstDash val="solid"/>
                    <a:miter/>
                  </a:ln>
                </p:spPr>
                <p:txBody>
                  <a:bodyPr rtlCol="0" anchor="ctr"/>
                  <a:lstStyle/>
                  <a:p>
                    <a:endParaRPr lang="en-US"/>
                  </a:p>
                </p:txBody>
              </p:sp>
              <p:sp>
                <p:nvSpPr>
                  <p:cNvPr id="886" name="Freeform: Shape 885">
                    <a:extLst>
                      <a:ext uri="{FF2B5EF4-FFF2-40B4-BE49-F238E27FC236}">
                        <a16:creationId xmlns:a16="http://schemas.microsoft.com/office/drawing/2014/main" id="{DD024ABE-FBFF-96C9-B00B-A4D3D73D02B4}"/>
                      </a:ext>
                    </a:extLst>
                  </p:cNvPr>
                  <p:cNvSpPr/>
                  <p:nvPr userDrawn="1"/>
                </p:nvSpPr>
                <p:spPr>
                  <a:xfrm>
                    <a:off x="8428626" y="449461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0DD"/>
                  </a:solidFill>
                  <a:ln w="2339" cap="flat">
                    <a:noFill/>
                    <a:prstDash val="solid"/>
                    <a:miter/>
                  </a:ln>
                </p:spPr>
                <p:txBody>
                  <a:bodyPr rtlCol="0" anchor="ctr"/>
                  <a:lstStyle/>
                  <a:p>
                    <a:endParaRPr lang="en-US"/>
                  </a:p>
                </p:txBody>
              </p:sp>
              <p:sp>
                <p:nvSpPr>
                  <p:cNvPr id="887" name="Freeform: Shape 886">
                    <a:extLst>
                      <a:ext uri="{FF2B5EF4-FFF2-40B4-BE49-F238E27FC236}">
                        <a16:creationId xmlns:a16="http://schemas.microsoft.com/office/drawing/2014/main" id="{CC6109E6-DF2E-4D68-2977-895C494B1021}"/>
                      </a:ext>
                    </a:extLst>
                  </p:cNvPr>
                  <p:cNvSpPr/>
                  <p:nvPr userDrawn="1"/>
                </p:nvSpPr>
                <p:spPr>
                  <a:xfrm>
                    <a:off x="8429117" y="44948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CD0DE"/>
                  </a:solidFill>
                  <a:ln w="2339" cap="flat">
                    <a:noFill/>
                    <a:prstDash val="solid"/>
                    <a:miter/>
                  </a:ln>
                </p:spPr>
                <p:txBody>
                  <a:bodyPr rtlCol="0" anchor="ctr"/>
                  <a:lstStyle/>
                  <a:p>
                    <a:endParaRPr lang="en-US"/>
                  </a:p>
                </p:txBody>
              </p:sp>
              <p:sp>
                <p:nvSpPr>
                  <p:cNvPr id="888" name="Freeform: Shape 887">
                    <a:extLst>
                      <a:ext uri="{FF2B5EF4-FFF2-40B4-BE49-F238E27FC236}">
                        <a16:creationId xmlns:a16="http://schemas.microsoft.com/office/drawing/2014/main" id="{542F8F32-9BD4-C341-CB0F-2AE02775B79A}"/>
                      </a:ext>
                    </a:extLst>
                  </p:cNvPr>
                  <p:cNvSpPr/>
                  <p:nvPr userDrawn="1"/>
                </p:nvSpPr>
                <p:spPr>
                  <a:xfrm>
                    <a:off x="8429585" y="44949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CD1DE"/>
                  </a:solidFill>
                  <a:ln w="2339" cap="flat">
                    <a:noFill/>
                    <a:prstDash val="solid"/>
                    <a:miter/>
                  </a:ln>
                </p:spPr>
                <p:txBody>
                  <a:bodyPr rtlCol="0" anchor="ctr"/>
                  <a:lstStyle/>
                  <a:p>
                    <a:endParaRPr lang="en-US"/>
                  </a:p>
                </p:txBody>
              </p:sp>
              <p:sp>
                <p:nvSpPr>
                  <p:cNvPr id="889" name="Freeform: Shape 888">
                    <a:extLst>
                      <a:ext uri="{FF2B5EF4-FFF2-40B4-BE49-F238E27FC236}">
                        <a16:creationId xmlns:a16="http://schemas.microsoft.com/office/drawing/2014/main" id="{65554A78-99EF-B443-98B3-9017BC0E5C4C}"/>
                      </a:ext>
                    </a:extLst>
                  </p:cNvPr>
                  <p:cNvSpPr/>
                  <p:nvPr userDrawn="1"/>
                </p:nvSpPr>
                <p:spPr>
                  <a:xfrm>
                    <a:off x="8430077" y="44951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1DE"/>
                  </a:solidFill>
                  <a:ln w="2339" cap="flat">
                    <a:noFill/>
                    <a:prstDash val="solid"/>
                    <a:miter/>
                  </a:ln>
                </p:spPr>
                <p:txBody>
                  <a:bodyPr rtlCol="0" anchor="ctr"/>
                  <a:lstStyle/>
                  <a:p>
                    <a:endParaRPr lang="en-US"/>
                  </a:p>
                </p:txBody>
              </p:sp>
              <p:sp>
                <p:nvSpPr>
                  <p:cNvPr id="890" name="Freeform: Shape 889">
                    <a:extLst>
                      <a:ext uri="{FF2B5EF4-FFF2-40B4-BE49-F238E27FC236}">
                        <a16:creationId xmlns:a16="http://schemas.microsoft.com/office/drawing/2014/main" id="{35E7468F-FF5C-5C67-F77D-452CBA9872D8}"/>
                      </a:ext>
                    </a:extLst>
                  </p:cNvPr>
                  <p:cNvSpPr/>
                  <p:nvPr userDrawn="1"/>
                </p:nvSpPr>
                <p:spPr>
                  <a:xfrm>
                    <a:off x="8430545" y="44953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DD1DE"/>
                  </a:solidFill>
                  <a:ln w="2339" cap="flat">
                    <a:noFill/>
                    <a:prstDash val="solid"/>
                    <a:miter/>
                  </a:ln>
                </p:spPr>
                <p:txBody>
                  <a:bodyPr rtlCol="0" anchor="ctr"/>
                  <a:lstStyle/>
                  <a:p>
                    <a:endParaRPr lang="en-US"/>
                  </a:p>
                </p:txBody>
              </p:sp>
              <p:sp>
                <p:nvSpPr>
                  <p:cNvPr id="891" name="Freeform: Shape 890">
                    <a:extLst>
                      <a:ext uri="{FF2B5EF4-FFF2-40B4-BE49-F238E27FC236}">
                        <a16:creationId xmlns:a16="http://schemas.microsoft.com/office/drawing/2014/main" id="{47DC11BC-9403-376F-A9F9-972E1A071684}"/>
                      </a:ext>
                    </a:extLst>
                  </p:cNvPr>
                  <p:cNvSpPr/>
                  <p:nvPr userDrawn="1"/>
                </p:nvSpPr>
                <p:spPr>
                  <a:xfrm>
                    <a:off x="8431013" y="44955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DD2DE"/>
                  </a:solidFill>
                  <a:ln w="2339" cap="flat">
                    <a:noFill/>
                    <a:prstDash val="solid"/>
                    <a:miter/>
                  </a:ln>
                </p:spPr>
                <p:txBody>
                  <a:bodyPr rtlCol="0" anchor="ctr"/>
                  <a:lstStyle/>
                  <a:p>
                    <a:endParaRPr lang="en-US"/>
                  </a:p>
                </p:txBody>
              </p:sp>
              <p:sp>
                <p:nvSpPr>
                  <p:cNvPr id="892" name="Freeform: Shape 891">
                    <a:extLst>
                      <a:ext uri="{FF2B5EF4-FFF2-40B4-BE49-F238E27FC236}">
                        <a16:creationId xmlns:a16="http://schemas.microsoft.com/office/drawing/2014/main" id="{CA5CD9E6-BF9D-5FB1-5984-83A65AE7333D}"/>
                      </a:ext>
                    </a:extLst>
                  </p:cNvPr>
                  <p:cNvSpPr/>
                  <p:nvPr userDrawn="1"/>
                </p:nvSpPr>
                <p:spPr>
                  <a:xfrm>
                    <a:off x="8431504" y="449573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DD2DF"/>
                  </a:solidFill>
                  <a:ln w="2339" cap="flat">
                    <a:noFill/>
                    <a:prstDash val="solid"/>
                    <a:miter/>
                  </a:ln>
                </p:spPr>
                <p:txBody>
                  <a:bodyPr rtlCol="0" anchor="ctr"/>
                  <a:lstStyle/>
                  <a:p>
                    <a:endParaRPr lang="en-US"/>
                  </a:p>
                </p:txBody>
              </p:sp>
              <p:sp>
                <p:nvSpPr>
                  <p:cNvPr id="893" name="Freeform: Shape 892">
                    <a:extLst>
                      <a:ext uri="{FF2B5EF4-FFF2-40B4-BE49-F238E27FC236}">
                        <a16:creationId xmlns:a16="http://schemas.microsoft.com/office/drawing/2014/main" id="{579BCED4-664D-19F1-2359-686FEF494FB6}"/>
                      </a:ext>
                    </a:extLst>
                  </p:cNvPr>
                  <p:cNvSpPr/>
                  <p:nvPr userDrawn="1"/>
                </p:nvSpPr>
                <p:spPr>
                  <a:xfrm>
                    <a:off x="8431972" y="44959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a:p>
                </p:txBody>
              </p:sp>
              <p:sp>
                <p:nvSpPr>
                  <p:cNvPr id="894" name="Freeform: Shape 893">
                    <a:extLst>
                      <a:ext uri="{FF2B5EF4-FFF2-40B4-BE49-F238E27FC236}">
                        <a16:creationId xmlns:a16="http://schemas.microsoft.com/office/drawing/2014/main" id="{D4D82079-4C9E-EDE7-7BB9-E74E708884FA}"/>
                      </a:ext>
                    </a:extLst>
                  </p:cNvPr>
                  <p:cNvSpPr/>
                  <p:nvPr userDrawn="1"/>
                </p:nvSpPr>
                <p:spPr>
                  <a:xfrm>
                    <a:off x="8432440" y="449611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2DF"/>
                  </a:solidFill>
                  <a:ln w="2339" cap="flat">
                    <a:noFill/>
                    <a:prstDash val="solid"/>
                    <a:miter/>
                  </a:ln>
                </p:spPr>
                <p:txBody>
                  <a:bodyPr rtlCol="0" anchor="ctr"/>
                  <a:lstStyle/>
                  <a:p>
                    <a:endParaRPr lang="en-US"/>
                  </a:p>
                </p:txBody>
              </p:sp>
              <p:sp>
                <p:nvSpPr>
                  <p:cNvPr id="895" name="Freeform: Shape 894">
                    <a:extLst>
                      <a:ext uri="{FF2B5EF4-FFF2-40B4-BE49-F238E27FC236}">
                        <a16:creationId xmlns:a16="http://schemas.microsoft.com/office/drawing/2014/main" id="{387BA735-9AE2-4AA9-4CB5-F2FDBA3F6D9C}"/>
                      </a:ext>
                    </a:extLst>
                  </p:cNvPr>
                  <p:cNvSpPr/>
                  <p:nvPr userDrawn="1"/>
                </p:nvSpPr>
                <p:spPr>
                  <a:xfrm>
                    <a:off x="8432908" y="44962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CED3DF"/>
                  </a:solidFill>
                  <a:ln w="2339" cap="flat">
                    <a:noFill/>
                    <a:prstDash val="solid"/>
                    <a:miter/>
                  </a:ln>
                </p:spPr>
                <p:txBody>
                  <a:bodyPr rtlCol="0" anchor="ctr"/>
                  <a:lstStyle/>
                  <a:p>
                    <a:endParaRPr lang="en-US"/>
                  </a:p>
                </p:txBody>
              </p:sp>
              <p:sp>
                <p:nvSpPr>
                  <p:cNvPr id="896" name="Freeform: Shape 895">
                    <a:extLst>
                      <a:ext uri="{FF2B5EF4-FFF2-40B4-BE49-F238E27FC236}">
                        <a16:creationId xmlns:a16="http://schemas.microsoft.com/office/drawing/2014/main" id="{7FAC67CF-5EF6-4AA4-9002-F74A19BC8760}"/>
                      </a:ext>
                    </a:extLst>
                  </p:cNvPr>
                  <p:cNvSpPr/>
                  <p:nvPr userDrawn="1"/>
                </p:nvSpPr>
                <p:spPr>
                  <a:xfrm>
                    <a:off x="8433376" y="44964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CFD3DF"/>
                  </a:solidFill>
                  <a:ln w="2339" cap="flat">
                    <a:noFill/>
                    <a:prstDash val="solid"/>
                    <a:miter/>
                  </a:ln>
                </p:spPr>
                <p:txBody>
                  <a:bodyPr rtlCol="0" anchor="ctr"/>
                  <a:lstStyle/>
                  <a:p>
                    <a:endParaRPr lang="en-US"/>
                  </a:p>
                </p:txBody>
              </p:sp>
              <p:sp>
                <p:nvSpPr>
                  <p:cNvPr id="897" name="Freeform: Shape 896">
                    <a:extLst>
                      <a:ext uri="{FF2B5EF4-FFF2-40B4-BE49-F238E27FC236}">
                        <a16:creationId xmlns:a16="http://schemas.microsoft.com/office/drawing/2014/main" id="{D67B2A48-7AFA-5555-2E3A-0DF0078B6A17}"/>
                      </a:ext>
                    </a:extLst>
                  </p:cNvPr>
                  <p:cNvSpPr/>
                  <p:nvPr userDrawn="1"/>
                </p:nvSpPr>
                <p:spPr>
                  <a:xfrm>
                    <a:off x="8433844" y="44966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CFD3E0"/>
                  </a:solidFill>
                  <a:ln w="2339" cap="flat">
                    <a:noFill/>
                    <a:prstDash val="solid"/>
                    <a:miter/>
                  </a:ln>
                </p:spPr>
                <p:txBody>
                  <a:bodyPr rtlCol="0" anchor="ctr"/>
                  <a:lstStyle/>
                  <a:p>
                    <a:endParaRPr lang="en-US"/>
                  </a:p>
                </p:txBody>
              </p:sp>
              <p:sp>
                <p:nvSpPr>
                  <p:cNvPr id="898" name="Freeform: Shape 897">
                    <a:extLst>
                      <a:ext uri="{FF2B5EF4-FFF2-40B4-BE49-F238E27FC236}">
                        <a16:creationId xmlns:a16="http://schemas.microsoft.com/office/drawing/2014/main" id="{44D75258-8BC6-00F0-6360-DF72F2EE3DA8}"/>
                      </a:ext>
                    </a:extLst>
                  </p:cNvPr>
                  <p:cNvSpPr/>
                  <p:nvPr userDrawn="1"/>
                </p:nvSpPr>
                <p:spPr>
                  <a:xfrm>
                    <a:off x="8434312" y="44968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CFD4E0"/>
                  </a:solidFill>
                  <a:ln w="2339" cap="flat">
                    <a:noFill/>
                    <a:prstDash val="solid"/>
                    <a:miter/>
                  </a:ln>
                </p:spPr>
                <p:txBody>
                  <a:bodyPr rtlCol="0" anchor="ctr"/>
                  <a:lstStyle/>
                  <a:p>
                    <a:endParaRPr lang="en-US"/>
                  </a:p>
                </p:txBody>
              </p:sp>
              <p:sp>
                <p:nvSpPr>
                  <p:cNvPr id="899" name="Freeform: Shape 898">
                    <a:extLst>
                      <a:ext uri="{FF2B5EF4-FFF2-40B4-BE49-F238E27FC236}">
                        <a16:creationId xmlns:a16="http://schemas.microsoft.com/office/drawing/2014/main" id="{B497346A-6618-B7A6-4AA1-2920EE7006A2}"/>
                      </a:ext>
                    </a:extLst>
                  </p:cNvPr>
                  <p:cNvSpPr/>
                  <p:nvPr userDrawn="1"/>
                </p:nvSpPr>
                <p:spPr>
                  <a:xfrm>
                    <a:off x="8434780" y="4497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0D4E0"/>
                  </a:solidFill>
                  <a:ln w="2339" cap="flat">
                    <a:noFill/>
                    <a:prstDash val="solid"/>
                    <a:miter/>
                  </a:ln>
                </p:spPr>
                <p:txBody>
                  <a:bodyPr rtlCol="0" anchor="ctr"/>
                  <a:lstStyle/>
                  <a:p>
                    <a:endParaRPr lang="en-US"/>
                  </a:p>
                </p:txBody>
              </p:sp>
              <p:sp>
                <p:nvSpPr>
                  <p:cNvPr id="900" name="Freeform: Shape 899">
                    <a:extLst>
                      <a:ext uri="{FF2B5EF4-FFF2-40B4-BE49-F238E27FC236}">
                        <a16:creationId xmlns:a16="http://schemas.microsoft.com/office/drawing/2014/main" id="{31BA75B6-AAEE-5A41-E8D6-C6C154FFDFDA}"/>
                      </a:ext>
                    </a:extLst>
                  </p:cNvPr>
                  <p:cNvSpPr/>
                  <p:nvPr userDrawn="1"/>
                </p:nvSpPr>
                <p:spPr>
                  <a:xfrm>
                    <a:off x="8435225" y="44972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a:p>
                </p:txBody>
              </p:sp>
              <p:sp>
                <p:nvSpPr>
                  <p:cNvPr id="901" name="Freeform: Shape 900">
                    <a:extLst>
                      <a:ext uri="{FF2B5EF4-FFF2-40B4-BE49-F238E27FC236}">
                        <a16:creationId xmlns:a16="http://schemas.microsoft.com/office/drawing/2014/main" id="{E94671A1-D71A-C225-72B4-A7A29B885E82}"/>
                      </a:ext>
                    </a:extLst>
                  </p:cNvPr>
                  <p:cNvSpPr/>
                  <p:nvPr userDrawn="1"/>
                </p:nvSpPr>
                <p:spPr>
                  <a:xfrm>
                    <a:off x="8435693" y="44974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0D4E0"/>
                  </a:solidFill>
                  <a:ln w="2339" cap="flat">
                    <a:noFill/>
                    <a:prstDash val="solid"/>
                    <a:miter/>
                  </a:ln>
                </p:spPr>
                <p:txBody>
                  <a:bodyPr rtlCol="0" anchor="ctr"/>
                  <a:lstStyle/>
                  <a:p>
                    <a:endParaRPr lang="en-US"/>
                  </a:p>
                </p:txBody>
              </p:sp>
              <p:sp>
                <p:nvSpPr>
                  <p:cNvPr id="902" name="Freeform: Shape 901">
                    <a:extLst>
                      <a:ext uri="{FF2B5EF4-FFF2-40B4-BE49-F238E27FC236}">
                        <a16:creationId xmlns:a16="http://schemas.microsoft.com/office/drawing/2014/main" id="{CC79461D-881C-9765-2EEC-DDA5FF5D1131}"/>
                      </a:ext>
                    </a:extLst>
                  </p:cNvPr>
                  <p:cNvSpPr/>
                  <p:nvPr userDrawn="1"/>
                </p:nvSpPr>
                <p:spPr>
                  <a:xfrm>
                    <a:off x="8436137" y="44976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1D5E1"/>
                  </a:solidFill>
                  <a:ln w="2339" cap="flat">
                    <a:noFill/>
                    <a:prstDash val="solid"/>
                    <a:miter/>
                  </a:ln>
                </p:spPr>
                <p:txBody>
                  <a:bodyPr rtlCol="0" anchor="ctr"/>
                  <a:lstStyle/>
                  <a:p>
                    <a:endParaRPr lang="en-US"/>
                  </a:p>
                </p:txBody>
              </p:sp>
              <p:sp>
                <p:nvSpPr>
                  <p:cNvPr id="903" name="Freeform: Shape 902">
                    <a:extLst>
                      <a:ext uri="{FF2B5EF4-FFF2-40B4-BE49-F238E27FC236}">
                        <a16:creationId xmlns:a16="http://schemas.microsoft.com/office/drawing/2014/main" id="{317140F9-6B32-91D9-0D99-59FBFAA7BAE9}"/>
                      </a:ext>
                    </a:extLst>
                  </p:cNvPr>
                  <p:cNvSpPr/>
                  <p:nvPr userDrawn="1"/>
                </p:nvSpPr>
                <p:spPr>
                  <a:xfrm>
                    <a:off x="8436605" y="449786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a:p>
                </p:txBody>
              </p:sp>
              <p:sp>
                <p:nvSpPr>
                  <p:cNvPr id="904" name="Freeform: Shape 903">
                    <a:extLst>
                      <a:ext uri="{FF2B5EF4-FFF2-40B4-BE49-F238E27FC236}">
                        <a16:creationId xmlns:a16="http://schemas.microsoft.com/office/drawing/2014/main" id="{88DA5E3F-53B7-1249-B30B-95033805CFE9}"/>
                      </a:ext>
                    </a:extLst>
                  </p:cNvPr>
                  <p:cNvSpPr/>
                  <p:nvPr userDrawn="1"/>
                </p:nvSpPr>
                <p:spPr>
                  <a:xfrm>
                    <a:off x="8437050" y="44980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1D5E1"/>
                  </a:solidFill>
                  <a:ln w="2339" cap="flat">
                    <a:noFill/>
                    <a:prstDash val="solid"/>
                    <a:miter/>
                  </a:ln>
                </p:spPr>
                <p:txBody>
                  <a:bodyPr rtlCol="0" anchor="ctr"/>
                  <a:lstStyle/>
                  <a:p>
                    <a:endParaRPr lang="en-US"/>
                  </a:p>
                </p:txBody>
              </p:sp>
              <p:sp>
                <p:nvSpPr>
                  <p:cNvPr id="905" name="Freeform: Shape 904">
                    <a:extLst>
                      <a:ext uri="{FF2B5EF4-FFF2-40B4-BE49-F238E27FC236}">
                        <a16:creationId xmlns:a16="http://schemas.microsoft.com/office/drawing/2014/main" id="{72BEB366-F796-A016-9FA8-D5AFD8CF8366}"/>
                      </a:ext>
                    </a:extLst>
                  </p:cNvPr>
                  <p:cNvSpPr/>
                  <p:nvPr userDrawn="1"/>
                </p:nvSpPr>
                <p:spPr>
                  <a:xfrm>
                    <a:off x="8437518" y="4498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1D6E1"/>
                  </a:solidFill>
                  <a:ln w="2339" cap="flat">
                    <a:noFill/>
                    <a:prstDash val="solid"/>
                    <a:miter/>
                  </a:ln>
                </p:spPr>
                <p:txBody>
                  <a:bodyPr rtlCol="0" anchor="ctr"/>
                  <a:lstStyle/>
                  <a:p>
                    <a:endParaRPr lang="en-US"/>
                  </a:p>
                </p:txBody>
              </p:sp>
              <p:sp>
                <p:nvSpPr>
                  <p:cNvPr id="906" name="Freeform: Shape 905">
                    <a:extLst>
                      <a:ext uri="{FF2B5EF4-FFF2-40B4-BE49-F238E27FC236}">
                        <a16:creationId xmlns:a16="http://schemas.microsoft.com/office/drawing/2014/main" id="{E9B09D97-9CC2-C3E5-8F62-495B6CEBE0AA}"/>
                      </a:ext>
                    </a:extLst>
                  </p:cNvPr>
                  <p:cNvSpPr/>
                  <p:nvPr userDrawn="1"/>
                </p:nvSpPr>
                <p:spPr>
                  <a:xfrm>
                    <a:off x="8437963" y="449847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2D6E1"/>
                  </a:solidFill>
                  <a:ln w="2339" cap="flat">
                    <a:noFill/>
                    <a:prstDash val="solid"/>
                    <a:miter/>
                  </a:ln>
                </p:spPr>
                <p:txBody>
                  <a:bodyPr rtlCol="0" anchor="ctr"/>
                  <a:lstStyle/>
                  <a:p>
                    <a:endParaRPr lang="en-US"/>
                  </a:p>
                </p:txBody>
              </p:sp>
              <p:sp>
                <p:nvSpPr>
                  <p:cNvPr id="907" name="Freeform: Shape 906">
                    <a:extLst>
                      <a:ext uri="{FF2B5EF4-FFF2-40B4-BE49-F238E27FC236}">
                        <a16:creationId xmlns:a16="http://schemas.microsoft.com/office/drawing/2014/main" id="{0E67A3BB-2513-210B-6DB5-0674F47CF87B}"/>
                      </a:ext>
                    </a:extLst>
                  </p:cNvPr>
                  <p:cNvSpPr/>
                  <p:nvPr userDrawn="1"/>
                </p:nvSpPr>
                <p:spPr>
                  <a:xfrm>
                    <a:off x="8438407" y="44986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2D6E2"/>
                  </a:solidFill>
                  <a:ln w="2339" cap="flat">
                    <a:noFill/>
                    <a:prstDash val="solid"/>
                    <a:miter/>
                  </a:ln>
                </p:spPr>
                <p:txBody>
                  <a:bodyPr rtlCol="0" anchor="ctr"/>
                  <a:lstStyle/>
                  <a:p>
                    <a:endParaRPr lang="en-US"/>
                  </a:p>
                </p:txBody>
              </p:sp>
              <p:sp>
                <p:nvSpPr>
                  <p:cNvPr id="908" name="Freeform: Shape 907">
                    <a:extLst>
                      <a:ext uri="{FF2B5EF4-FFF2-40B4-BE49-F238E27FC236}">
                        <a16:creationId xmlns:a16="http://schemas.microsoft.com/office/drawing/2014/main" id="{B5B74263-768D-5B49-4478-F9AA77A19E16}"/>
                      </a:ext>
                    </a:extLst>
                  </p:cNvPr>
                  <p:cNvSpPr/>
                  <p:nvPr userDrawn="1"/>
                </p:nvSpPr>
                <p:spPr>
                  <a:xfrm>
                    <a:off x="8438852" y="449887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2D6E2"/>
                  </a:solidFill>
                  <a:ln w="2339" cap="flat">
                    <a:noFill/>
                    <a:prstDash val="solid"/>
                    <a:miter/>
                  </a:ln>
                </p:spPr>
                <p:txBody>
                  <a:bodyPr rtlCol="0" anchor="ctr"/>
                  <a:lstStyle/>
                  <a:p>
                    <a:endParaRPr lang="en-US"/>
                  </a:p>
                </p:txBody>
              </p:sp>
              <p:sp>
                <p:nvSpPr>
                  <p:cNvPr id="909" name="Freeform: Shape 908">
                    <a:extLst>
                      <a:ext uri="{FF2B5EF4-FFF2-40B4-BE49-F238E27FC236}">
                        <a16:creationId xmlns:a16="http://schemas.microsoft.com/office/drawing/2014/main" id="{1E26EC0A-849F-F746-1601-7D396621F567}"/>
                      </a:ext>
                    </a:extLst>
                  </p:cNvPr>
                  <p:cNvSpPr/>
                  <p:nvPr userDrawn="1"/>
                </p:nvSpPr>
                <p:spPr>
                  <a:xfrm>
                    <a:off x="8439296" y="449908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a:p>
                </p:txBody>
              </p:sp>
              <p:sp>
                <p:nvSpPr>
                  <p:cNvPr id="910" name="Freeform: Shape 909">
                    <a:extLst>
                      <a:ext uri="{FF2B5EF4-FFF2-40B4-BE49-F238E27FC236}">
                        <a16:creationId xmlns:a16="http://schemas.microsoft.com/office/drawing/2014/main" id="{3C768C6D-05FE-94FF-E48D-0456AF22F7F4}"/>
                      </a:ext>
                    </a:extLst>
                  </p:cNvPr>
                  <p:cNvSpPr/>
                  <p:nvPr userDrawn="1"/>
                </p:nvSpPr>
                <p:spPr>
                  <a:xfrm>
                    <a:off x="8439741" y="44992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a:p>
                </p:txBody>
              </p:sp>
              <p:sp>
                <p:nvSpPr>
                  <p:cNvPr id="911" name="Freeform: Shape 910">
                    <a:extLst>
                      <a:ext uri="{FF2B5EF4-FFF2-40B4-BE49-F238E27FC236}">
                        <a16:creationId xmlns:a16="http://schemas.microsoft.com/office/drawing/2014/main" id="{447B57AF-B87E-212A-F453-692C01A3E657}"/>
                      </a:ext>
                    </a:extLst>
                  </p:cNvPr>
                  <p:cNvSpPr/>
                  <p:nvPr userDrawn="1"/>
                </p:nvSpPr>
                <p:spPr>
                  <a:xfrm>
                    <a:off x="8440186" y="449950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3D7E2"/>
                  </a:solidFill>
                  <a:ln w="2339" cap="flat">
                    <a:noFill/>
                    <a:prstDash val="solid"/>
                    <a:miter/>
                  </a:ln>
                </p:spPr>
                <p:txBody>
                  <a:bodyPr rtlCol="0" anchor="ctr"/>
                  <a:lstStyle/>
                  <a:p>
                    <a:endParaRPr lang="en-US"/>
                  </a:p>
                </p:txBody>
              </p:sp>
              <p:sp>
                <p:nvSpPr>
                  <p:cNvPr id="912" name="Freeform: Shape 911">
                    <a:extLst>
                      <a:ext uri="{FF2B5EF4-FFF2-40B4-BE49-F238E27FC236}">
                        <a16:creationId xmlns:a16="http://schemas.microsoft.com/office/drawing/2014/main" id="{09ADDD01-3C1D-4107-B2DD-A6DC75AD7291}"/>
                      </a:ext>
                    </a:extLst>
                  </p:cNvPr>
                  <p:cNvSpPr/>
                  <p:nvPr userDrawn="1"/>
                </p:nvSpPr>
                <p:spPr>
                  <a:xfrm>
                    <a:off x="8440630" y="449971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4D7E3"/>
                  </a:solidFill>
                  <a:ln w="2339" cap="flat">
                    <a:noFill/>
                    <a:prstDash val="solid"/>
                    <a:miter/>
                  </a:ln>
                </p:spPr>
                <p:txBody>
                  <a:bodyPr rtlCol="0" anchor="ctr"/>
                  <a:lstStyle/>
                  <a:p>
                    <a:endParaRPr lang="en-US"/>
                  </a:p>
                </p:txBody>
              </p:sp>
              <p:sp>
                <p:nvSpPr>
                  <p:cNvPr id="913" name="Freeform: Shape 912">
                    <a:extLst>
                      <a:ext uri="{FF2B5EF4-FFF2-40B4-BE49-F238E27FC236}">
                        <a16:creationId xmlns:a16="http://schemas.microsoft.com/office/drawing/2014/main" id="{49ECFA28-6E60-5D66-352C-A373040DFE07}"/>
                      </a:ext>
                    </a:extLst>
                  </p:cNvPr>
                  <p:cNvSpPr/>
                  <p:nvPr userDrawn="1"/>
                </p:nvSpPr>
                <p:spPr>
                  <a:xfrm>
                    <a:off x="8441075" y="449990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4D8E3"/>
                  </a:solidFill>
                  <a:ln w="2339" cap="flat">
                    <a:noFill/>
                    <a:prstDash val="solid"/>
                    <a:miter/>
                  </a:ln>
                </p:spPr>
                <p:txBody>
                  <a:bodyPr rtlCol="0" anchor="ctr"/>
                  <a:lstStyle/>
                  <a:p>
                    <a:endParaRPr lang="en-US"/>
                  </a:p>
                </p:txBody>
              </p:sp>
              <p:sp>
                <p:nvSpPr>
                  <p:cNvPr id="914" name="Freeform: Shape 913">
                    <a:extLst>
                      <a:ext uri="{FF2B5EF4-FFF2-40B4-BE49-F238E27FC236}">
                        <a16:creationId xmlns:a16="http://schemas.microsoft.com/office/drawing/2014/main" id="{80E5080D-784F-7A7F-3539-FEBE4F69994E}"/>
                      </a:ext>
                    </a:extLst>
                  </p:cNvPr>
                  <p:cNvSpPr/>
                  <p:nvPr userDrawn="1"/>
                </p:nvSpPr>
                <p:spPr>
                  <a:xfrm>
                    <a:off x="8441496" y="45001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a:p>
                </p:txBody>
              </p:sp>
              <p:sp>
                <p:nvSpPr>
                  <p:cNvPr id="915" name="Freeform: Shape 914">
                    <a:extLst>
                      <a:ext uri="{FF2B5EF4-FFF2-40B4-BE49-F238E27FC236}">
                        <a16:creationId xmlns:a16="http://schemas.microsoft.com/office/drawing/2014/main" id="{6AD61782-E667-BCFA-0988-C982F13D7779}"/>
                      </a:ext>
                    </a:extLst>
                  </p:cNvPr>
                  <p:cNvSpPr/>
                  <p:nvPr userDrawn="1"/>
                </p:nvSpPr>
                <p:spPr>
                  <a:xfrm>
                    <a:off x="8441941" y="45003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4D8E3"/>
                  </a:solidFill>
                  <a:ln w="2339" cap="flat">
                    <a:noFill/>
                    <a:prstDash val="solid"/>
                    <a:miter/>
                  </a:ln>
                </p:spPr>
                <p:txBody>
                  <a:bodyPr rtlCol="0" anchor="ctr"/>
                  <a:lstStyle/>
                  <a:p>
                    <a:endParaRPr lang="en-US"/>
                  </a:p>
                </p:txBody>
              </p:sp>
              <p:sp>
                <p:nvSpPr>
                  <p:cNvPr id="916" name="Freeform: Shape 915">
                    <a:extLst>
                      <a:ext uri="{FF2B5EF4-FFF2-40B4-BE49-F238E27FC236}">
                        <a16:creationId xmlns:a16="http://schemas.microsoft.com/office/drawing/2014/main" id="{5EB87722-1393-AC01-62D4-BE28ED69510D}"/>
                      </a:ext>
                    </a:extLst>
                  </p:cNvPr>
                  <p:cNvSpPr/>
                  <p:nvPr userDrawn="1"/>
                </p:nvSpPr>
                <p:spPr>
                  <a:xfrm>
                    <a:off x="8442362" y="45005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D5D9E3"/>
                  </a:solidFill>
                  <a:ln w="2339" cap="flat">
                    <a:noFill/>
                    <a:prstDash val="solid"/>
                    <a:miter/>
                  </a:ln>
                </p:spPr>
                <p:txBody>
                  <a:bodyPr rtlCol="0" anchor="ctr"/>
                  <a:lstStyle/>
                  <a:p>
                    <a:endParaRPr lang="en-US"/>
                  </a:p>
                </p:txBody>
              </p:sp>
              <p:sp>
                <p:nvSpPr>
                  <p:cNvPr id="917" name="Freeform: Shape 916">
                    <a:extLst>
                      <a:ext uri="{FF2B5EF4-FFF2-40B4-BE49-F238E27FC236}">
                        <a16:creationId xmlns:a16="http://schemas.microsoft.com/office/drawing/2014/main" id="{1005C013-B726-ADCE-325A-4F9091B31183}"/>
                      </a:ext>
                    </a:extLst>
                  </p:cNvPr>
                  <p:cNvSpPr/>
                  <p:nvPr userDrawn="1"/>
                </p:nvSpPr>
                <p:spPr>
                  <a:xfrm>
                    <a:off x="8442806" y="450076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a:p>
                </p:txBody>
              </p:sp>
              <p:sp>
                <p:nvSpPr>
                  <p:cNvPr id="918" name="Freeform: Shape 917">
                    <a:extLst>
                      <a:ext uri="{FF2B5EF4-FFF2-40B4-BE49-F238E27FC236}">
                        <a16:creationId xmlns:a16="http://schemas.microsoft.com/office/drawing/2014/main" id="{40C6F805-9B2D-383F-D28F-6A41AA579AA0}"/>
                      </a:ext>
                    </a:extLst>
                  </p:cNvPr>
                  <p:cNvSpPr/>
                  <p:nvPr userDrawn="1"/>
                </p:nvSpPr>
                <p:spPr>
                  <a:xfrm>
                    <a:off x="8443228" y="45009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5D9E4"/>
                  </a:solidFill>
                  <a:ln w="2339" cap="flat">
                    <a:noFill/>
                    <a:prstDash val="solid"/>
                    <a:miter/>
                  </a:ln>
                </p:spPr>
                <p:txBody>
                  <a:bodyPr rtlCol="0" anchor="ctr"/>
                  <a:lstStyle/>
                  <a:p>
                    <a:endParaRPr lang="en-US"/>
                  </a:p>
                </p:txBody>
              </p:sp>
              <p:sp>
                <p:nvSpPr>
                  <p:cNvPr id="919" name="Freeform: Shape 918">
                    <a:extLst>
                      <a:ext uri="{FF2B5EF4-FFF2-40B4-BE49-F238E27FC236}">
                        <a16:creationId xmlns:a16="http://schemas.microsoft.com/office/drawing/2014/main" id="{2373CAB1-5F4F-F642-6095-004FB5C3D277}"/>
                      </a:ext>
                    </a:extLst>
                  </p:cNvPr>
                  <p:cNvSpPr/>
                  <p:nvPr userDrawn="1"/>
                </p:nvSpPr>
                <p:spPr>
                  <a:xfrm>
                    <a:off x="8443649" y="45011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6D9E4"/>
                  </a:solidFill>
                  <a:ln w="2339" cap="flat">
                    <a:noFill/>
                    <a:prstDash val="solid"/>
                    <a:miter/>
                  </a:ln>
                </p:spPr>
                <p:txBody>
                  <a:bodyPr rtlCol="0" anchor="ctr"/>
                  <a:lstStyle/>
                  <a:p>
                    <a:endParaRPr lang="en-US"/>
                  </a:p>
                </p:txBody>
              </p:sp>
              <p:sp>
                <p:nvSpPr>
                  <p:cNvPr id="920" name="Freeform: Shape 919">
                    <a:extLst>
                      <a:ext uri="{FF2B5EF4-FFF2-40B4-BE49-F238E27FC236}">
                        <a16:creationId xmlns:a16="http://schemas.microsoft.com/office/drawing/2014/main" id="{57191449-B726-314C-89C2-ACB9DE4D319B}"/>
                      </a:ext>
                    </a:extLst>
                  </p:cNvPr>
                  <p:cNvSpPr/>
                  <p:nvPr userDrawn="1"/>
                </p:nvSpPr>
                <p:spPr>
                  <a:xfrm>
                    <a:off x="8444093" y="450140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6DAE4"/>
                  </a:solidFill>
                  <a:ln w="2339" cap="flat">
                    <a:noFill/>
                    <a:prstDash val="solid"/>
                    <a:miter/>
                  </a:ln>
                </p:spPr>
                <p:txBody>
                  <a:bodyPr rtlCol="0" anchor="ctr"/>
                  <a:lstStyle/>
                  <a:p>
                    <a:endParaRPr lang="en-US"/>
                  </a:p>
                </p:txBody>
              </p:sp>
              <p:sp>
                <p:nvSpPr>
                  <p:cNvPr id="921" name="Freeform: Shape 920">
                    <a:extLst>
                      <a:ext uri="{FF2B5EF4-FFF2-40B4-BE49-F238E27FC236}">
                        <a16:creationId xmlns:a16="http://schemas.microsoft.com/office/drawing/2014/main" id="{76052370-0938-A7DF-AE19-A070DB0EBAA3}"/>
                      </a:ext>
                    </a:extLst>
                  </p:cNvPr>
                  <p:cNvSpPr/>
                  <p:nvPr userDrawn="1"/>
                </p:nvSpPr>
                <p:spPr>
                  <a:xfrm>
                    <a:off x="8444515" y="45016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6DAE4"/>
                  </a:solidFill>
                  <a:ln w="2339" cap="flat">
                    <a:noFill/>
                    <a:prstDash val="solid"/>
                    <a:miter/>
                  </a:ln>
                </p:spPr>
                <p:txBody>
                  <a:bodyPr rtlCol="0" anchor="ctr"/>
                  <a:lstStyle/>
                  <a:p>
                    <a:endParaRPr lang="en-US"/>
                  </a:p>
                </p:txBody>
              </p:sp>
              <p:sp>
                <p:nvSpPr>
                  <p:cNvPr id="922" name="Freeform: Shape 921">
                    <a:extLst>
                      <a:ext uri="{FF2B5EF4-FFF2-40B4-BE49-F238E27FC236}">
                        <a16:creationId xmlns:a16="http://schemas.microsoft.com/office/drawing/2014/main" id="{F30868A0-E902-DCCC-7DDB-62AE33942AB8}"/>
                      </a:ext>
                    </a:extLst>
                  </p:cNvPr>
                  <p:cNvSpPr/>
                  <p:nvPr userDrawn="1"/>
                </p:nvSpPr>
                <p:spPr>
                  <a:xfrm>
                    <a:off x="8444936" y="45018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AE5"/>
                  </a:solidFill>
                  <a:ln w="2339" cap="flat">
                    <a:noFill/>
                    <a:prstDash val="solid"/>
                    <a:miter/>
                  </a:ln>
                </p:spPr>
                <p:txBody>
                  <a:bodyPr rtlCol="0" anchor="ctr"/>
                  <a:lstStyle/>
                  <a:p>
                    <a:endParaRPr lang="en-US"/>
                  </a:p>
                </p:txBody>
              </p:sp>
              <p:sp>
                <p:nvSpPr>
                  <p:cNvPr id="923" name="Freeform: Shape 922">
                    <a:extLst>
                      <a:ext uri="{FF2B5EF4-FFF2-40B4-BE49-F238E27FC236}">
                        <a16:creationId xmlns:a16="http://schemas.microsoft.com/office/drawing/2014/main" id="{DB5C1F4D-C501-B17B-A208-821331D44835}"/>
                      </a:ext>
                    </a:extLst>
                  </p:cNvPr>
                  <p:cNvSpPr/>
                  <p:nvPr userDrawn="1"/>
                </p:nvSpPr>
                <p:spPr>
                  <a:xfrm>
                    <a:off x="8445357" y="45020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7DBE5"/>
                  </a:solidFill>
                  <a:ln w="2339" cap="flat">
                    <a:noFill/>
                    <a:prstDash val="solid"/>
                    <a:miter/>
                  </a:ln>
                </p:spPr>
                <p:txBody>
                  <a:bodyPr rtlCol="0" anchor="ctr"/>
                  <a:lstStyle/>
                  <a:p>
                    <a:endParaRPr lang="en-US"/>
                  </a:p>
                </p:txBody>
              </p:sp>
              <p:sp>
                <p:nvSpPr>
                  <p:cNvPr id="924" name="Freeform: Shape 923">
                    <a:extLst>
                      <a:ext uri="{FF2B5EF4-FFF2-40B4-BE49-F238E27FC236}">
                        <a16:creationId xmlns:a16="http://schemas.microsoft.com/office/drawing/2014/main" id="{E779F81D-7FED-2163-1837-0637B2535894}"/>
                      </a:ext>
                    </a:extLst>
                  </p:cNvPr>
                  <p:cNvSpPr/>
                  <p:nvPr userDrawn="1"/>
                </p:nvSpPr>
                <p:spPr>
                  <a:xfrm>
                    <a:off x="8445778" y="45022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7DBE5"/>
                  </a:solidFill>
                  <a:ln w="2339" cap="flat">
                    <a:noFill/>
                    <a:prstDash val="solid"/>
                    <a:miter/>
                  </a:ln>
                </p:spPr>
                <p:txBody>
                  <a:bodyPr rtlCol="0" anchor="ctr"/>
                  <a:lstStyle/>
                  <a:p>
                    <a:endParaRPr lang="en-US"/>
                  </a:p>
                </p:txBody>
              </p:sp>
              <p:sp>
                <p:nvSpPr>
                  <p:cNvPr id="925" name="Freeform: Shape 924">
                    <a:extLst>
                      <a:ext uri="{FF2B5EF4-FFF2-40B4-BE49-F238E27FC236}">
                        <a16:creationId xmlns:a16="http://schemas.microsoft.com/office/drawing/2014/main" id="{E2BCB807-1BA6-4869-0612-A672E8EA5D5E}"/>
                      </a:ext>
                    </a:extLst>
                  </p:cNvPr>
                  <p:cNvSpPr/>
                  <p:nvPr userDrawn="1"/>
                </p:nvSpPr>
                <p:spPr>
                  <a:xfrm>
                    <a:off x="8446176" y="45024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a:p>
                </p:txBody>
              </p:sp>
              <p:sp>
                <p:nvSpPr>
                  <p:cNvPr id="926" name="Freeform: Shape 925">
                    <a:extLst>
                      <a:ext uri="{FF2B5EF4-FFF2-40B4-BE49-F238E27FC236}">
                        <a16:creationId xmlns:a16="http://schemas.microsoft.com/office/drawing/2014/main" id="{9EA56BA2-E5F3-0F75-F497-46C2DD356064}"/>
                      </a:ext>
                    </a:extLst>
                  </p:cNvPr>
                  <p:cNvSpPr/>
                  <p:nvPr userDrawn="1"/>
                </p:nvSpPr>
                <p:spPr>
                  <a:xfrm>
                    <a:off x="8446597" y="45027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BE5"/>
                  </a:solidFill>
                  <a:ln w="2339" cap="flat">
                    <a:noFill/>
                    <a:prstDash val="solid"/>
                    <a:miter/>
                  </a:ln>
                </p:spPr>
                <p:txBody>
                  <a:bodyPr rtlCol="0" anchor="ctr"/>
                  <a:lstStyle/>
                  <a:p>
                    <a:endParaRPr lang="en-US"/>
                  </a:p>
                </p:txBody>
              </p:sp>
              <p:sp>
                <p:nvSpPr>
                  <p:cNvPr id="927" name="Freeform: Shape 926">
                    <a:extLst>
                      <a:ext uri="{FF2B5EF4-FFF2-40B4-BE49-F238E27FC236}">
                        <a16:creationId xmlns:a16="http://schemas.microsoft.com/office/drawing/2014/main" id="{97036C6D-8D9E-3305-E783-49717FFA213B}"/>
                      </a:ext>
                    </a:extLst>
                  </p:cNvPr>
                  <p:cNvSpPr/>
                  <p:nvPr userDrawn="1"/>
                </p:nvSpPr>
                <p:spPr>
                  <a:xfrm>
                    <a:off x="8447018" y="450292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D8DCE6"/>
                  </a:solidFill>
                  <a:ln w="2339" cap="flat">
                    <a:noFill/>
                    <a:prstDash val="solid"/>
                    <a:miter/>
                  </a:ln>
                </p:spPr>
                <p:txBody>
                  <a:bodyPr rtlCol="0" anchor="ctr"/>
                  <a:lstStyle/>
                  <a:p>
                    <a:endParaRPr lang="en-US"/>
                  </a:p>
                </p:txBody>
              </p:sp>
              <p:sp>
                <p:nvSpPr>
                  <p:cNvPr id="928" name="Freeform: Shape 927">
                    <a:extLst>
                      <a:ext uri="{FF2B5EF4-FFF2-40B4-BE49-F238E27FC236}">
                        <a16:creationId xmlns:a16="http://schemas.microsoft.com/office/drawing/2014/main" id="{4F317B40-2457-BB6C-5C25-365080F9665C}"/>
                      </a:ext>
                    </a:extLst>
                  </p:cNvPr>
                  <p:cNvSpPr/>
                  <p:nvPr userDrawn="1"/>
                </p:nvSpPr>
                <p:spPr>
                  <a:xfrm>
                    <a:off x="8447416" y="45031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8DCE6"/>
                  </a:solidFill>
                  <a:ln w="2339" cap="flat">
                    <a:noFill/>
                    <a:prstDash val="solid"/>
                    <a:miter/>
                  </a:ln>
                </p:spPr>
                <p:txBody>
                  <a:bodyPr rtlCol="0" anchor="ctr"/>
                  <a:lstStyle/>
                  <a:p>
                    <a:endParaRPr lang="en-US"/>
                  </a:p>
                </p:txBody>
              </p:sp>
              <p:sp>
                <p:nvSpPr>
                  <p:cNvPr id="929" name="Freeform: Shape 928">
                    <a:extLst>
                      <a:ext uri="{FF2B5EF4-FFF2-40B4-BE49-F238E27FC236}">
                        <a16:creationId xmlns:a16="http://schemas.microsoft.com/office/drawing/2014/main" id="{25527935-2B70-BEF1-97CD-D9C6428FF8A5}"/>
                      </a:ext>
                    </a:extLst>
                  </p:cNvPr>
                  <p:cNvSpPr/>
                  <p:nvPr userDrawn="1"/>
                </p:nvSpPr>
                <p:spPr>
                  <a:xfrm>
                    <a:off x="8447814" y="450338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CE6"/>
                  </a:solidFill>
                  <a:ln w="2339" cap="flat">
                    <a:noFill/>
                    <a:prstDash val="solid"/>
                    <a:miter/>
                  </a:ln>
                </p:spPr>
                <p:txBody>
                  <a:bodyPr rtlCol="0" anchor="ctr"/>
                  <a:lstStyle/>
                  <a:p>
                    <a:endParaRPr lang="en-US"/>
                  </a:p>
                </p:txBody>
              </p:sp>
              <p:sp>
                <p:nvSpPr>
                  <p:cNvPr id="930" name="Freeform: Shape 929">
                    <a:extLst>
                      <a:ext uri="{FF2B5EF4-FFF2-40B4-BE49-F238E27FC236}">
                        <a16:creationId xmlns:a16="http://schemas.microsoft.com/office/drawing/2014/main" id="{8848F30F-C4A6-A77C-B721-B630B1BE3DD4}"/>
                      </a:ext>
                    </a:extLst>
                  </p:cNvPr>
                  <p:cNvSpPr/>
                  <p:nvPr userDrawn="1"/>
                </p:nvSpPr>
                <p:spPr>
                  <a:xfrm>
                    <a:off x="8448235" y="450359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9DCE6"/>
                  </a:solidFill>
                  <a:ln w="2339" cap="flat">
                    <a:noFill/>
                    <a:prstDash val="solid"/>
                    <a:miter/>
                  </a:ln>
                </p:spPr>
                <p:txBody>
                  <a:bodyPr rtlCol="0" anchor="ctr"/>
                  <a:lstStyle/>
                  <a:p>
                    <a:endParaRPr lang="en-US"/>
                  </a:p>
                </p:txBody>
              </p:sp>
              <p:sp>
                <p:nvSpPr>
                  <p:cNvPr id="931" name="Freeform: Shape 930">
                    <a:extLst>
                      <a:ext uri="{FF2B5EF4-FFF2-40B4-BE49-F238E27FC236}">
                        <a16:creationId xmlns:a16="http://schemas.microsoft.com/office/drawing/2014/main" id="{E80F882F-B8FA-78D1-C04B-13EAA618CFDA}"/>
                      </a:ext>
                    </a:extLst>
                  </p:cNvPr>
                  <p:cNvSpPr/>
                  <p:nvPr userDrawn="1"/>
                </p:nvSpPr>
                <p:spPr>
                  <a:xfrm>
                    <a:off x="8448633" y="450383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9DDE6"/>
                  </a:solidFill>
                  <a:ln w="2339" cap="flat">
                    <a:noFill/>
                    <a:prstDash val="solid"/>
                    <a:miter/>
                  </a:ln>
                </p:spPr>
                <p:txBody>
                  <a:bodyPr rtlCol="0" anchor="ctr"/>
                  <a:lstStyle/>
                  <a:p>
                    <a:endParaRPr lang="en-US"/>
                  </a:p>
                </p:txBody>
              </p:sp>
              <p:sp>
                <p:nvSpPr>
                  <p:cNvPr id="932" name="Freeform: Shape 931">
                    <a:extLst>
                      <a:ext uri="{FF2B5EF4-FFF2-40B4-BE49-F238E27FC236}">
                        <a16:creationId xmlns:a16="http://schemas.microsoft.com/office/drawing/2014/main" id="{293E4E42-DC25-0318-74A2-41F98837FEAC}"/>
                      </a:ext>
                    </a:extLst>
                  </p:cNvPr>
                  <p:cNvSpPr/>
                  <p:nvPr userDrawn="1"/>
                </p:nvSpPr>
                <p:spPr>
                  <a:xfrm>
                    <a:off x="8449031" y="45040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ADDE7"/>
                  </a:solidFill>
                  <a:ln w="2339" cap="flat">
                    <a:noFill/>
                    <a:prstDash val="solid"/>
                    <a:miter/>
                  </a:ln>
                </p:spPr>
                <p:txBody>
                  <a:bodyPr rtlCol="0" anchor="ctr"/>
                  <a:lstStyle/>
                  <a:p>
                    <a:endParaRPr lang="en-US"/>
                  </a:p>
                </p:txBody>
              </p:sp>
              <p:sp>
                <p:nvSpPr>
                  <p:cNvPr id="933" name="Freeform: Shape 932">
                    <a:extLst>
                      <a:ext uri="{FF2B5EF4-FFF2-40B4-BE49-F238E27FC236}">
                        <a16:creationId xmlns:a16="http://schemas.microsoft.com/office/drawing/2014/main" id="{15F44ECE-47DA-059D-BD49-7F7D9E502194}"/>
                      </a:ext>
                    </a:extLst>
                  </p:cNvPr>
                  <p:cNvSpPr/>
                  <p:nvPr userDrawn="1"/>
                </p:nvSpPr>
                <p:spPr>
                  <a:xfrm>
                    <a:off x="8449429" y="450427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DE7"/>
                  </a:solidFill>
                  <a:ln w="2339" cap="flat">
                    <a:noFill/>
                    <a:prstDash val="solid"/>
                    <a:miter/>
                  </a:ln>
                </p:spPr>
                <p:txBody>
                  <a:bodyPr rtlCol="0" anchor="ctr"/>
                  <a:lstStyle/>
                  <a:p>
                    <a:endParaRPr lang="en-US"/>
                  </a:p>
                </p:txBody>
              </p:sp>
              <p:sp>
                <p:nvSpPr>
                  <p:cNvPr id="934" name="Freeform: Shape 933">
                    <a:extLst>
                      <a:ext uri="{FF2B5EF4-FFF2-40B4-BE49-F238E27FC236}">
                        <a16:creationId xmlns:a16="http://schemas.microsoft.com/office/drawing/2014/main" id="{3C7849D3-F813-0624-EAD8-65E6337DE60D}"/>
                      </a:ext>
                    </a:extLst>
                  </p:cNvPr>
                  <p:cNvSpPr/>
                  <p:nvPr userDrawn="1"/>
                </p:nvSpPr>
                <p:spPr>
                  <a:xfrm>
                    <a:off x="8449826" y="45045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ADEE7"/>
                  </a:solidFill>
                  <a:ln w="2339" cap="flat">
                    <a:noFill/>
                    <a:prstDash val="solid"/>
                    <a:miter/>
                  </a:ln>
                </p:spPr>
                <p:txBody>
                  <a:bodyPr rtlCol="0" anchor="ctr"/>
                  <a:lstStyle/>
                  <a:p>
                    <a:endParaRPr lang="en-US"/>
                  </a:p>
                </p:txBody>
              </p:sp>
              <p:sp>
                <p:nvSpPr>
                  <p:cNvPr id="935" name="Freeform: Shape 934">
                    <a:extLst>
                      <a:ext uri="{FF2B5EF4-FFF2-40B4-BE49-F238E27FC236}">
                        <a16:creationId xmlns:a16="http://schemas.microsoft.com/office/drawing/2014/main" id="{62A53650-F6F1-721F-768E-6EE4D2517B4F}"/>
                      </a:ext>
                    </a:extLst>
                  </p:cNvPr>
                  <p:cNvSpPr/>
                  <p:nvPr userDrawn="1"/>
                </p:nvSpPr>
                <p:spPr>
                  <a:xfrm>
                    <a:off x="8450224" y="450474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BDEE7"/>
                  </a:solidFill>
                  <a:ln w="2339" cap="flat">
                    <a:noFill/>
                    <a:prstDash val="solid"/>
                    <a:miter/>
                  </a:ln>
                </p:spPr>
                <p:txBody>
                  <a:bodyPr rtlCol="0" anchor="ctr"/>
                  <a:lstStyle/>
                  <a:p>
                    <a:endParaRPr lang="en-US"/>
                  </a:p>
                </p:txBody>
              </p:sp>
              <p:sp>
                <p:nvSpPr>
                  <p:cNvPr id="936" name="Freeform: Shape 935">
                    <a:extLst>
                      <a:ext uri="{FF2B5EF4-FFF2-40B4-BE49-F238E27FC236}">
                        <a16:creationId xmlns:a16="http://schemas.microsoft.com/office/drawing/2014/main" id="{A9782070-1B2D-3254-46BF-08BA05E18D24}"/>
                      </a:ext>
                    </a:extLst>
                  </p:cNvPr>
                  <p:cNvSpPr/>
                  <p:nvPr userDrawn="1"/>
                </p:nvSpPr>
                <p:spPr>
                  <a:xfrm>
                    <a:off x="8450622" y="45049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BDEE7"/>
                  </a:solidFill>
                  <a:ln w="2339" cap="flat">
                    <a:noFill/>
                    <a:prstDash val="solid"/>
                    <a:miter/>
                  </a:ln>
                </p:spPr>
                <p:txBody>
                  <a:bodyPr rtlCol="0" anchor="ctr"/>
                  <a:lstStyle/>
                  <a:p>
                    <a:endParaRPr lang="en-US"/>
                  </a:p>
                </p:txBody>
              </p:sp>
              <p:sp>
                <p:nvSpPr>
                  <p:cNvPr id="937" name="Freeform: Shape 936">
                    <a:extLst>
                      <a:ext uri="{FF2B5EF4-FFF2-40B4-BE49-F238E27FC236}">
                        <a16:creationId xmlns:a16="http://schemas.microsoft.com/office/drawing/2014/main" id="{DCA20766-C89C-5A2E-BF11-E5C63EF9226C}"/>
                      </a:ext>
                    </a:extLst>
                  </p:cNvPr>
                  <p:cNvSpPr/>
                  <p:nvPr userDrawn="1"/>
                </p:nvSpPr>
                <p:spPr>
                  <a:xfrm>
                    <a:off x="8451020" y="450519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BDEE8"/>
                  </a:solidFill>
                  <a:ln w="2339" cap="flat">
                    <a:noFill/>
                    <a:prstDash val="solid"/>
                    <a:miter/>
                  </a:ln>
                </p:spPr>
                <p:txBody>
                  <a:bodyPr rtlCol="0" anchor="ctr"/>
                  <a:lstStyle/>
                  <a:p>
                    <a:endParaRPr lang="en-US"/>
                  </a:p>
                </p:txBody>
              </p:sp>
              <p:sp>
                <p:nvSpPr>
                  <p:cNvPr id="938" name="Freeform: Shape 937">
                    <a:extLst>
                      <a:ext uri="{FF2B5EF4-FFF2-40B4-BE49-F238E27FC236}">
                        <a16:creationId xmlns:a16="http://schemas.microsoft.com/office/drawing/2014/main" id="{DBF41ED7-7EAA-F471-57E7-6D1214663879}"/>
                      </a:ext>
                    </a:extLst>
                  </p:cNvPr>
                  <p:cNvSpPr/>
                  <p:nvPr userDrawn="1"/>
                </p:nvSpPr>
                <p:spPr>
                  <a:xfrm>
                    <a:off x="8451394" y="450542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a:p>
                </p:txBody>
              </p:sp>
              <p:sp>
                <p:nvSpPr>
                  <p:cNvPr id="939" name="Freeform: Shape 938">
                    <a:extLst>
                      <a:ext uri="{FF2B5EF4-FFF2-40B4-BE49-F238E27FC236}">
                        <a16:creationId xmlns:a16="http://schemas.microsoft.com/office/drawing/2014/main" id="{072AF2B1-3B71-926F-BBAA-40FAE8AB66F4}"/>
                      </a:ext>
                    </a:extLst>
                  </p:cNvPr>
                  <p:cNvSpPr/>
                  <p:nvPr userDrawn="1"/>
                </p:nvSpPr>
                <p:spPr>
                  <a:xfrm>
                    <a:off x="8451792" y="450565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DFE8"/>
                  </a:solidFill>
                  <a:ln w="2339" cap="flat">
                    <a:noFill/>
                    <a:prstDash val="solid"/>
                    <a:miter/>
                  </a:ln>
                </p:spPr>
                <p:txBody>
                  <a:bodyPr rtlCol="0" anchor="ctr"/>
                  <a:lstStyle/>
                  <a:p>
                    <a:endParaRPr lang="en-US"/>
                  </a:p>
                </p:txBody>
              </p:sp>
              <p:sp>
                <p:nvSpPr>
                  <p:cNvPr id="940" name="Freeform: Shape 939">
                    <a:extLst>
                      <a:ext uri="{FF2B5EF4-FFF2-40B4-BE49-F238E27FC236}">
                        <a16:creationId xmlns:a16="http://schemas.microsoft.com/office/drawing/2014/main" id="{1306D3BC-B9E2-38DC-32E1-5C53F28501E3}"/>
                      </a:ext>
                    </a:extLst>
                  </p:cNvPr>
                  <p:cNvSpPr/>
                  <p:nvPr userDrawn="1"/>
                </p:nvSpPr>
                <p:spPr>
                  <a:xfrm>
                    <a:off x="8452166" y="45058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CDFE8"/>
                  </a:solidFill>
                  <a:ln w="2339" cap="flat">
                    <a:noFill/>
                    <a:prstDash val="solid"/>
                    <a:miter/>
                  </a:ln>
                </p:spPr>
                <p:txBody>
                  <a:bodyPr rtlCol="0" anchor="ctr"/>
                  <a:lstStyle/>
                  <a:p>
                    <a:endParaRPr lang="en-US"/>
                  </a:p>
                </p:txBody>
              </p:sp>
              <p:sp>
                <p:nvSpPr>
                  <p:cNvPr id="941" name="Freeform: Shape 940">
                    <a:extLst>
                      <a:ext uri="{FF2B5EF4-FFF2-40B4-BE49-F238E27FC236}">
                        <a16:creationId xmlns:a16="http://schemas.microsoft.com/office/drawing/2014/main" id="{5D7AA9BD-4577-F62C-36E3-DBB981B288D3}"/>
                      </a:ext>
                    </a:extLst>
                  </p:cNvPr>
                  <p:cNvSpPr/>
                  <p:nvPr userDrawn="1"/>
                </p:nvSpPr>
                <p:spPr>
                  <a:xfrm>
                    <a:off x="8452564" y="45061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CE0E8"/>
                  </a:solidFill>
                  <a:ln w="2339" cap="flat">
                    <a:noFill/>
                    <a:prstDash val="solid"/>
                    <a:miter/>
                  </a:ln>
                </p:spPr>
                <p:txBody>
                  <a:bodyPr rtlCol="0" anchor="ctr"/>
                  <a:lstStyle/>
                  <a:p>
                    <a:endParaRPr lang="en-US"/>
                  </a:p>
                </p:txBody>
              </p:sp>
              <p:sp>
                <p:nvSpPr>
                  <p:cNvPr id="942" name="Freeform: Shape 941">
                    <a:extLst>
                      <a:ext uri="{FF2B5EF4-FFF2-40B4-BE49-F238E27FC236}">
                        <a16:creationId xmlns:a16="http://schemas.microsoft.com/office/drawing/2014/main" id="{9D2CB7A1-4458-EDB0-9A12-6252C04CE48F}"/>
                      </a:ext>
                    </a:extLst>
                  </p:cNvPr>
                  <p:cNvSpPr/>
                  <p:nvPr userDrawn="1"/>
                </p:nvSpPr>
                <p:spPr>
                  <a:xfrm>
                    <a:off x="8452939" y="450636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DE0E9"/>
                  </a:solidFill>
                  <a:ln w="2339" cap="flat">
                    <a:noFill/>
                    <a:prstDash val="solid"/>
                    <a:miter/>
                  </a:ln>
                </p:spPr>
                <p:txBody>
                  <a:bodyPr rtlCol="0" anchor="ctr"/>
                  <a:lstStyle/>
                  <a:p>
                    <a:endParaRPr lang="en-US"/>
                  </a:p>
                </p:txBody>
              </p:sp>
              <p:sp>
                <p:nvSpPr>
                  <p:cNvPr id="943" name="Freeform: Shape 942">
                    <a:extLst>
                      <a:ext uri="{FF2B5EF4-FFF2-40B4-BE49-F238E27FC236}">
                        <a16:creationId xmlns:a16="http://schemas.microsoft.com/office/drawing/2014/main" id="{DAC2492B-AC6A-9D3B-6BD3-2760EDDD1465}"/>
                      </a:ext>
                    </a:extLst>
                  </p:cNvPr>
                  <p:cNvSpPr/>
                  <p:nvPr userDrawn="1"/>
                </p:nvSpPr>
                <p:spPr>
                  <a:xfrm>
                    <a:off x="8453313" y="450659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a:p>
                </p:txBody>
              </p:sp>
              <p:sp>
                <p:nvSpPr>
                  <p:cNvPr id="944" name="Freeform: Shape 943">
                    <a:extLst>
                      <a:ext uri="{FF2B5EF4-FFF2-40B4-BE49-F238E27FC236}">
                        <a16:creationId xmlns:a16="http://schemas.microsoft.com/office/drawing/2014/main" id="{D31316E1-3209-371E-9AA5-C5FB9A3A30BB}"/>
                      </a:ext>
                    </a:extLst>
                  </p:cNvPr>
                  <p:cNvSpPr/>
                  <p:nvPr userDrawn="1"/>
                </p:nvSpPr>
                <p:spPr>
                  <a:xfrm>
                    <a:off x="8453688" y="45068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DE0E9"/>
                  </a:solidFill>
                  <a:ln w="2339" cap="flat">
                    <a:noFill/>
                    <a:prstDash val="solid"/>
                    <a:miter/>
                  </a:ln>
                </p:spPr>
                <p:txBody>
                  <a:bodyPr rtlCol="0" anchor="ctr"/>
                  <a:lstStyle/>
                  <a:p>
                    <a:endParaRPr lang="en-US"/>
                  </a:p>
                </p:txBody>
              </p:sp>
              <p:sp>
                <p:nvSpPr>
                  <p:cNvPr id="945" name="Freeform: Shape 944">
                    <a:extLst>
                      <a:ext uri="{FF2B5EF4-FFF2-40B4-BE49-F238E27FC236}">
                        <a16:creationId xmlns:a16="http://schemas.microsoft.com/office/drawing/2014/main" id="{FF2DA409-4A25-7A87-89C3-BEBCAE49F852}"/>
                      </a:ext>
                    </a:extLst>
                  </p:cNvPr>
                  <p:cNvSpPr/>
                  <p:nvPr userDrawn="1"/>
                </p:nvSpPr>
                <p:spPr>
                  <a:xfrm>
                    <a:off x="8454062" y="45070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EE1E9"/>
                  </a:solidFill>
                  <a:ln w="2339" cap="flat">
                    <a:noFill/>
                    <a:prstDash val="solid"/>
                    <a:miter/>
                  </a:ln>
                </p:spPr>
                <p:txBody>
                  <a:bodyPr rtlCol="0" anchor="ctr"/>
                  <a:lstStyle/>
                  <a:p>
                    <a:endParaRPr lang="en-US"/>
                  </a:p>
                </p:txBody>
              </p:sp>
              <p:sp>
                <p:nvSpPr>
                  <p:cNvPr id="946" name="Freeform: Shape 945">
                    <a:extLst>
                      <a:ext uri="{FF2B5EF4-FFF2-40B4-BE49-F238E27FC236}">
                        <a16:creationId xmlns:a16="http://schemas.microsoft.com/office/drawing/2014/main" id="{44CE82E9-E55B-2745-FCFE-0DDAED1D5B41}"/>
                      </a:ext>
                    </a:extLst>
                  </p:cNvPr>
                  <p:cNvSpPr/>
                  <p:nvPr userDrawn="1"/>
                </p:nvSpPr>
                <p:spPr>
                  <a:xfrm>
                    <a:off x="8454436" y="450729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DEE1E9"/>
                  </a:solidFill>
                  <a:ln w="2339" cap="flat">
                    <a:noFill/>
                    <a:prstDash val="solid"/>
                    <a:miter/>
                  </a:ln>
                </p:spPr>
                <p:txBody>
                  <a:bodyPr rtlCol="0" anchor="ctr"/>
                  <a:lstStyle/>
                  <a:p>
                    <a:endParaRPr lang="en-US"/>
                  </a:p>
                </p:txBody>
              </p:sp>
              <p:sp>
                <p:nvSpPr>
                  <p:cNvPr id="947" name="Freeform: Shape 946">
                    <a:extLst>
                      <a:ext uri="{FF2B5EF4-FFF2-40B4-BE49-F238E27FC236}">
                        <a16:creationId xmlns:a16="http://schemas.microsoft.com/office/drawing/2014/main" id="{11340C73-1BE4-6CB2-2E45-DDA38BD59BC1}"/>
                      </a:ext>
                    </a:extLst>
                  </p:cNvPr>
                  <p:cNvSpPr/>
                  <p:nvPr userDrawn="1"/>
                </p:nvSpPr>
                <p:spPr>
                  <a:xfrm>
                    <a:off x="8454811" y="450755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EE1EA"/>
                  </a:solidFill>
                  <a:ln w="2339" cap="flat">
                    <a:noFill/>
                    <a:prstDash val="solid"/>
                    <a:miter/>
                  </a:ln>
                </p:spPr>
                <p:txBody>
                  <a:bodyPr rtlCol="0" anchor="ctr"/>
                  <a:lstStyle/>
                  <a:p>
                    <a:endParaRPr lang="en-US"/>
                  </a:p>
                </p:txBody>
              </p:sp>
              <p:sp>
                <p:nvSpPr>
                  <p:cNvPr id="948" name="Freeform: Shape 947">
                    <a:extLst>
                      <a:ext uri="{FF2B5EF4-FFF2-40B4-BE49-F238E27FC236}">
                        <a16:creationId xmlns:a16="http://schemas.microsoft.com/office/drawing/2014/main" id="{2CE64EAA-C8A1-4027-D7E4-98A6BA6EF860}"/>
                      </a:ext>
                    </a:extLst>
                  </p:cNvPr>
                  <p:cNvSpPr/>
                  <p:nvPr userDrawn="1"/>
                </p:nvSpPr>
                <p:spPr>
                  <a:xfrm>
                    <a:off x="8455162" y="45077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DFE1EA"/>
                  </a:solidFill>
                  <a:ln w="2339" cap="flat">
                    <a:noFill/>
                    <a:prstDash val="solid"/>
                    <a:miter/>
                  </a:ln>
                </p:spPr>
                <p:txBody>
                  <a:bodyPr rtlCol="0" anchor="ctr"/>
                  <a:lstStyle/>
                  <a:p>
                    <a:endParaRPr lang="en-US"/>
                  </a:p>
                </p:txBody>
              </p:sp>
              <p:sp>
                <p:nvSpPr>
                  <p:cNvPr id="949" name="Freeform: Shape 948">
                    <a:extLst>
                      <a:ext uri="{FF2B5EF4-FFF2-40B4-BE49-F238E27FC236}">
                        <a16:creationId xmlns:a16="http://schemas.microsoft.com/office/drawing/2014/main" id="{2A023FEF-6EFE-1A52-E554-9E56A2E230A6}"/>
                      </a:ext>
                    </a:extLst>
                  </p:cNvPr>
                  <p:cNvSpPr/>
                  <p:nvPr userDrawn="1"/>
                </p:nvSpPr>
                <p:spPr>
                  <a:xfrm>
                    <a:off x="8455536" y="45080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a:p>
                </p:txBody>
              </p:sp>
              <p:sp>
                <p:nvSpPr>
                  <p:cNvPr id="950" name="Freeform: Shape 949">
                    <a:extLst>
                      <a:ext uri="{FF2B5EF4-FFF2-40B4-BE49-F238E27FC236}">
                        <a16:creationId xmlns:a16="http://schemas.microsoft.com/office/drawing/2014/main" id="{FDFC78E0-92B0-D66B-D64F-DF37775721A6}"/>
                      </a:ext>
                    </a:extLst>
                  </p:cNvPr>
                  <p:cNvSpPr/>
                  <p:nvPr userDrawn="1"/>
                </p:nvSpPr>
                <p:spPr>
                  <a:xfrm>
                    <a:off x="8455887" y="450825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DFE2EA"/>
                  </a:solidFill>
                  <a:ln w="2339" cap="flat">
                    <a:noFill/>
                    <a:prstDash val="solid"/>
                    <a:miter/>
                  </a:ln>
                </p:spPr>
                <p:txBody>
                  <a:bodyPr rtlCol="0" anchor="ctr"/>
                  <a:lstStyle/>
                  <a:p>
                    <a:endParaRPr lang="en-US"/>
                  </a:p>
                </p:txBody>
              </p:sp>
              <p:sp>
                <p:nvSpPr>
                  <p:cNvPr id="951" name="Freeform: Shape 950">
                    <a:extLst>
                      <a:ext uri="{FF2B5EF4-FFF2-40B4-BE49-F238E27FC236}">
                        <a16:creationId xmlns:a16="http://schemas.microsoft.com/office/drawing/2014/main" id="{BCD7E394-700D-5ACD-E5BD-D3B3EE169BBF}"/>
                      </a:ext>
                    </a:extLst>
                  </p:cNvPr>
                  <p:cNvSpPr/>
                  <p:nvPr userDrawn="1"/>
                </p:nvSpPr>
                <p:spPr>
                  <a:xfrm>
                    <a:off x="8456262" y="4508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DFE2EA"/>
                  </a:solidFill>
                  <a:ln w="2339" cap="flat">
                    <a:noFill/>
                    <a:prstDash val="solid"/>
                    <a:miter/>
                  </a:ln>
                </p:spPr>
                <p:txBody>
                  <a:bodyPr rtlCol="0" anchor="ctr"/>
                  <a:lstStyle/>
                  <a:p>
                    <a:endParaRPr lang="en-US"/>
                  </a:p>
                </p:txBody>
              </p:sp>
              <p:sp>
                <p:nvSpPr>
                  <p:cNvPr id="952" name="Freeform: Shape 951">
                    <a:extLst>
                      <a:ext uri="{FF2B5EF4-FFF2-40B4-BE49-F238E27FC236}">
                        <a16:creationId xmlns:a16="http://schemas.microsoft.com/office/drawing/2014/main" id="{FE53081B-25F7-72D8-5C50-FF6C4D8F58B8}"/>
                      </a:ext>
                    </a:extLst>
                  </p:cNvPr>
                  <p:cNvSpPr/>
                  <p:nvPr userDrawn="1"/>
                </p:nvSpPr>
                <p:spPr>
                  <a:xfrm>
                    <a:off x="8456613" y="450874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a:p>
                </p:txBody>
              </p:sp>
              <p:sp>
                <p:nvSpPr>
                  <p:cNvPr id="953" name="Freeform: Shape 952">
                    <a:extLst>
                      <a:ext uri="{FF2B5EF4-FFF2-40B4-BE49-F238E27FC236}">
                        <a16:creationId xmlns:a16="http://schemas.microsoft.com/office/drawing/2014/main" id="{F7F8A831-E6DA-1DF8-879A-FF4DE40CA74F}"/>
                      </a:ext>
                    </a:extLst>
                  </p:cNvPr>
                  <p:cNvSpPr/>
                  <p:nvPr userDrawn="1"/>
                </p:nvSpPr>
                <p:spPr>
                  <a:xfrm>
                    <a:off x="8456964" y="450898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0E3EB"/>
                  </a:solidFill>
                  <a:ln w="2339" cap="flat">
                    <a:noFill/>
                    <a:prstDash val="solid"/>
                    <a:miter/>
                  </a:ln>
                </p:spPr>
                <p:txBody>
                  <a:bodyPr rtlCol="0" anchor="ctr"/>
                  <a:lstStyle/>
                  <a:p>
                    <a:endParaRPr lang="en-US"/>
                  </a:p>
                </p:txBody>
              </p:sp>
              <p:sp>
                <p:nvSpPr>
                  <p:cNvPr id="954" name="Freeform: Shape 953">
                    <a:extLst>
                      <a:ext uri="{FF2B5EF4-FFF2-40B4-BE49-F238E27FC236}">
                        <a16:creationId xmlns:a16="http://schemas.microsoft.com/office/drawing/2014/main" id="{CB398E73-E71A-4D81-CA5E-A6BD93D17970}"/>
                      </a:ext>
                    </a:extLst>
                  </p:cNvPr>
                  <p:cNvSpPr/>
                  <p:nvPr userDrawn="1"/>
                </p:nvSpPr>
                <p:spPr>
                  <a:xfrm>
                    <a:off x="8457315" y="450923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0E3EB"/>
                  </a:solidFill>
                  <a:ln w="2339" cap="flat">
                    <a:noFill/>
                    <a:prstDash val="solid"/>
                    <a:miter/>
                  </a:ln>
                </p:spPr>
                <p:txBody>
                  <a:bodyPr rtlCol="0" anchor="ctr"/>
                  <a:lstStyle/>
                  <a:p>
                    <a:endParaRPr lang="en-US"/>
                  </a:p>
                </p:txBody>
              </p:sp>
              <p:sp>
                <p:nvSpPr>
                  <p:cNvPr id="955" name="Freeform: Shape 954">
                    <a:extLst>
                      <a:ext uri="{FF2B5EF4-FFF2-40B4-BE49-F238E27FC236}">
                        <a16:creationId xmlns:a16="http://schemas.microsoft.com/office/drawing/2014/main" id="{4B6ED1E3-D19B-6068-DC9B-4AD028F49208}"/>
                      </a:ext>
                    </a:extLst>
                  </p:cNvPr>
                  <p:cNvSpPr/>
                  <p:nvPr userDrawn="1"/>
                </p:nvSpPr>
                <p:spPr>
                  <a:xfrm>
                    <a:off x="8457666" y="450947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1E3EB"/>
                  </a:solidFill>
                  <a:ln w="2339" cap="flat">
                    <a:noFill/>
                    <a:prstDash val="solid"/>
                    <a:miter/>
                  </a:ln>
                </p:spPr>
                <p:txBody>
                  <a:bodyPr rtlCol="0" anchor="ctr"/>
                  <a:lstStyle/>
                  <a:p>
                    <a:endParaRPr lang="en-US"/>
                  </a:p>
                </p:txBody>
              </p:sp>
              <p:sp>
                <p:nvSpPr>
                  <p:cNvPr id="956" name="Freeform: Shape 955">
                    <a:extLst>
                      <a:ext uri="{FF2B5EF4-FFF2-40B4-BE49-F238E27FC236}">
                        <a16:creationId xmlns:a16="http://schemas.microsoft.com/office/drawing/2014/main" id="{379073DE-B9A8-F322-1DD6-6CE272A2CE75}"/>
                      </a:ext>
                    </a:extLst>
                  </p:cNvPr>
                  <p:cNvSpPr/>
                  <p:nvPr userDrawn="1"/>
                </p:nvSpPr>
                <p:spPr>
                  <a:xfrm>
                    <a:off x="8458017" y="45097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1E4EB"/>
                  </a:solidFill>
                  <a:ln w="2339" cap="flat">
                    <a:noFill/>
                    <a:prstDash val="solid"/>
                    <a:miter/>
                  </a:ln>
                </p:spPr>
                <p:txBody>
                  <a:bodyPr rtlCol="0" anchor="ctr"/>
                  <a:lstStyle/>
                  <a:p>
                    <a:endParaRPr lang="en-US"/>
                  </a:p>
                </p:txBody>
              </p:sp>
              <p:sp>
                <p:nvSpPr>
                  <p:cNvPr id="957" name="Freeform: Shape 956">
                    <a:extLst>
                      <a:ext uri="{FF2B5EF4-FFF2-40B4-BE49-F238E27FC236}">
                        <a16:creationId xmlns:a16="http://schemas.microsoft.com/office/drawing/2014/main" id="{06E77F15-1863-432E-885C-5CE4D5BE55F4}"/>
                      </a:ext>
                    </a:extLst>
                  </p:cNvPr>
                  <p:cNvSpPr/>
                  <p:nvPr userDrawn="1"/>
                </p:nvSpPr>
                <p:spPr>
                  <a:xfrm>
                    <a:off x="8458368" y="45099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54"/>
                          <a:pt x="0" y="21060"/>
                        </a:cubicBezTo>
                        <a:close/>
                      </a:path>
                    </a:pathLst>
                  </a:custGeom>
                  <a:solidFill>
                    <a:srgbClr val="E1E4EC"/>
                  </a:solidFill>
                  <a:ln w="2339" cap="flat">
                    <a:noFill/>
                    <a:prstDash val="solid"/>
                    <a:miter/>
                  </a:ln>
                </p:spPr>
                <p:txBody>
                  <a:bodyPr rtlCol="0" anchor="ctr"/>
                  <a:lstStyle/>
                  <a:p>
                    <a:endParaRPr lang="en-US"/>
                  </a:p>
                </p:txBody>
              </p:sp>
              <p:sp>
                <p:nvSpPr>
                  <p:cNvPr id="958" name="Freeform: Shape 957">
                    <a:extLst>
                      <a:ext uri="{FF2B5EF4-FFF2-40B4-BE49-F238E27FC236}">
                        <a16:creationId xmlns:a16="http://schemas.microsoft.com/office/drawing/2014/main" id="{2D603F83-6B8E-1CB4-7693-7D02CA50011A}"/>
                      </a:ext>
                    </a:extLst>
                  </p:cNvPr>
                  <p:cNvSpPr/>
                  <p:nvPr userDrawn="1"/>
                </p:nvSpPr>
                <p:spPr>
                  <a:xfrm>
                    <a:off x="8458719" y="451022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2E4EC"/>
                  </a:solidFill>
                  <a:ln w="2339" cap="flat">
                    <a:noFill/>
                    <a:prstDash val="solid"/>
                    <a:miter/>
                  </a:ln>
                </p:spPr>
                <p:txBody>
                  <a:bodyPr rtlCol="0" anchor="ctr"/>
                  <a:lstStyle/>
                  <a:p>
                    <a:endParaRPr lang="en-US"/>
                  </a:p>
                </p:txBody>
              </p:sp>
              <p:sp>
                <p:nvSpPr>
                  <p:cNvPr id="959" name="Freeform: Shape 958">
                    <a:extLst>
                      <a:ext uri="{FF2B5EF4-FFF2-40B4-BE49-F238E27FC236}">
                        <a16:creationId xmlns:a16="http://schemas.microsoft.com/office/drawing/2014/main" id="{122D61D7-E09F-814C-D8DD-2766EB68C185}"/>
                      </a:ext>
                    </a:extLst>
                  </p:cNvPr>
                  <p:cNvSpPr/>
                  <p:nvPr userDrawn="1"/>
                </p:nvSpPr>
                <p:spPr>
                  <a:xfrm>
                    <a:off x="8459046" y="451047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2E5EC"/>
                  </a:solidFill>
                  <a:ln w="2339" cap="flat">
                    <a:noFill/>
                    <a:prstDash val="solid"/>
                    <a:miter/>
                  </a:ln>
                </p:spPr>
                <p:txBody>
                  <a:bodyPr rtlCol="0" anchor="ctr"/>
                  <a:lstStyle/>
                  <a:p>
                    <a:endParaRPr lang="en-US"/>
                  </a:p>
                </p:txBody>
              </p:sp>
              <p:sp>
                <p:nvSpPr>
                  <p:cNvPr id="960" name="Freeform: Shape 959">
                    <a:extLst>
                      <a:ext uri="{FF2B5EF4-FFF2-40B4-BE49-F238E27FC236}">
                        <a16:creationId xmlns:a16="http://schemas.microsoft.com/office/drawing/2014/main" id="{77FAE8ED-4B03-1AB5-9A73-F94E39D93AA2}"/>
                      </a:ext>
                    </a:extLst>
                  </p:cNvPr>
                  <p:cNvSpPr/>
                  <p:nvPr userDrawn="1"/>
                </p:nvSpPr>
                <p:spPr>
                  <a:xfrm>
                    <a:off x="8459397" y="45107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2E5EC"/>
                  </a:solidFill>
                  <a:ln w="2339" cap="flat">
                    <a:noFill/>
                    <a:prstDash val="solid"/>
                    <a:miter/>
                  </a:ln>
                </p:spPr>
                <p:txBody>
                  <a:bodyPr rtlCol="0" anchor="ctr"/>
                  <a:lstStyle/>
                  <a:p>
                    <a:endParaRPr lang="en-US"/>
                  </a:p>
                </p:txBody>
              </p:sp>
              <p:sp>
                <p:nvSpPr>
                  <p:cNvPr id="961" name="Freeform: Shape 960">
                    <a:extLst>
                      <a:ext uri="{FF2B5EF4-FFF2-40B4-BE49-F238E27FC236}">
                        <a16:creationId xmlns:a16="http://schemas.microsoft.com/office/drawing/2014/main" id="{0F965DD5-0BD9-A002-59B3-63D65267EC78}"/>
                      </a:ext>
                    </a:extLst>
                  </p:cNvPr>
                  <p:cNvSpPr/>
                  <p:nvPr userDrawn="1"/>
                </p:nvSpPr>
                <p:spPr>
                  <a:xfrm>
                    <a:off x="8459725" y="45109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C"/>
                  </a:solidFill>
                  <a:ln w="2339" cap="flat">
                    <a:noFill/>
                    <a:prstDash val="solid"/>
                    <a:miter/>
                  </a:ln>
                </p:spPr>
                <p:txBody>
                  <a:bodyPr rtlCol="0" anchor="ctr"/>
                  <a:lstStyle/>
                  <a:p>
                    <a:endParaRPr lang="en-US"/>
                  </a:p>
                </p:txBody>
              </p:sp>
              <p:sp>
                <p:nvSpPr>
                  <p:cNvPr id="962" name="Freeform: Shape 961">
                    <a:extLst>
                      <a:ext uri="{FF2B5EF4-FFF2-40B4-BE49-F238E27FC236}">
                        <a16:creationId xmlns:a16="http://schemas.microsoft.com/office/drawing/2014/main" id="{B1A9ED6F-EB51-AED4-9E0B-57DD98EC0A8B}"/>
                      </a:ext>
                    </a:extLst>
                  </p:cNvPr>
                  <p:cNvSpPr/>
                  <p:nvPr userDrawn="1"/>
                </p:nvSpPr>
                <p:spPr>
                  <a:xfrm>
                    <a:off x="8460052" y="451122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3E5ED"/>
                  </a:solidFill>
                  <a:ln w="2339" cap="flat">
                    <a:noFill/>
                    <a:prstDash val="solid"/>
                    <a:miter/>
                  </a:ln>
                </p:spPr>
                <p:txBody>
                  <a:bodyPr rtlCol="0" anchor="ctr"/>
                  <a:lstStyle/>
                  <a:p>
                    <a:endParaRPr lang="en-US"/>
                  </a:p>
                </p:txBody>
              </p:sp>
              <p:sp>
                <p:nvSpPr>
                  <p:cNvPr id="963" name="Freeform: Shape 962">
                    <a:extLst>
                      <a:ext uri="{FF2B5EF4-FFF2-40B4-BE49-F238E27FC236}">
                        <a16:creationId xmlns:a16="http://schemas.microsoft.com/office/drawing/2014/main" id="{401EB0CC-34C3-8C9D-D20B-F635DBF042E7}"/>
                      </a:ext>
                    </a:extLst>
                  </p:cNvPr>
                  <p:cNvSpPr/>
                  <p:nvPr userDrawn="1"/>
                </p:nvSpPr>
                <p:spPr>
                  <a:xfrm>
                    <a:off x="8460403" y="451146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a:p>
                </p:txBody>
              </p:sp>
              <p:sp>
                <p:nvSpPr>
                  <p:cNvPr id="964" name="Freeform: Shape 963">
                    <a:extLst>
                      <a:ext uri="{FF2B5EF4-FFF2-40B4-BE49-F238E27FC236}">
                        <a16:creationId xmlns:a16="http://schemas.microsoft.com/office/drawing/2014/main" id="{0F7E5136-751E-B318-DC64-0521097B537B}"/>
                      </a:ext>
                    </a:extLst>
                  </p:cNvPr>
                  <p:cNvSpPr/>
                  <p:nvPr userDrawn="1"/>
                </p:nvSpPr>
                <p:spPr>
                  <a:xfrm>
                    <a:off x="8460731" y="451171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3E6ED"/>
                  </a:solidFill>
                  <a:ln w="2339" cap="flat">
                    <a:noFill/>
                    <a:prstDash val="solid"/>
                    <a:miter/>
                  </a:ln>
                </p:spPr>
                <p:txBody>
                  <a:bodyPr rtlCol="0" anchor="ctr"/>
                  <a:lstStyle/>
                  <a:p>
                    <a:endParaRPr lang="en-US"/>
                  </a:p>
                </p:txBody>
              </p:sp>
              <p:sp>
                <p:nvSpPr>
                  <p:cNvPr id="965" name="Freeform: Shape 964">
                    <a:extLst>
                      <a:ext uri="{FF2B5EF4-FFF2-40B4-BE49-F238E27FC236}">
                        <a16:creationId xmlns:a16="http://schemas.microsoft.com/office/drawing/2014/main" id="{6354F34F-7223-69F8-15CB-8F71288BC5CF}"/>
                      </a:ext>
                    </a:extLst>
                  </p:cNvPr>
                  <p:cNvSpPr/>
                  <p:nvPr userDrawn="1"/>
                </p:nvSpPr>
                <p:spPr>
                  <a:xfrm>
                    <a:off x="8461059" y="451197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4E6ED"/>
                  </a:solidFill>
                  <a:ln w="2339" cap="flat">
                    <a:noFill/>
                    <a:prstDash val="solid"/>
                    <a:miter/>
                  </a:ln>
                </p:spPr>
                <p:txBody>
                  <a:bodyPr rtlCol="0" anchor="ctr"/>
                  <a:lstStyle/>
                  <a:p>
                    <a:endParaRPr lang="en-US"/>
                  </a:p>
                </p:txBody>
              </p:sp>
              <p:sp>
                <p:nvSpPr>
                  <p:cNvPr id="966" name="Freeform: Shape 965">
                    <a:extLst>
                      <a:ext uri="{FF2B5EF4-FFF2-40B4-BE49-F238E27FC236}">
                        <a16:creationId xmlns:a16="http://schemas.microsoft.com/office/drawing/2014/main" id="{550007E3-BEE6-4D34-19B8-FD8B34661ADB}"/>
                      </a:ext>
                    </a:extLst>
                  </p:cNvPr>
                  <p:cNvSpPr/>
                  <p:nvPr userDrawn="1"/>
                </p:nvSpPr>
                <p:spPr>
                  <a:xfrm>
                    <a:off x="8461363" y="45122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6ED"/>
                  </a:solidFill>
                  <a:ln w="2339" cap="flat">
                    <a:noFill/>
                    <a:prstDash val="solid"/>
                    <a:miter/>
                  </a:ln>
                </p:spPr>
                <p:txBody>
                  <a:bodyPr rtlCol="0" anchor="ctr"/>
                  <a:lstStyle/>
                  <a:p>
                    <a:endParaRPr lang="en-US"/>
                  </a:p>
                </p:txBody>
              </p:sp>
              <p:sp>
                <p:nvSpPr>
                  <p:cNvPr id="967" name="Freeform: Shape 966">
                    <a:extLst>
                      <a:ext uri="{FF2B5EF4-FFF2-40B4-BE49-F238E27FC236}">
                        <a16:creationId xmlns:a16="http://schemas.microsoft.com/office/drawing/2014/main" id="{5D6D1901-C4F3-079C-012F-1F275290BB82}"/>
                      </a:ext>
                    </a:extLst>
                  </p:cNvPr>
                  <p:cNvSpPr/>
                  <p:nvPr userDrawn="1"/>
                </p:nvSpPr>
                <p:spPr>
                  <a:xfrm>
                    <a:off x="8461690" y="45124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4E7EE"/>
                  </a:solidFill>
                  <a:ln w="2339" cap="flat">
                    <a:noFill/>
                    <a:prstDash val="solid"/>
                    <a:miter/>
                  </a:ln>
                </p:spPr>
                <p:txBody>
                  <a:bodyPr rtlCol="0" anchor="ctr"/>
                  <a:lstStyle/>
                  <a:p>
                    <a:endParaRPr lang="en-US"/>
                  </a:p>
                </p:txBody>
              </p:sp>
              <p:sp>
                <p:nvSpPr>
                  <p:cNvPr id="968" name="Freeform: Shape 967">
                    <a:extLst>
                      <a:ext uri="{FF2B5EF4-FFF2-40B4-BE49-F238E27FC236}">
                        <a16:creationId xmlns:a16="http://schemas.microsoft.com/office/drawing/2014/main" id="{99A93F18-9870-F506-72CB-4A277BA45A6F}"/>
                      </a:ext>
                    </a:extLst>
                  </p:cNvPr>
                  <p:cNvSpPr/>
                  <p:nvPr userDrawn="1"/>
                </p:nvSpPr>
                <p:spPr>
                  <a:xfrm>
                    <a:off x="8462018" y="45127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7EE"/>
                  </a:solidFill>
                  <a:ln w="2339" cap="flat">
                    <a:noFill/>
                    <a:prstDash val="solid"/>
                    <a:miter/>
                  </a:ln>
                </p:spPr>
                <p:txBody>
                  <a:bodyPr rtlCol="0" anchor="ctr"/>
                  <a:lstStyle/>
                  <a:p>
                    <a:endParaRPr lang="en-US"/>
                  </a:p>
                </p:txBody>
              </p:sp>
              <p:sp>
                <p:nvSpPr>
                  <p:cNvPr id="969" name="Freeform: Shape 968">
                    <a:extLst>
                      <a:ext uri="{FF2B5EF4-FFF2-40B4-BE49-F238E27FC236}">
                        <a16:creationId xmlns:a16="http://schemas.microsoft.com/office/drawing/2014/main" id="{E91C529F-9CAB-246F-2F31-DEA6DA51B1EB}"/>
                      </a:ext>
                    </a:extLst>
                  </p:cNvPr>
                  <p:cNvSpPr/>
                  <p:nvPr userDrawn="1"/>
                </p:nvSpPr>
                <p:spPr>
                  <a:xfrm>
                    <a:off x="8462322" y="451300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5E7EE"/>
                  </a:solidFill>
                  <a:ln w="2339" cap="flat">
                    <a:noFill/>
                    <a:prstDash val="solid"/>
                    <a:miter/>
                  </a:ln>
                </p:spPr>
                <p:txBody>
                  <a:bodyPr rtlCol="0" anchor="ctr"/>
                  <a:lstStyle/>
                  <a:p>
                    <a:endParaRPr lang="en-US"/>
                  </a:p>
                </p:txBody>
              </p:sp>
              <p:sp>
                <p:nvSpPr>
                  <p:cNvPr id="970" name="Freeform: Shape 969">
                    <a:extLst>
                      <a:ext uri="{FF2B5EF4-FFF2-40B4-BE49-F238E27FC236}">
                        <a16:creationId xmlns:a16="http://schemas.microsoft.com/office/drawing/2014/main" id="{09809AC8-6E92-3975-1E36-C2D5347E41FA}"/>
                      </a:ext>
                    </a:extLst>
                  </p:cNvPr>
                  <p:cNvSpPr/>
                  <p:nvPr userDrawn="1"/>
                </p:nvSpPr>
                <p:spPr>
                  <a:xfrm>
                    <a:off x="8462650" y="451326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5E8EE"/>
                  </a:solidFill>
                  <a:ln w="2339" cap="flat">
                    <a:noFill/>
                    <a:prstDash val="solid"/>
                    <a:miter/>
                  </a:ln>
                </p:spPr>
                <p:txBody>
                  <a:bodyPr rtlCol="0" anchor="ctr"/>
                  <a:lstStyle/>
                  <a:p>
                    <a:endParaRPr lang="en-US"/>
                  </a:p>
                </p:txBody>
              </p:sp>
              <p:sp>
                <p:nvSpPr>
                  <p:cNvPr id="971" name="Freeform: Shape 970">
                    <a:extLst>
                      <a:ext uri="{FF2B5EF4-FFF2-40B4-BE49-F238E27FC236}">
                        <a16:creationId xmlns:a16="http://schemas.microsoft.com/office/drawing/2014/main" id="{834C9F74-C980-1DC6-72B9-E2F4C41C8C50}"/>
                      </a:ext>
                    </a:extLst>
                  </p:cNvPr>
                  <p:cNvSpPr/>
                  <p:nvPr userDrawn="1"/>
                </p:nvSpPr>
                <p:spPr>
                  <a:xfrm>
                    <a:off x="8463048" y="451359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6E8EE"/>
                  </a:solidFill>
                  <a:ln w="2339" cap="flat">
                    <a:noFill/>
                    <a:prstDash val="solid"/>
                    <a:miter/>
                  </a:ln>
                </p:spPr>
                <p:txBody>
                  <a:bodyPr rtlCol="0" anchor="ctr"/>
                  <a:lstStyle/>
                  <a:p>
                    <a:endParaRPr lang="en-US"/>
                  </a:p>
                </p:txBody>
              </p:sp>
              <p:sp>
                <p:nvSpPr>
                  <p:cNvPr id="972" name="Freeform: Shape 971">
                    <a:extLst>
                      <a:ext uri="{FF2B5EF4-FFF2-40B4-BE49-F238E27FC236}">
                        <a16:creationId xmlns:a16="http://schemas.microsoft.com/office/drawing/2014/main" id="{D821B8B4-41E2-FC61-7CC5-C9A6CBD65C81}"/>
                      </a:ext>
                    </a:extLst>
                  </p:cNvPr>
                  <p:cNvSpPr/>
                  <p:nvPr userDrawn="1"/>
                </p:nvSpPr>
                <p:spPr>
                  <a:xfrm>
                    <a:off x="8463539" y="451401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6E8EF"/>
                  </a:solidFill>
                  <a:ln w="2339" cap="flat">
                    <a:noFill/>
                    <a:prstDash val="solid"/>
                    <a:miter/>
                  </a:ln>
                </p:spPr>
                <p:txBody>
                  <a:bodyPr rtlCol="0" anchor="ctr"/>
                  <a:lstStyle/>
                  <a:p>
                    <a:endParaRPr lang="en-US"/>
                  </a:p>
                </p:txBody>
              </p:sp>
              <p:sp>
                <p:nvSpPr>
                  <p:cNvPr id="973" name="Freeform: Shape 972">
                    <a:extLst>
                      <a:ext uri="{FF2B5EF4-FFF2-40B4-BE49-F238E27FC236}">
                        <a16:creationId xmlns:a16="http://schemas.microsoft.com/office/drawing/2014/main" id="{14053C4C-81A2-483E-88EE-79AB398AC32B}"/>
                      </a:ext>
                    </a:extLst>
                  </p:cNvPr>
                  <p:cNvSpPr/>
                  <p:nvPr userDrawn="1"/>
                </p:nvSpPr>
                <p:spPr>
                  <a:xfrm>
                    <a:off x="8464030" y="451441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6E8EF"/>
                  </a:solidFill>
                  <a:ln w="2339" cap="flat">
                    <a:noFill/>
                    <a:prstDash val="solid"/>
                    <a:miter/>
                  </a:ln>
                </p:spPr>
                <p:txBody>
                  <a:bodyPr rtlCol="0" anchor="ctr"/>
                  <a:lstStyle/>
                  <a:p>
                    <a:endParaRPr lang="en-US"/>
                  </a:p>
                </p:txBody>
              </p:sp>
              <p:sp>
                <p:nvSpPr>
                  <p:cNvPr id="974" name="Freeform: Shape 973">
                    <a:extLst>
                      <a:ext uri="{FF2B5EF4-FFF2-40B4-BE49-F238E27FC236}">
                        <a16:creationId xmlns:a16="http://schemas.microsoft.com/office/drawing/2014/main" id="{B35AF947-66F8-9A19-2461-984BED40A8E6}"/>
                      </a:ext>
                    </a:extLst>
                  </p:cNvPr>
                  <p:cNvSpPr/>
                  <p:nvPr userDrawn="1"/>
                </p:nvSpPr>
                <p:spPr>
                  <a:xfrm>
                    <a:off x="8464498" y="451480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a:p>
                </p:txBody>
              </p:sp>
              <p:sp>
                <p:nvSpPr>
                  <p:cNvPr id="975" name="Freeform: Shape 974">
                    <a:extLst>
                      <a:ext uri="{FF2B5EF4-FFF2-40B4-BE49-F238E27FC236}">
                        <a16:creationId xmlns:a16="http://schemas.microsoft.com/office/drawing/2014/main" id="{FF43E442-E477-973B-D47B-AB6A83F8B647}"/>
                      </a:ext>
                    </a:extLst>
                  </p:cNvPr>
                  <p:cNvSpPr/>
                  <p:nvPr userDrawn="1"/>
                </p:nvSpPr>
                <p:spPr>
                  <a:xfrm>
                    <a:off x="8464966" y="4515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9EF"/>
                  </a:solidFill>
                  <a:ln w="2339" cap="flat">
                    <a:noFill/>
                    <a:prstDash val="solid"/>
                    <a:miter/>
                  </a:ln>
                </p:spPr>
                <p:txBody>
                  <a:bodyPr rtlCol="0" anchor="ctr"/>
                  <a:lstStyle/>
                  <a:p>
                    <a:endParaRPr lang="en-US"/>
                  </a:p>
                </p:txBody>
              </p:sp>
              <p:sp>
                <p:nvSpPr>
                  <p:cNvPr id="976" name="Freeform: Shape 975">
                    <a:extLst>
                      <a:ext uri="{FF2B5EF4-FFF2-40B4-BE49-F238E27FC236}">
                        <a16:creationId xmlns:a16="http://schemas.microsoft.com/office/drawing/2014/main" id="{34DC1118-46B4-C3E6-BDFC-3CE2AAFA72AA}"/>
                      </a:ext>
                    </a:extLst>
                  </p:cNvPr>
                  <p:cNvSpPr/>
                  <p:nvPr userDrawn="1"/>
                </p:nvSpPr>
                <p:spPr>
                  <a:xfrm>
                    <a:off x="8465434" y="451562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7E9EF"/>
                  </a:solidFill>
                  <a:ln w="2339" cap="flat">
                    <a:noFill/>
                    <a:prstDash val="solid"/>
                    <a:miter/>
                  </a:ln>
                </p:spPr>
                <p:txBody>
                  <a:bodyPr rtlCol="0" anchor="ctr"/>
                  <a:lstStyle/>
                  <a:p>
                    <a:endParaRPr lang="en-US"/>
                  </a:p>
                </p:txBody>
              </p:sp>
              <p:sp>
                <p:nvSpPr>
                  <p:cNvPr id="977" name="Freeform: Shape 976">
                    <a:extLst>
                      <a:ext uri="{FF2B5EF4-FFF2-40B4-BE49-F238E27FC236}">
                        <a16:creationId xmlns:a16="http://schemas.microsoft.com/office/drawing/2014/main" id="{6FFB2309-565E-6DA9-7BED-CCE281F06D2B}"/>
                      </a:ext>
                    </a:extLst>
                  </p:cNvPr>
                  <p:cNvSpPr/>
                  <p:nvPr userDrawn="1"/>
                </p:nvSpPr>
                <p:spPr>
                  <a:xfrm>
                    <a:off x="8465902" y="45160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7EAF0"/>
                  </a:solidFill>
                  <a:ln w="2339" cap="flat">
                    <a:noFill/>
                    <a:prstDash val="solid"/>
                    <a:miter/>
                  </a:ln>
                </p:spPr>
                <p:txBody>
                  <a:bodyPr rtlCol="0" anchor="ctr"/>
                  <a:lstStyle/>
                  <a:p>
                    <a:endParaRPr lang="en-US"/>
                  </a:p>
                </p:txBody>
              </p:sp>
              <p:sp>
                <p:nvSpPr>
                  <p:cNvPr id="978" name="Freeform: Shape 977">
                    <a:extLst>
                      <a:ext uri="{FF2B5EF4-FFF2-40B4-BE49-F238E27FC236}">
                        <a16:creationId xmlns:a16="http://schemas.microsoft.com/office/drawing/2014/main" id="{B2B049B7-F572-CB48-CAB5-14648C0DA6DE}"/>
                      </a:ext>
                    </a:extLst>
                  </p:cNvPr>
                  <p:cNvSpPr/>
                  <p:nvPr userDrawn="1"/>
                </p:nvSpPr>
                <p:spPr>
                  <a:xfrm>
                    <a:off x="8466347" y="45164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8EAF0"/>
                  </a:solidFill>
                  <a:ln w="2339" cap="flat">
                    <a:noFill/>
                    <a:prstDash val="solid"/>
                    <a:miter/>
                  </a:ln>
                </p:spPr>
                <p:txBody>
                  <a:bodyPr rtlCol="0" anchor="ctr"/>
                  <a:lstStyle/>
                  <a:p>
                    <a:endParaRPr lang="en-US"/>
                  </a:p>
                </p:txBody>
              </p:sp>
              <p:sp>
                <p:nvSpPr>
                  <p:cNvPr id="979" name="Freeform: Shape 978">
                    <a:extLst>
                      <a:ext uri="{FF2B5EF4-FFF2-40B4-BE49-F238E27FC236}">
                        <a16:creationId xmlns:a16="http://schemas.microsoft.com/office/drawing/2014/main" id="{FF3F2FFD-8AA3-6538-AD74-4FABB2CF827D}"/>
                      </a:ext>
                    </a:extLst>
                  </p:cNvPr>
                  <p:cNvSpPr/>
                  <p:nvPr userDrawn="1"/>
                </p:nvSpPr>
                <p:spPr>
                  <a:xfrm>
                    <a:off x="8466815" y="45168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a:p>
                </p:txBody>
              </p:sp>
              <p:sp>
                <p:nvSpPr>
                  <p:cNvPr id="980" name="Freeform: Shape 979">
                    <a:extLst>
                      <a:ext uri="{FF2B5EF4-FFF2-40B4-BE49-F238E27FC236}">
                        <a16:creationId xmlns:a16="http://schemas.microsoft.com/office/drawing/2014/main" id="{8D4115D2-F2C2-EB65-41DD-6FC8DEA836E5}"/>
                      </a:ext>
                    </a:extLst>
                  </p:cNvPr>
                  <p:cNvSpPr/>
                  <p:nvPr userDrawn="1"/>
                </p:nvSpPr>
                <p:spPr>
                  <a:xfrm>
                    <a:off x="8467260" y="45172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8EAF0"/>
                  </a:solidFill>
                  <a:ln w="2339" cap="flat">
                    <a:noFill/>
                    <a:prstDash val="solid"/>
                    <a:miter/>
                  </a:ln>
                </p:spPr>
                <p:txBody>
                  <a:bodyPr rtlCol="0" anchor="ctr"/>
                  <a:lstStyle/>
                  <a:p>
                    <a:endParaRPr lang="en-US"/>
                  </a:p>
                </p:txBody>
              </p:sp>
              <p:sp>
                <p:nvSpPr>
                  <p:cNvPr id="981" name="Freeform: Shape 980">
                    <a:extLst>
                      <a:ext uri="{FF2B5EF4-FFF2-40B4-BE49-F238E27FC236}">
                        <a16:creationId xmlns:a16="http://schemas.microsoft.com/office/drawing/2014/main" id="{05832684-AB76-7ACD-5514-A4744845CC07}"/>
                      </a:ext>
                    </a:extLst>
                  </p:cNvPr>
                  <p:cNvSpPr/>
                  <p:nvPr userDrawn="1"/>
                </p:nvSpPr>
                <p:spPr>
                  <a:xfrm>
                    <a:off x="8467681" y="45176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9EBF0"/>
                  </a:solidFill>
                  <a:ln w="2339" cap="flat">
                    <a:noFill/>
                    <a:prstDash val="solid"/>
                    <a:miter/>
                  </a:ln>
                </p:spPr>
                <p:txBody>
                  <a:bodyPr rtlCol="0" anchor="ctr"/>
                  <a:lstStyle/>
                  <a:p>
                    <a:endParaRPr lang="en-US"/>
                  </a:p>
                </p:txBody>
              </p:sp>
              <p:sp>
                <p:nvSpPr>
                  <p:cNvPr id="982" name="Freeform: Shape 981">
                    <a:extLst>
                      <a:ext uri="{FF2B5EF4-FFF2-40B4-BE49-F238E27FC236}">
                        <a16:creationId xmlns:a16="http://schemas.microsoft.com/office/drawing/2014/main" id="{86051811-2FA5-15BB-8437-0EE3CE35ACF1}"/>
                      </a:ext>
                    </a:extLst>
                  </p:cNvPr>
                  <p:cNvSpPr/>
                  <p:nvPr userDrawn="1"/>
                </p:nvSpPr>
                <p:spPr>
                  <a:xfrm>
                    <a:off x="8468125" y="45181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a:p>
                </p:txBody>
              </p:sp>
              <p:sp>
                <p:nvSpPr>
                  <p:cNvPr id="983" name="Freeform: Shape 982">
                    <a:extLst>
                      <a:ext uri="{FF2B5EF4-FFF2-40B4-BE49-F238E27FC236}">
                        <a16:creationId xmlns:a16="http://schemas.microsoft.com/office/drawing/2014/main" id="{9CADCE94-3E83-30FC-E90B-72745F846ABC}"/>
                      </a:ext>
                    </a:extLst>
                  </p:cNvPr>
                  <p:cNvSpPr/>
                  <p:nvPr userDrawn="1"/>
                </p:nvSpPr>
                <p:spPr>
                  <a:xfrm>
                    <a:off x="8468547" y="45185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9EBF1"/>
                  </a:solidFill>
                  <a:ln w="2339" cap="flat">
                    <a:noFill/>
                    <a:prstDash val="solid"/>
                    <a:miter/>
                  </a:ln>
                </p:spPr>
                <p:txBody>
                  <a:bodyPr rtlCol="0" anchor="ctr"/>
                  <a:lstStyle/>
                  <a:p>
                    <a:endParaRPr lang="en-US"/>
                  </a:p>
                </p:txBody>
              </p:sp>
              <p:sp>
                <p:nvSpPr>
                  <p:cNvPr id="984" name="Freeform: Shape 983">
                    <a:extLst>
                      <a:ext uri="{FF2B5EF4-FFF2-40B4-BE49-F238E27FC236}">
                        <a16:creationId xmlns:a16="http://schemas.microsoft.com/office/drawing/2014/main" id="{65A4A3FE-903C-7C84-7AF4-5BBFFFCF04AD}"/>
                      </a:ext>
                    </a:extLst>
                  </p:cNvPr>
                  <p:cNvSpPr/>
                  <p:nvPr userDrawn="1"/>
                </p:nvSpPr>
                <p:spPr>
                  <a:xfrm>
                    <a:off x="8468991" y="451892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AECF1"/>
                  </a:solidFill>
                  <a:ln w="2339" cap="flat">
                    <a:noFill/>
                    <a:prstDash val="solid"/>
                    <a:miter/>
                  </a:ln>
                </p:spPr>
                <p:txBody>
                  <a:bodyPr rtlCol="0" anchor="ctr"/>
                  <a:lstStyle/>
                  <a:p>
                    <a:endParaRPr lang="en-US"/>
                  </a:p>
                </p:txBody>
              </p:sp>
              <p:sp>
                <p:nvSpPr>
                  <p:cNvPr id="985" name="Freeform: Shape 984">
                    <a:extLst>
                      <a:ext uri="{FF2B5EF4-FFF2-40B4-BE49-F238E27FC236}">
                        <a16:creationId xmlns:a16="http://schemas.microsoft.com/office/drawing/2014/main" id="{9D4C6F6C-2E34-6E05-CADF-B0E572BEAC58}"/>
                      </a:ext>
                    </a:extLst>
                  </p:cNvPr>
                  <p:cNvSpPr/>
                  <p:nvPr userDrawn="1"/>
                </p:nvSpPr>
                <p:spPr>
                  <a:xfrm>
                    <a:off x="8469389" y="451934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a:p>
                </p:txBody>
              </p:sp>
              <p:sp>
                <p:nvSpPr>
                  <p:cNvPr id="986" name="Freeform: Shape 985">
                    <a:extLst>
                      <a:ext uri="{FF2B5EF4-FFF2-40B4-BE49-F238E27FC236}">
                        <a16:creationId xmlns:a16="http://schemas.microsoft.com/office/drawing/2014/main" id="{00761C56-F2AE-BC86-AD65-0666FAEC147E}"/>
                      </a:ext>
                    </a:extLst>
                  </p:cNvPr>
                  <p:cNvSpPr/>
                  <p:nvPr userDrawn="1"/>
                </p:nvSpPr>
                <p:spPr>
                  <a:xfrm>
                    <a:off x="8469810" y="451976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AECF1"/>
                  </a:solidFill>
                  <a:ln w="2339" cap="flat">
                    <a:noFill/>
                    <a:prstDash val="solid"/>
                    <a:miter/>
                  </a:ln>
                </p:spPr>
                <p:txBody>
                  <a:bodyPr rtlCol="0" anchor="ctr"/>
                  <a:lstStyle/>
                  <a:p>
                    <a:endParaRPr lang="en-US"/>
                  </a:p>
                </p:txBody>
              </p:sp>
              <p:sp>
                <p:nvSpPr>
                  <p:cNvPr id="987" name="Freeform: Shape 986">
                    <a:extLst>
                      <a:ext uri="{FF2B5EF4-FFF2-40B4-BE49-F238E27FC236}">
                        <a16:creationId xmlns:a16="http://schemas.microsoft.com/office/drawing/2014/main" id="{518A0E7B-BA2B-2C42-68B9-EC8C8AFD8153}"/>
                      </a:ext>
                    </a:extLst>
                  </p:cNvPr>
                  <p:cNvSpPr/>
                  <p:nvPr userDrawn="1"/>
                </p:nvSpPr>
                <p:spPr>
                  <a:xfrm>
                    <a:off x="8470231" y="452016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54"/>
                          <a:pt x="0" y="21060"/>
                        </a:cubicBezTo>
                        <a:close/>
                      </a:path>
                    </a:pathLst>
                  </a:custGeom>
                  <a:solidFill>
                    <a:srgbClr val="EBECF2"/>
                  </a:solidFill>
                  <a:ln w="2339" cap="flat">
                    <a:noFill/>
                    <a:prstDash val="solid"/>
                    <a:miter/>
                  </a:ln>
                </p:spPr>
                <p:txBody>
                  <a:bodyPr rtlCol="0" anchor="ctr"/>
                  <a:lstStyle/>
                  <a:p>
                    <a:endParaRPr lang="en-US"/>
                  </a:p>
                </p:txBody>
              </p:sp>
              <p:sp>
                <p:nvSpPr>
                  <p:cNvPr id="988" name="Freeform: Shape 987">
                    <a:extLst>
                      <a:ext uri="{FF2B5EF4-FFF2-40B4-BE49-F238E27FC236}">
                        <a16:creationId xmlns:a16="http://schemas.microsoft.com/office/drawing/2014/main" id="{6F3B0111-0836-A7C1-C47B-ADFF91444A9F}"/>
                      </a:ext>
                    </a:extLst>
                  </p:cNvPr>
                  <p:cNvSpPr/>
                  <p:nvPr userDrawn="1"/>
                </p:nvSpPr>
                <p:spPr>
                  <a:xfrm>
                    <a:off x="8470629" y="452058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BEDF2"/>
                  </a:solidFill>
                  <a:ln w="2339" cap="flat">
                    <a:noFill/>
                    <a:prstDash val="solid"/>
                    <a:miter/>
                  </a:ln>
                </p:spPr>
                <p:txBody>
                  <a:bodyPr rtlCol="0" anchor="ctr"/>
                  <a:lstStyle/>
                  <a:p>
                    <a:endParaRPr lang="en-US"/>
                  </a:p>
                </p:txBody>
              </p:sp>
              <p:sp>
                <p:nvSpPr>
                  <p:cNvPr id="989" name="Freeform: Shape 988">
                    <a:extLst>
                      <a:ext uri="{FF2B5EF4-FFF2-40B4-BE49-F238E27FC236}">
                        <a16:creationId xmlns:a16="http://schemas.microsoft.com/office/drawing/2014/main" id="{6E1AB1B9-A8FD-F51F-2307-D15EFCD4FD00}"/>
                      </a:ext>
                    </a:extLst>
                  </p:cNvPr>
                  <p:cNvSpPr/>
                  <p:nvPr userDrawn="1"/>
                </p:nvSpPr>
                <p:spPr>
                  <a:xfrm>
                    <a:off x="8471027" y="452100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a:p>
                </p:txBody>
              </p:sp>
              <p:sp>
                <p:nvSpPr>
                  <p:cNvPr id="990" name="Freeform: Shape 989">
                    <a:extLst>
                      <a:ext uri="{FF2B5EF4-FFF2-40B4-BE49-F238E27FC236}">
                        <a16:creationId xmlns:a16="http://schemas.microsoft.com/office/drawing/2014/main" id="{37171D42-128F-0BAC-A513-A720466C93DB}"/>
                      </a:ext>
                    </a:extLst>
                  </p:cNvPr>
                  <p:cNvSpPr/>
                  <p:nvPr userDrawn="1"/>
                </p:nvSpPr>
                <p:spPr>
                  <a:xfrm>
                    <a:off x="8471425" y="452143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BEDF2"/>
                  </a:solidFill>
                  <a:ln w="2339" cap="flat">
                    <a:noFill/>
                    <a:prstDash val="solid"/>
                    <a:miter/>
                  </a:ln>
                </p:spPr>
                <p:txBody>
                  <a:bodyPr rtlCol="0" anchor="ctr"/>
                  <a:lstStyle/>
                  <a:p>
                    <a:endParaRPr lang="en-US"/>
                  </a:p>
                </p:txBody>
              </p:sp>
              <p:sp>
                <p:nvSpPr>
                  <p:cNvPr id="991" name="Freeform: Shape 990">
                    <a:extLst>
                      <a:ext uri="{FF2B5EF4-FFF2-40B4-BE49-F238E27FC236}">
                        <a16:creationId xmlns:a16="http://schemas.microsoft.com/office/drawing/2014/main" id="{2886BC51-FF92-0B02-D122-DEFAB5D46534}"/>
                      </a:ext>
                    </a:extLst>
                  </p:cNvPr>
                  <p:cNvSpPr/>
                  <p:nvPr userDrawn="1"/>
                </p:nvSpPr>
                <p:spPr>
                  <a:xfrm>
                    <a:off x="8471799" y="452185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CEDF2"/>
                  </a:solidFill>
                  <a:ln w="2339" cap="flat">
                    <a:noFill/>
                    <a:prstDash val="solid"/>
                    <a:miter/>
                  </a:ln>
                </p:spPr>
                <p:txBody>
                  <a:bodyPr rtlCol="0" anchor="ctr"/>
                  <a:lstStyle/>
                  <a:p>
                    <a:endParaRPr lang="en-US"/>
                  </a:p>
                </p:txBody>
              </p:sp>
              <p:sp>
                <p:nvSpPr>
                  <p:cNvPr id="992" name="Freeform: Shape 991">
                    <a:extLst>
                      <a:ext uri="{FF2B5EF4-FFF2-40B4-BE49-F238E27FC236}">
                        <a16:creationId xmlns:a16="http://schemas.microsoft.com/office/drawing/2014/main" id="{B25B9F55-9B06-C838-CB9A-17892D68FF46}"/>
                      </a:ext>
                    </a:extLst>
                  </p:cNvPr>
                  <p:cNvSpPr/>
                  <p:nvPr userDrawn="1"/>
                </p:nvSpPr>
                <p:spPr>
                  <a:xfrm>
                    <a:off x="8472174" y="452224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a:p>
                </p:txBody>
              </p:sp>
              <p:sp>
                <p:nvSpPr>
                  <p:cNvPr id="993" name="Freeform: Shape 992">
                    <a:extLst>
                      <a:ext uri="{FF2B5EF4-FFF2-40B4-BE49-F238E27FC236}">
                        <a16:creationId xmlns:a16="http://schemas.microsoft.com/office/drawing/2014/main" id="{35109DEF-86F2-AA41-C230-F679491A0689}"/>
                      </a:ext>
                    </a:extLst>
                  </p:cNvPr>
                  <p:cNvSpPr/>
                  <p:nvPr userDrawn="1"/>
                </p:nvSpPr>
                <p:spPr>
                  <a:xfrm>
                    <a:off x="8472548" y="452267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CEEF3"/>
                  </a:solidFill>
                  <a:ln w="2339" cap="flat">
                    <a:noFill/>
                    <a:prstDash val="solid"/>
                    <a:miter/>
                  </a:ln>
                </p:spPr>
                <p:txBody>
                  <a:bodyPr rtlCol="0" anchor="ctr"/>
                  <a:lstStyle/>
                  <a:p>
                    <a:endParaRPr lang="en-US"/>
                  </a:p>
                </p:txBody>
              </p:sp>
              <p:sp>
                <p:nvSpPr>
                  <p:cNvPr id="994" name="Freeform: Shape 993">
                    <a:extLst>
                      <a:ext uri="{FF2B5EF4-FFF2-40B4-BE49-F238E27FC236}">
                        <a16:creationId xmlns:a16="http://schemas.microsoft.com/office/drawing/2014/main" id="{C89942E3-5AC6-34DD-1D93-C8669D9CB722}"/>
                      </a:ext>
                    </a:extLst>
                  </p:cNvPr>
                  <p:cNvSpPr/>
                  <p:nvPr userDrawn="1"/>
                </p:nvSpPr>
                <p:spPr>
                  <a:xfrm>
                    <a:off x="8472922" y="4523092"/>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EF3"/>
                  </a:solidFill>
                  <a:ln w="2339" cap="flat">
                    <a:noFill/>
                    <a:prstDash val="solid"/>
                    <a:miter/>
                  </a:ln>
                </p:spPr>
                <p:txBody>
                  <a:bodyPr rtlCol="0" anchor="ctr"/>
                  <a:lstStyle/>
                  <a:p>
                    <a:endParaRPr lang="en-US"/>
                  </a:p>
                </p:txBody>
              </p:sp>
              <p:sp>
                <p:nvSpPr>
                  <p:cNvPr id="995" name="Freeform: Shape 994">
                    <a:extLst>
                      <a:ext uri="{FF2B5EF4-FFF2-40B4-BE49-F238E27FC236}">
                        <a16:creationId xmlns:a16="http://schemas.microsoft.com/office/drawing/2014/main" id="{634A2D78-CD3F-3A46-BF1D-4884AF69780C}"/>
                      </a:ext>
                    </a:extLst>
                  </p:cNvPr>
                  <p:cNvSpPr/>
                  <p:nvPr userDrawn="1"/>
                </p:nvSpPr>
                <p:spPr>
                  <a:xfrm>
                    <a:off x="8473297" y="452351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a:p>
                </p:txBody>
              </p:sp>
              <p:sp>
                <p:nvSpPr>
                  <p:cNvPr id="996" name="Freeform: Shape 995">
                    <a:extLst>
                      <a:ext uri="{FF2B5EF4-FFF2-40B4-BE49-F238E27FC236}">
                        <a16:creationId xmlns:a16="http://schemas.microsoft.com/office/drawing/2014/main" id="{E1E33894-97B6-3440-416F-F7454B5E97DA}"/>
                      </a:ext>
                    </a:extLst>
                  </p:cNvPr>
                  <p:cNvSpPr/>
                  <p:nvPr userDrawn="1"/>
                </p:nvSpPr>
                <p:spPr>
                  <a:xfrm>
                    <a:off x="8473648" y="452393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DEFF3"/>
                  </a:solidFill>
                  <a:ln w="2339" cap="flat">
                    <a:noFill/>
                    <a:prstDash val="solid"/>
                    <a:miter/>
                  </a:ln>
                </p:spPr>
                <p:txBody>
                  <a:bodyPr rtlCol="0" anchor="ctr"/>
                  <a:lstStyle/>
                  <a:p>
                    <a:endParaRPr lang="en-US"/>
                  </a:p>
                </p:txBody>
              </p:sp>
              <p:sp>
                <p:nvSpPr>
                  <p:cNvPr id="997" name="Freeform: Shape 996">
                    <a:extLst>
                      <a:ext uri="{FF2B5EF4-FFF2-40B4-BE49-F238E27FC236}">
                        <a16:creationId xmlns:a16="http://schemas.microsoft.com/office/drawing/2014/main" id="{803E55E5-F89B-90CE-964B-F5ACF39581BB}"/>
                      </a:ext>
                    </a:extLst>
                  </p:cNvPr>
                  <p:cNvSpPr/>
                  <p:nvPr userDrawn="1"/>
                </p:nvSpPr>
                <p:spPr>
                  <a:xfrm>
                    <a:off x="8474022" y="452435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a:p>
                </p:txBody>
              </p:sp>
              <p:sp>
                <p:nvSpPr>
                  <p:cNvPr id="998" name="Freeform: Shape 997">
                    <a:extLst>
                      <a:ext uri="{FF2B5EF4-FFF2-40B4-BE49-F238E27FC236}">
                        <a16:creationId xmlns:a16="http://schemas.microsoft.com/office/drawing/2014/main" id="{7E27262C-2E8D-91D8-90E8-DB59C98FF7EF}"/>
                      </a:ext>
                    </a:extLst>
                  </p:cNvPr>
                  <p:cNvSpPr/>
                  <p:nvPr userDrawn="1"/>
                </p:nvSpPr>
                <p:spPr>
                  <a:xfrm>
                    <a:off x="8474373" y="452477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EEEFF4"/>
                  </a:solidFill>
                  <a:ln w="2339" cap="flat">
                    <a:noFill/>
                    <a:prstDash val="solid"/>
                    <a:miter/>
                  </a:ln>
                </p:spPr>
                <p:txBody>
                  <a:bodyPr rtlCol="0" anchor="ctr"/>
                  <a:lstStyle/>
                  <a:p>
                    <a:endParaRPr lang="en-US"/>
                  </a:p>
                </p:txBody>
              </p:sp>
              <p:sp>
                <p:nvSpPr>
                  <p:cNvPr id="999" name="Freeform: Shape 998">
                    <a:extLst>
                      <a:ext uri="{FF2B5EF4-FFF2-40B4-BE49-F238E27FC236}">
                        <a16:creationId xmlns:a16="http://schemas.microsoft.com/office/drawing/2014/main" id="{53F57D39-7349-A7A4-1E5C-751B39B1FE8C}"/>
                      </a:ext>
                    </a:extLst>
                  </p:cNvPr>
                  <p:cNvSpPr/>
                  <p:nvPr userDrawn="1"/>
                </p:nvSpPr>
                <p:spPr>
                  <a:xfrm>
                    <a:off x="8474701" y="452519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EEF0F4"/>
                  </a:solidFill>
                  <a:ln w="2339" cap="flat">
                    <a:noFill/>
                    <a:prstDash val="solid"/>
                    <a:miter/>
                  </a:ln>
                </p:spPr>
                <p:txBody>
                  <a:bodyPr rtlCol="0" anchor="ctr"/>
                  <a:lstStyle/>
                  <a:p>
                    <a:endParaRPr lang="en-US"/>
                  </a:p>
                </p:txBody>
              </p:sp>
              <p:sp>
                <p:nvSpPr>
                  <p:cNvPr id="1000" name="Freeform: Shape 999">
                    <a:extLst>
                      <a:ext uri="{FF2B5EF4-FFF2-40B4-BE49-F238E27FC236}">
                        <a16:creationId xmlns:a16="http://schemas.microsoft.com/office/drawing/2014/main" id="{AA16B779-32ED-A9DE-8B2A-46C32ABEB7C6}"/>
                      </a:ext>
                    </a:extLst>
                  </p:cNvPr>
                  <p:cNvSpPr/>
                  <p:nvPr userDrawn="1"/>
                </p:nvSpPr>
                <p:spPr>
                  <a:xfrm>
                    <a:off x="8475052" y="452559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EF0F4"/>
                  </a:solidFill>
                  <a:ln w="2339" cap="flat">
                    <a:noFill/>
                    <a:prstDash val="solid"/>
                    <a:miter/>
                  </a:ln>
                </p:spPr>
                <p:txBody>
                  <a:bodyPr rtlCol="0" anchor="ctr"/>
                  <a:lstStyle/>
                  <a:p>
                    <a:endParaRPr lang="en-US"/>
                  </a:p>
                </p:txBody>
              </p:sp>
              <p:sp>
                <p:nvSpPr>
                  <p:cNvPr id="1001" name="Freeform: Shape 1000">
                    <a:extLst>
                      <a:ext uri="{FF2B5EF4-FFF2-40B4-BE49-F238E27FC236}">
                        <a16:creationId xmlns:a16="http://schemas.microsoft.com/office/drawing/2014/main" id="{7A29F437-EB5A-15CF-8FB3-13A9BD486496}"/>
                      </a:ext>
                    </a:extLst>
                  </p:cNvPr>
                  <p:cNvSpPr/>
                  <p:nvPr userDrawn="1"/>
                </p:nvSpPr>
                <p:spPr>
                  <a:xfrm>
                    <a:off x="8475379" y="452601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0F4"/>
                  </a:solidFill>
                  <a:ln w="2339" cap="flat">
                    <a:noFill/>
                    <a:prstDash val="solid"/>
                    <a:miter/>
                  </a:ln>
                </p:spPr>
                <p:txBody>
                  <a:bodyPr rtlCol="0" anchor="ctr"/>
                  <a:lstStyle/>
                  <a:p>
                    <a:endParaRPr lang="en-US"/>
                  </a:p>
                </p:txBody>
              </p:sp>
              <p:sp>
                <p:nvSpPr>
                  <p:cNvPr id="1002" name="Freeform: Shape 1001">
                    <a:extLst>
                      <a:ext uri="{FF2B5EF4-FFF2-40B4-BE49-F238E27FC236}">
                        <a16:creationId xmlns:a16="http://schemas.microsoft.com/office/drawing/2014/main" id="{92322365-5309-A7DC-E89B-F403B3648880}"/>
                      </a:ext>
                    </a:extLst>
                  </p:cNvPr>
                  <p:cNvSpPr/>
                  <p:nvPr userDrawn="1"/>
                </p:nvSpPr>
                <p:spPr>
                  <a:xfrm>
                    <a:off x="8475707" y="4526438"/>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23"/>
                          <a:pt x="0" y="9430"/>
                          <a:pt x="0" y="21060"/>
                        </a:cubicBezTo>
                        <a:close/>
                      </a:path>
                    </a:pathLst>
                  </a:custGeom>
                  <a:solidFill>
                    <a:srgbClr val="EFF1F5"/>
                  </a:solidFill>
                  <a:ln w="2339" cap="flat">
                    <a:noFill/>
                    <a:prstDash val="solid"/>
                    <a:miter/>
                  </a:ln>
                </p:spPr>
                <p:txBody>
                  <a:bodyPr rtlCol="0" anchor="ctr"/>
                  <a:lstStyle/>
                  <a:p>
                    <a:endParaRPr lang="en-US"/>
                  </a:p>
                </p:txBody>
              </p:sp>
              <p:sp>
                <p:nvSpPr>
                  <p:cNvPr id="1003" name="Freeform: Shape 1002">
                    <a:extLst>
                      <a:ext uri="{FF2B5EF4-FFF2-40B4-BE49-F238E27FC236}">
                        <a16:creationId xmlns:a16="http://schemas.microsoft.com/office/drawing/2014/main" id="{0C655C0F-222C-D52A-41C1-1540C8A72EDD}"/>
                      </a:ext>
                    </a:extLst>
                  </p:cNvPr>
                  <p:cNvSpPr/>
                  <p:nvPr userDrawn="1"/>
                </p:nvSpPr>
                <p:spPr>
                  <a:xfrm>
                    <a:off x="8476035" y="452685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23"/>
                          <a:pt x="0" y="9430"/>
                          <a:pt x="0" y="21060"/>
                        </a:cubicBezTo>
                        <a:close/>
                      </a:path>
                    </a:pathLst>
                  </a:custGeom>
                  <a:solidFill>
                    <a:srgbClr val="EFF1F5"/>
                  </a:solidFill>
                  <a:ln w="2339" cap="flat">
                    <a:noFill/>
                    <a:prstDash val="solid"/>
                    <a:miter/>
                  </a:ln>
                </p:spPr>
                <p:txBody>
                  <a:bodyPr rtlCol="0" anchor="ctr"/>
                  <a:lstStyle/>
                  <a:p>
                    <a:endParaRPr lang="en-US"/>
                  </a:p>
                </p:txBody>
              </p:sp>
              <p:sp>
                <p:nvSpPr>
                  <p:cNvPr id="1004" name="Freeform: Shape 1003">
                    <a:extLst>
                      <a:ext uri="{FF2B5EF4-FFF2-40B4-BE49-F238E27FC236}">
                        <a16:creationId xmlns:a16="http://schemas.microsoft.com/office/drawing/2014/main" id="{73E2AC4E-B076-4E38-9D81-2843595494A9}"/>
                      </a:ext>
                    </a:extLst>
                  </p:cNvPr>
                  <p:cNvSpPr/>
                  <p:nvPr userDrawn="1"/>
                </p:nvSpPr>
                <p:spPr>
                  <a:xfrm>
                    <a:off x="8476339" y="452728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0F1F5"/>
                  </a:solidFill>
                  <a:ln w="2339" cap="flat">
                    <a:noFill/>
                    <a:prstDash val="solid"/>
                    <a:miter/>
                  </a:ln>
                </p:spPr>
                <p:txBody>
                  <a:bodyPr rtlCol="0" anchor="ctr"/>
                  <a:lstStyle/>
                  <a:p>
                    <a:endParaRPr lang="en-US"/>
                  </a:p>
                </p:txBody>
              </p:sp>
              <p:sp>
                <p:nvSpPr>
                  <p:cNvPr id="1005" name="Freeform: Shape 1004">
                    <a:extLst>
                      <a:ext uri="{FF2B5EF4-FFF2-40B4-BE49-F238E27FC236}">
                        <a16:creationId xmlns:a16="http://schemas.microsoft.com/office/drawing/2014/main" id="{F1890255-DC8D-7460-94AD-41DE0CE085C8}"/>
                      </a:ext>
                    </a:extLst>
                  </p:cNvPr>
                  <p:cNvSpPr/>
                  <p:nvPr userDrawn="1"/>
                </p:nvSpPr>
                <p:spPr>
                  <a:xfrm>
                    <a:off x="8476666" y="452770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1F5"/>
                  </a:solidFill>
                  <a:ln w="2339" cap="flat">
                    <a:noFill/>
                    <a:prstDash val="solid"/>
                    <a:miter/>
                  </a:ln>
                </p:spPr>
                <p:txBody>
                  <a:bodyPr rtlCol="0" anchor="ctr"/>
                  <a:lstStyle/>
                  <a:p>
                    <a:endParaRPr lang="en-US"/>
                  </a:p>
                </p:txBody>
              </p:sp>
              <p:sp>
                <p:nvSpPr>
                  <p:cNvPr id="1006" name="Freeform: Shape 1005">
                    <a:extLst>
                      <a:ext uri="{FF2B5EF4-FFF2-40B4-BE49-F238E27FC236}">
                        <a16:creationId xmlns:a16="http://schemas.microsoft.com/office/drawing/2014/main" id="{2256BA44-AE40-6A5E-675E-3A3E6DD48869}"/>
                      </a:ext>
                    </a:extLst>
                  </p:cNvPr>
                  <p:cNvSpPr/>
                  <p:nvPr userDrawn="1"/>
                </p:nvSpPr>
                <p:spPr>
                  <a:xfrm>
                    <a:off x="8476971" y="4528123"/>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0F2F5"/>
                  </a:solidFill>
                  <a:ln w="2339" cap="flat">
                    <a:noFill/>
                    <a:prstDash val="solid"/>
                    <a:miter/>
                  </a:ln>
                </p:spPr>
                <p:txBody>
                  <a:bodyPr rtlCol="0" anchor="ctr"/>
                  <a:lstStyle/>
                  <a:p>
                    <a:endParaRPr lang="en-US"/>
                  </a:p>
                </p:txBody>
              </p:sp>
              <p:sp>
                <p:nvSpPr>
                  <p:cNvPr id="1007" name="Freeform: Shape 1006">
                    <a:extLst>
                      <a:ext uri="{FF2B5EF4-FFF2-40B4-BE49-F238E27FC236}">
                        <a16:creationId xmlns:a16="http://schemas.microsoft.com/office/drawing/2014/main" id="{5968CD59-FAA6-1FE8-11EF-F0F31657996A}"/>
                      </a:ext>
                    </a:extLst>
                  </p:cNvPr>
                  <p:cNvSpPr/>
                  <p:nvPr userDrawn="1"/>
                </p:nvSpPr>
                <p:spPr>
                  <a:xfrm>
                    <a:off x="8477275" y="4528544"/>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a:p>
                </p:txBody>
              </p:sp>
              <p:sp>
                <p:nvSpPr>
                  <p:cNvPr id="1008" name="Freeform: Shape 1007">
                    <a:extLst>
                      <a:ext uri="{FF2B5EF4-FFF2-40B4-BE49-F238E27FC236}">
                        <a16:creationId xmlns:a16="http://schemas.microsoft.com/office/drawing/2014/main" id="{1E7B1AF8-FC56-A9DB-50E1-D8667CCBE15F}"/>
                      </a:ext>
                    </a:extLst>
                  </p:cNvPr>
                  <p:cNvSpPr/>
                  <p:nvPr userDrawn="1"/>
                </p:nvSpPr>
                <p:spPr>
                  <a:xfrm>
                    <a:off x="8477556" y="4528965"/>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1F2F6"/>
                  </a:solidFill>
                  <a:ln w="2339" cap="flat">
                    <a:noFill/>
                    <a:prstDash val="solid"/>
                    <a:miter/>
                  </a:ln>
                </p:spPr>
                <p:txBody>
                  <a:bodyPr rtlCol="0" anchor="ctr"/>
                  <a:lstStyle/>
                  <a:p>
                    <a:endParaRPr lang="en-US"/>
                  </a:p>
                </p:txBody>
              </p:sp>
              <p:sp>
                <p:nvSpPr>
                  <p:cNvPr id="1009" name="Freeform: Shape 1008">
                    <a:extLst>
                      <a:ext uri="{FF2B5EF4-FFF2-40B4-BE49-F238E27FC236}">
                        <a16:creationId xmlns:a16="http://schemas.microsoft.com/office/drawing/2014/main" id="{C0090264-C4BE-21EB-EBF9-746FC103490D}"/>
                      </a:ext>
                    </a:extLst>
                  </p:cNvPr>
                  <p:cNvSpPr/>
                  <p:nvPr userDrawn="1"/>
                </p:nvSpPr>
                <p:spPr>
                  <a:xfrm>
                    <a:off x="8477860" y="4529386"/>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1F2F6"/>
                  </a:solidFill>
                  <a:ln w="2339" cap="flat">
                    <a:noFill/>
                    <a:prstDash val="solid"/>
                    <a:miter/>
                  </a:ln>
                </p:spPr>
                <p:txBody>
                  <a:bodyPr rtlCol="0" anchor="ctr"/>
                  <a:lstStyle/>
                  <a:p>
                    <a:endParaRPr lang="en-US"/>
                  </a:p>
                </p:txBody>
              </p:sp>
              <p:sp>
                <p:nvSpPr>
                  <p:cNvPr id="1010" name="Freeform: Shape 1009">
                    <a:extLst>
                      <a:ext uri="{FF2B5EF4-FFF2-40B4-BE49-F238E27FC236}">
                        <a16:creationId xmlns:a16="http://schemas.microsoft.com/office/drawing/2014/main" id="{4F1E0506-AAF3-BCBD-9560-2AF29F593D61}"/>
                      </a:ext>
                    </a:extLst>
                  </p:cNvPr>
                  <p:cNvSpPr/>
                  <p:nvPr userDrawn="1"/>
                </p:nvSpPr>
                <p:spPr>
                  <a:xfrm>
                    <a:off x="8478141" y="4529807"/>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a:p>
                </p:txBody>
              </p:sp>
              <p:sp>
                <p:nvSpPr>
                  <p:cNvPr id="1011" name="Freeform: Shape 1010">
                    <a:extLst>
                      <a:ext uri="{FF2B5EF4-FFF2-40B4-BE49-F238E27FC236}">
                        <a16:creationId xmlns:a16="http://schemas.microsoft.com/office/drawing/2014/main" id="{6057AD43-8685-C74F-41D8-B3220356975B}"/>
                      </a:ext>
                    </a:extLst>
                  </p:cNvPr>
                  <p:cNvSpPr/>
                  <p:nvPr userDrawn="1"/>
                </p:nvSpPr>
                <p:spPr>
                  <a:xfrm>
                    <a:off x="8478421" y="4530229"/>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6"/>
                  </a:solidFill>
                  <a:ln w="2339" cap="flat">
                    <a:noFill/>
                    <a:prstDash val="solid"/>
                    <a:miter/>
                  </a:ln>
                </p:spPr>
                <p:txBody>
                  <a:bodyPr rtlCol="0" anchor="ctr"/>
                  <a:lstStyle/>
                  <a:p>
                    <a:endParaRPr lang="en-US"/>
                  </a:p>
                </p:txBody>
              </p:sp>
              <p:sp>
                <p:nvSpPr>
                  <p:cNvPr id="1012" name="Freeform: Shape 1011">
                    <a:extLst>
                      <a:ext uri="{FF2B5EF4-FFF2-40B4-BE49-F238E27FC236}">
                        <a16:creationId xmlns:a16="http://schemas.microsoft.com/office/drawing/2014/main" id="{2F3AAF76-6B02-9D46-A2C5-26F115151E6D}"/>
                      </a:ext>
                    </a:extLst>
                  </p:cNvPr>
                  <p:cNvSpPr/>
                  <p:nvPr userDrawn="1"/>
                </p:nvSpPr>
                <p:spPr>
                  <a:xfrm>
                    <a:off x="8478702" y="4530650"/>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07" y="0"/>
                          <a:pt x="0" y="9430"/>
                          <a:pt x="0" y="21060"/>
                        </a:cubicBezTo>
                        <a:close/>
                      </a:path>
                    </a:pathLst>
                  </a:custGeom>
                  <a:solidFill>
                    <a:srgbClr val="F2F3F7"/>
                  </a:solidFill>
                  <a:ln w="2339" cap="flat">
                    <a:noFill/>
                    <a:prstDash val="solid"/>
                    <a:miter/>
                  </a:ln>
                </p:spPr>
                <p:txBody>
                  <a:bodyPr rtlCol="0" anchor="ctr"/>
                  <a:lstStyle/>
                  <a:p>
                    <a:endParaRPr lang="en-US"/>
                  </a:p>
                </p:txBody>
              </p:sp>
              <p:sp>
                <p:nvSpPr>
                  <p:cNvPr id="1013" name="Freeform: Shape 1012">
                    <a:extLst>
                      <a:ext uri="{FF2B5EF4-FFF2-40B4-BE49-F238E27FC236}">
                        <a16:creationId xmlns:a16="http://schemas.microsoft.com/office/drawing/2014/main" id="{CFB38B00-BCEF-8FE3-391E-B8B8B8518E01}"/>
                      </a:ext>
                    </a:extLst>
                  </p:cNvPr>
                  <p:cNvSpPr/>
                  <p:nvPr userDrawn="1"/>
                </p:nvSpPr>
                <p:spPr>
                  <a:xfrm>
                    <a:off x="8478960" y="4531071"/>
                    <a:ext cx="42096" cy="42096"/>
                  </a:xfrm>
                  <a:custGeom>
                    <a:avLst/>
                    <a:gdLst>
                      <a:gd name="connsiteX0" fmla="*/ 0 w 42096"/>
                      <a:gd name="connsiteY0" fmla="*/ 21060 h 42096"/>
                      <a:gd name="connsiteX1" fmla="*/ 21037 w 42096"/>
                      <a:gd name="connsiteY1" fmla="*/ 42097 h 42096"/>
                      <a:gd name="connsiteX2" fmla="*/ 42097 w 42096"/>
                      <a:gd name="connsiteY2" fmla="*/ 21060 h 42096"/>
                      <a:gd name="connsiteX3" fmla="*/ 21037 w 42096"/>
                      <a:gd name="connsiteY3" fmla="*/ 0 h 42096"/>
                      <a:gd name="connsiteX4" fmla="*/ 0 w 42096"/>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6" h="42096">
                        <a:moveTo>
                          <a:pt x="0" y="21060"/>
                        </a:moveTo>
                        <a:cubicBezTo>
                          <a:pt x="0" y="32667"/>
                          <a:pt x="9430" y="42097"/>
                          <a:pt x="21037" y="42097"/>
                        </a:cubicBezTo>
                        <a:cubicBezTo>
                          <a:pt x="32667" y="42097"/>
                          <a:pt x="42097" y="32667"/>
                          <a:pt x="42097" y="21060"/>
                        </a:cubicBezTo>
                        <a:cubicBezTo>
                          <a:pt x="42097" y="9430"/>
                          <a:pt x="32667" y="0"/>
                          <a:pt x="21037" y="0"/>
                        </a:cubicBezTo>
                        <a:cubicBezTo>
                          <a:pt x="9430" y="0"/>
                          <a:pt x="0" y="9430"/>
                          <a:pt x="0" y="21060"/>
                        </a:cubicBezTo>
                        <a:close/>
                      </a:path>
                    </a:pathLst>
                  </a:custGeom>
                  <a:solidFill>
                    <a:srgbClr val="F2F4F7"/>
                  </a:solidFill>
                  <a:ln w="2339" cap="flat">
                    <a:noFill/>
                    <a:prstDash val="solid"/>
                    <a:miter/>
                  </a:ln>
                </p:spPr>
                <p:txBody>
                  <a:bodyPr rtlCol="0" anchor="ctr"/>
                  <a:lstStyle/>
                  <a:p>
                    <a:endParaRPr lang="en-US"/>
                  </a:p>
                </p:txBody>
              </p:sp>
              <p:sp>
                <p:nvSpPr>
                  <p:cNvPr id="1014" name="Freeform: Shape 1013">
                    <a:extLst>
                      <a:ext uri="{FF2B5EF4-FFF2-40B4-BE49-F238E27FC236}">
                        <a16:creationId xmlns:a16="http://schemas.microsoft.com/office/drawing/2014/main" id="{E7DC4977-8064-2143-9139-379073655D97}"/>
                      </a:ext>
                    </a:extLst>
                  </p:cNvPr>
                  <p:cNvSpPr/>
                  <p:nvPr userDrawn="1"/>
                </p:nvSpPr>
                <p:spPr>
                  <a:xfrm>
                    <a:off x="8479217" y="4531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a:p>
                </p:txBody>
              </p:sp>
              <p:sp>
                <p:nvSpPr>
                  <p:cNvPr id="1015" name="Freeform: Shape 1014">
                    <a:extLst>
                      <a:ext uri="{FF2B5EF4-FFF2-40B4-BE49-F238E27FC236}">
                        <a16:creationId xmlns:a16="http://schemas.microsoft.com/office/drawing/2014/main" id="{7AF0A378-4BC2-8BDB-14F1-053301CD81CB}"/>
                      </a:ext>
                    </a:extLst>
                  </p:cNvPr>
                  <p:cNvSpPr/>
                  <p:nvPr userDrawn="1"/>
                </p:nvSpPr>
                <p:spPr>
                  <a:xfrm>
                    <a:off x="8479474" y="453191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a:p>
                </p:txBody>
              </p:sp>
              <p:sp>
                <p:nvSpPr>
                  <p:cNvPr id="1016" name="Freeform: Shape 1015">
                    <a:extLst>
                      <a:ext uri="{FF2B5EF4-FFF2-40B4-BE49-F238E27FC236}">
                        <a16:creationId xmlns:a16="http://schemas.microsoft.com/office/drawing/2014/main" id="{72602993-EC55-7CFB-4E76-644CE5DC820F}"/>
                      </a:ext>
                    </a:extLst>
                  </p:cNvPr>
                  <p:cNvSpPr/>
                  <p:nvPr userDrawn="1"/>
                </p:nvSpPr>
                <p:spPr>
                  <a:xfrm>
                    <a:off x="8479732" y="45323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3F4F7"/>
                  </a:solidFill>
                  <a:ln w="2339" cap="flat">
                    <a:noFill/>
                    <a:prstDash val="solid"/>
                    <a:miter/>
                  </a:ln>
                </p:spPr>
                <p:txBody>
                  <a:bodyPr rtlCol="0" anchor="ctr"/>
                  <a:lstStyle/>
                  <a:p>
                    <a:endParaRPr lang="en-US"/>
                  </a:p>
                </p:txBody>
              </p:sp>
              <p:sp>
                <p:nvSpPr>
                  <p:cNvPr id="1017" name="Freeform: Shape 1016">
                    <a:extLst>
                      <a:ext uri="{FF2B5EF4-FFF2-40B4-BE49-F238E27FC236}">
                        <a16:creationId xmlns:a16="http://schemas.microsoft.com/office/drawing/2014/main" id="{EEB2AE66-7618-7591-E673-CFFEAFC5A600}"/>
                      </a:ext>
                    </a:extLst>
                  </p:cNvPr>
                  <p:cNvSpPr/>
                  <p:nvPr userDrawn="1"/>
                </p:nvSpPr>
                <p:spPr>
                  <a:xfrm>
                    <a:off x="8479989" y="453275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a:p>
                </p:txBody>
              </p:sp>
              <p:sp>
                <p:nvSpPr>
                  <p:cNvPr id="1018" name="Freeform: Shape 1017">
                    <a:extLst>
                      <a:ext uri="{FF2B5EF4-FFF2-40B4-BE49-F238E27FC236}">
                        <a16:creationId xmlns:a16="http://schemas.microsoft.com/office/drawing/2014/main" id="{E1173CD6-EB15-2B3D-1B7E-0C65EC195965}"/>
                      </a:ext>
                    </a:extLst>
                  </p:cNvPr>
                  <p:cNvSpPr/>
                  <p:nvPr userDrawn="1"/>
                </p:nvSpPr>
                <p:spPr>
                  <a:xfrm>
                    <a:off x="8480223" y="453317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4F5F8"/>
                  </a:solidFill>
                  <a:ln w="2339" cap="flat">
                    <a:noFill/>
                    <a:prstDash val="solid"/>
                    <a:miter/>
                  </a:ln>
                </p:spPr>
                <p:txBody>
                  <a:bodyPr rtlCol="0" anchor="ctr"/>
                  <a:lstStyle/>
                  <a:p>
                    <a:endParaRPr lang="en-US"/>
                  </a:p>
                </p:txBody>
              </p:sp>
              <p:sp>
                <p:nvSpPr>
                  <p:cNvPr id="1019" name="Freeform: Shape 1018">
                    <a:extLst>
                      <a:ext uri="{FF2B5EF4-FFF2-40B4-BE49-F238E27FC236}">
                        <a16:creationId xmlns:a16="http://schemas.microsoft.com/office/drawing/2014/main" id="{4898CB1A-85E0-02C4-DC08-53801CB9AF47}"/>
                      </a:ext>
                    </a:extLst>
                  </p:cNvPr>
                  <p:cNvSpPr/>
                  <p:nvPr userDrawn="1"/>
                </p:nvSpPr>
                <p:spPr>
                  <a:xfrm>
                    <a:off x="8480457" y="453359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4F5F8"/>
                  </a:solidFill>
                  <a:ln w="2339" cap="flat">
                    <a:noFill/>
                    <a:prstDash val="solid"/>
                    <a:miter/>
                  </a:ln>
                </p:spPr>
                <p:txBody>
                  <a:bodyPr rtlCol="0" anchor="ctr"/>
                  <a:lstStyle/>
                  <a:p>
                    <a:endParaRPr lang="en-US"/>
                  </a:p>
                </p:txBody>
              </p:sp>
              <p:sp>
                <p:nvSpPr>
                  <p:cNvPr id="1020" name="Freeform: Shape 1019">
                    <a:extLst>
                      <a:ext uri="{FF2B5EF4-FFF2-40B4-BE49-F238E27FC236}">
                        <a16:creationId xmlns:a16="http://schemas.microsoft.com/office/drawing/2014/main" id="{2D9B47B5-7339-96C1-60A1-F06FEF40AC8C}"/>
                      </a:ext>
                    </a:extLst>
                  </p:cNvPr>
                  <p:cNvSpPr/>
                  <p:nvPr userDrawn="1"/>
                </p:nvSpPr>
                <p:spPr>
                  <a:xfrm>
                    <a:off x="8480691" y="453401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5F6F8"/>
                  </a:solidFill>
                  <a:ln w="2339" cap="flat">
                    <a:noFill/>
                    <a:prstDash val="solid"/>
                    <a:miter/>
                  </a:ln>
                </p:spPr>
                <p:txBody>
                  <a:bodyPr rtlCol="0" anchor="ctr"/>
                  <a:lstStyle/>
                  <a:p>
                    <a:endParaRPr lang="en-US"/>
                  </a:p>
                </p:txBody>
              </p:sp>
              <p:sp>
                <p:nvSpPr>
                  <p:cNvPr id="1021" name="Freeform: Shape 1020">
                    <a:extLst>
                      <a:ext uri="{FF2B5EF4-FFF2-40B4-BE49-F238E27FC236}">
                        <a16:creationId xmlns:a16="http://schemas.microsoft.com/office/drawing/2014/main" id="{0C835746-A124-B3B1-05B2-186ABDAEFBE9}"/>
                      </a:ext>
                    </a:extLst>
                  </p:cNvPr>
                  <p:cNvSpPr/>
                  <p:nvPr userDrawn="1"/>
                </p:nvSpPr>
                <p:spPr>
                  <a:xfrm>
                    <a:off x="8480902" y="453444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5F6F8"/>
                  </a:solidFill>
                  <a:ln w="2339" cap="flat">
                    <a:noFill/>
                    <a:prstDash val="solid"/>
                    <a:miter/>
                  </a:ln>
                </p:spPr>
                <p:txBody>
                  <a:bodyPr rtlCol="0" anchor="ctr"/>
                  <a:lstStyle/>
                  <a:p>
                    <a:endParaRPr lang="en-US"/>
                  </a:p>
                </p:txBody>
              </p:sp>
              <p:sp>
                <p:nvSpPr>
                  <p:cNvPr id="1022" name="Freeform: Shape 1021">
                    <a:extLst>
                      <a:ext uri="{FF2B5EF4-FFF2-40B4-BE49-F238E27FC236}">
                        <a16:creationId xmlns:a16="http://schemas.microsoft.com/office/drawing/2014/main" id="{857F14D6-564C-10B6-63CF-27EB6EF188EC}"/>
                      </a:ext>
                    </a:extLst>
                  </p:cNvPr>
                  <p:cNvSpPr/>
                  <p:nvPr userDrawn="1"/>
                </p:nvSpPr>
                <p:spPr>
                  <a:xfrm>
                    <a:off x="8481136" y="453483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5F6F9"/>
                  </a:solidFill>
                  <a:ln w="2339" cap="flat">
                    <a:noFill/>
                    <a:prstDash val="solid"/>
                    <a:miter/>
                  </a:ln>
                </p:spPr>
                <p:txBody>
                  <a:bodyPr rtlCol="0" anchor="ctr"/>
                  <a:lstStyle/>
                  <a:p>
                    <a:endParaRPr lang="en-US"/>
                  </a:p>
                </p:txBody>
              </p:sp>
              <p:sp>
                <p:nvSpPr>
                  <p:cNvPr id="1023" name="Freeform: Shape 1022">
                    <a:extLst>
                      <a:ext uri="{FF2B5EF4-FFF2-40B4-BE49-F238E27FC236}">
                        <a16:creationId xmlns:a16="http://schemas.microsoft.com/office/drawing/2014/main" id="{BFE0AB98-13F2-81DA-2AE7-9EC47A630D85}"/>
                      </a:ext>
                    </a:extLst>
                  </p:cNvPr>
                  <p:cNvSpPr/>
                  <p:nvPr userDrawn="1"/>
                </p:nvSpPr>
                <p:spPr>
                  <a:xfrm>
                    <a:off x="8481346" y="453526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6F9"/>
                  </a:solidFill>
                  <a:ln w="2339" cap="flat">
                    <a:noFill/>
                    <a:prstDash val="solid"/>
                    <a:miter/>
                  </a:ln>
                </p:spPr>
                <p:txBody>
                  <a:bodyPr rtlCol="0" anchor="ctr"/>
                  <a:lstStyle/>
                  <a:p>
                    <a:endParaRPr lang="en-US"/>
                  </a:p>
                </p:txBody>
              </p:sp>
              <p:sp>
                <p:nvSpPr>
                  <p:cNvPr id="1024" name="Freeform: Shape 1023">
                    <a:extLst>
                      <a:ext uri="{FF2B5EF4-FFF2-40B4-BE49-F238E27FC236}">
                        <a16:creationId xmlns:a16="http://schemas.microsoft.com/office/drawing/2014/main" id="{661816D2-B696-F254-6EB3-3E5D1CBAF8D6}"/>
                      </a:ext>
                    </a:extLst>
                  </p:cNvPr>
                  <p:cNvSpPr/>
                  <p:nvPr userDrawn="1"/>
                </p:nvSpPr>
                <p:spPr>
                  <a:xfrm>
                    <a:off x="8481557" y="453568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6F7F9"/>
                  </a:solidFill>
                  <a:ln w="2339" cap="flat">
                    <a:noFill/>
                    <a:prstDash val="solid"/>
                    <a:miter/>
                  </a:ln>
                </p:spPr>
                <p:txBody>
                  <a:bodyPr rtlCol="0" anchor="ctr"/>
                  <a:lstStyle/>
                  <a:p>
                    <a:endParaRPr lang="en-US"/>
                  </a:p>
                </p:txBody>
              </p:sp>
              <p:sp>
                <p:nvSpPr>
                  <p:cNvPr id="1025" name="Freeform: Shape 1024">
                    <a:extLst>
                      <a:ext uri="{FF2B5EF4-FFF2-40B4-BE49-F238E27FC236}">
                        <a16:creationId xmlns:a16="http://schemas.microsoft.com/office/drawing/2014/main" id="{A23F73A4-F485-08C3-CD4C-792BC0540931}"/>
                      </a:ext>
                    </a:extLst>
                  </p:cNvPr>
                  <p:cNvSpPr/>
                  <p:nvPr userDrawn="1"/>
                </p:nvSpPr>
                <p:spPr>
                  <a:xfrm>
                    <a:off x="8481744" y="453610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6F7F9"/>
                  </a:solidFill>
                  <a:ln w="2339" cap="flat">
                    <a:noFill/>
                    <a:prstDash val="solid"/>
                    <a:miter/>
                  </a:ln>
                </p:spPr>
                <p:txBody>
                  <a:bodyPr rtlCol="0" anchor="ctr"/>
                  <a:lstStyle/>
                  <a:p>
                    <a:endParaRPr lang="en-US"/>
                  </a:p>
                </p:txBody>
              </p:sp>
              <p:sp>
                <p:nvSpPr>
                  <p:cNvPr id="1026" name="Freeform: Shape 1025">
                    <a:extLst>
                      <a:ext uri="{FF2B5EF4-FFF2-40B4-BE49-F238E27FC236}">
                        <a16:creationId xmlns:a16="http://schemas.microsoft.com/office/drawing/2014/main" id="{0B9E6B97-01A7-2216-977B-8FCA488FD4A7}"/>
                      </a:ext>
                    </a:extLst>
                  </p:cNvPr>
                  <p:cNvSpPr/>
                  <p:nvPr userDrawn="1"/>
                </p:nvSpPr>
                <p:spPr>
                  <a:xfrm>
                    <a:off x="8481955" y="453652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6F7F9"/>
                  </a:solidFill>
                  <a:ln w="2339" cap="flat">
                    <a:noFill/>
                    <a:prstDash val="solid"/>
                    <a:miter/>
                  </a:ln>
                </p:spPr>
                <p:txBody>
                  <a:bodyPr rtlCol="0" anchor="ctr"/>
                  <a:lstStyle/>
                  <a:p>
                    <a:endParaRPr lang="en-US"/>
                  </a:p>
                </p:txBody>
              </p:sp>
              <p:sp>
                <p:nvSpPr>
                  <p:cNvPr id="1027" name="Freeform: Shape 1026">
                    <a:extLst>
                      <a:ext uri="{FF2B5EF4-FFF2-40B4-BE49-F238E27FC236}">
                        <a16:creationId xmlns:a16="http://schemas.microsoft.com/office/drawing/2014/main" id="{114A18D3-6D63-1B46-5F3D-01BCB11A10BB}"/>
                      </a:ext>
                    </a:extLst>
                  </p:cNvPr>
                  <p:cNvSpPr/>
                  <p:nvPr userDrawn="1"/>
                </p:nvSpPr>
                <p:spPr>
                  <a:xfrm>
                    <a:off x="8482142" y="453694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7FA"/>
                  </a:solidFill>
                  <a:ln w="2339" cap="flat">
                    <a:noFill/>
                    <a:prstDash val="solid"/>
                    <a:miter/>
                  </a:ln>
                </p:spPr>
                <p:txBody>
                  <a:bodyPr rtlCol="0" anchor="ctr"/>
                  <a:lstStyle/>
                  <a:p>
                    <a:endParaRPr lang="en-US"/>
                  </a:p>
                </p:txBody>
              </p:sp>
              <p:sp>
                <p:nvSpPr>
                  <p:cNvPr id="1028" name="Freeform: Shape 1027">
                    <a:extLst>
                      <a:ext uri="{FF2B5EF4-FFF2-40B4-BE49-F238E27FC236}">
                        <a16:creationId xmlns:a16="http://schemas.microsoft.com/office/drawing/2014/main" id="{1C73F6A0-7956-8131-41D9-4C2ED220BE70}"/>
                      </a:ext>
                    </a:extLst>
                  </p:cNvPr>
                  <p:cNvSpPr/>
                  <p:nvPr userDrawn="1"/>
                </p:nvSpPr>
                <p:spPr>
                  <a:xfrm>
                    <a:off x="8482329" y="4537366"/>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a:p>
                </p:txBody>
              </p:sp>
              <p:sp>
                <p:nvSpPr>
                  <p:cNvPr id="1029" name="Freeform: Shape 1028">
                    <a:extLst>
                      <a:ext uri="{FF2B5EF4-FFF2-40B4-BE49-F238E27FC236}">
                        <a16:creationId xmlns:a16="http://schemas.microsoft.com/office/drawing/2014/main" id="{E4A2461B-D698-3885-6B9E-BC4749561A75}"/>
                      </a:ext>
                    </a:extLst>
                  </p:cNvPr>
                  <p:cNvSpPr/>
                  <p:nvPr userDrawn="1"/>
                </p:nvSpPr>
                <p:spPr>
                  <a:xfrm>
                    <a:off x="8482517" y="453778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7F8FA"/>
                  </a:solidFill>
                  <a:ln w="2339" cap="flat">
                    <a:noFill/>
                    <a:prstDash val="solid"/>
                    <a:miter/>
                  </a:ln>
                </p:spPr>
                <p:txBody>
                  <a:bodyPr rtlCol="0" anchor="ctr"/>
                  <a:lstStyle/>
                  <a:p>
                    <a:endParaRPr lang="en-US"/>
                  </a:p>
                </p:txBody>
              </p:sp>
              <p:sp>
                <p:nvSpPr>
                  <p:cNvPr id="1030" name="Freeform: Shape 1029">
                    <a:extLst>
                      <a:ext uri="{FF2B5EF4-FFF2-40B4-BE49-F238E27FC236}">
                        <a16:creationId xmlns:a16="http://schemas.microsoft.com/office/drawing/2014/main" id="{8A095D17-AE24-6842-E04B-12118DF94519}"/>
                      </a:ext>
                    </a:extLst>
                  </p:cNvPr>
                  <p:cNvSpPr/>
                  <p:nvPr userDrawn="1"/>
                </p:nvSpPr>
                <p:spPr>
                  <a:xfrm>
                    <a:off x="8482680" y="453820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8FA"/>
                  </a:solidFill>
                  <a:ln w="2339" cap="flat">
                    <a:noFill/>
                    <a:prstDash val="solid"/>
                    <a:miter/>
                  </a:ln>
                </p:spPr>
                <p:txBody>
                  <a:bodyPr rtlCol="0" anchor="ctr"/>
                  <a:lstStyle/>
                  <a:p>
                    <a:endParaRPr lang="en-US"/>
                  </a:p>
                </p:txBody>
              </p:sp>
              <p:sp>
                <p:nvSpPr>
                  <p:cNvPr id="1031" name="Freeform: Shape 1030">
                    <a:extLst>
                      <a:ext uri="{FF2B5EF4-FFF2-40B4-BE49-F238E27FC236}">
                        <a16:creationId xmlns:a16="http://schemas.microsoft.com/office/drawing/2014/main" id="{B2DBE679-E07C-7E35-B3E0-15B48BD9E91D}"/>
                      </a:ext>
                    </a:extLst>
                  </p:cNvPr>
                  <p:cNvSpPr/>
                  <p:nvPr userDrawn="1"/>
                </p:nvSpPr>
                <p:spPr>
                  <a:xfrm>
                    <a:off x="8482844" y="453862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8F9FA"/>
                  </a:solidFill>
                  <a:ln w="2339" cap="flat">
                    <a:noFill/>
                    <a:prstDash val="solid"/>
                    <a:miter/>
                  </a:ln>
                </p:spPr>
                <p:txBody>
                  <a:bodyPr rtlCol="0" anchor="ctr"/>
                  <a:lstStyle/>
                  <a:p>
                    <a:endParaRPr lang="en-US"/>
                  </a:p>
                </p:txBody>
              </p:sp>
              <p:sp>
                <p:nvSpPr>
                  <p:cNvPr id="1032" name="Freeform: Shape 1031">
                    <a:extLst>
                      <a:ext uri="{FF2B5EF4-FFF2-40B4-BE49-F238E27FC236}">
                        <a16:creationId xmlns:a16="http://schemas.microsoft.com/office/drawing/2014/main" id="{132C602C-93FC-6E37-BEC3-EB062250DA97}"/>
                      </a:ext>
                    </a:extLst>
                  </p:cNvPr>
                  <p:cNvSpPr/>
                  <p:nvPr userDrawn="1"/>
                </p:nvSpPr>
                <p:spPr>
                  <a:xfrm>
                    <a:off x="8483008" y="4539027"/>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8F9FB"/>
                  </a:solidFill>
                  <a:ln w="2339" cap="flat">
                    <a:noFill/>
                    <a:prstDash val="solid"/>
                    <a:miter/>
                  </a:ln>
                </p:spPr>
                <p:txBody>
                  <a:bodyPr rtlCol="0" anchor="ctr"/>
                  <a:lstStyle/>
                  <a:p>
                    <a:endParaRPr lang="en-US"/>
                  </a:p>
                </p:txBody>
              </p:sp>
              <p:sp>
                <p:nvSpPr>
                  <p:cNvPr id="1033" name="Freeform: Shape 1032">
                    <a:extLst>
                      <a:ext uri="{FF2B5EF4-FFF2-40B4-BE49-F238E27FC236}">
                        <a16:creationId xmlns:a16="http://schemas.microsoft.com/office/drawing/2014/main" id="{A6C0DE49-C3BF-2ED7-5D3F-0E428B00B3EC}"/>
                      </a:ext>
                    </a:extLst>
                  </p:cNvPr>
                  <p:cNvSpPr/>
                  <p:nvPr userDrawn="1"/>
                </p:nvSpPr>
                <p:spPr>
                  <a:xfrm>
                    <a:off x="8483172" y="4539448"/>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9F9FB"/>
                  </a:solidFill>
                  <a:ln w="2339" cap="flat">
                    <a:noFill/>
                    <a:prstDash val="solid"/>
                    <a:miter/>
                  </a:ln>
                </p:spPr>
                <p:txBody>
                  <a:bodyPr rtlCol="0" anchor="ctr"/>
                  <a:lstStyle/>
                  <a:p>
                    <a:endParaRPr lang="en-US"/>
                  </a:p>
                </p:txBody>
              </p:sp>
              <p:sp>
                <p:nvSpPr>
                  <p:cNvPr id="1034" name="Freeform: Shape 1033">
                    <a:extLst>
                      <a:ext uri="{FF2B5EF4-FFF2-40B4-BE49-F238E27FC236}">
                        <a16:creationId xmlns:a16="http://schemas.microsoft.com/office/drawing/2014/main" id="{9A76FCDA-FC93-64D2-F59D-61D3D0D67DD4}"/>
                      </a:ext>
                    </a:extLst>
                  </p:cNvPr>
                  <p:cNvSpPr/>
                  <p:nvPr userDrawn="1"/>
                </p:nvSpPr>
                <p:spPr>
                  <a:xfrm>
                    <a:off x="8483312" y="453987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9F9FB"/>
                  </a:solidFill>
                  <a:ln w="2339" cap="flat">
                    <a:noFill/>
                    <a:prstDash val="solid"/>
                    <a:miter/>
                  </a:ln>
                </p:spPr>
                <p:txBody>
                  <a:bodyPr rtlCol="0" anchor="ctr"/>
                  <a:lstStyle/>
                  <a:p>
                    <a:endParaRPr lang="en-US"/>
                  </a:p>
                </p:txBody>
              </p:sp>
              <p:sp>
                <p:nvSpPr>
                  <p:cNvPr id="1035" name="Freeform: Shape 1034">
                    <a:extLst>
                      <a:ext uri="{FF2B5EF4-FFF2-40B4-BE49-F238E27FC236}">
                        <a16:creationId xmlns:a16="http://schemas.microsoft.com/office/drawing/2014/main" id="{D89E2175-3A74-3602-276B-9C3BD722D1BE}"/>
                      </a:ext>
                    </a:extLst>
                  </p:cNvPr>
                  <p:cNvSpPr/>
                  <p:nvPr userDrawn="1"/>
                </p:nvSpPr>
                <p:spPr>
                  <a:xfrm>
                    <a:off x="8483476" y="454029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a:p>
                </p:txBody>
              </p:sp>
              <p:sp>
                <p:nvSpPr>
                  <p:cNvPr id="1036" name="Freeform: Shape 1035">
                    <a:extLst>
                      <a:ext uri="{FF2B5EF4-FFF2-40B4-BE49-F238E27FC236}">
                        <a16:creationId xmlns:a16="http://schemas.microsoft.com/office/drawing/2014/main" id="{78090EA9-C315-9B5F-344B-79CFB2DE2857}"/>
                      </a:ext>
                    </a:extLst>
                  </p:cNvPr>
                  <p:cNvSpPr/>
                  <p:nvPr userDrawn="1"/>
                </p:nvSpPr>
                <p:spPr>
                  <a:xfrm>
                    <a:off x="8483616" y="454071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9FAFB"/>
                  </a:solidFill>
                  <a:ln w="2339" cap="flat">
                    <a:noFill/>
                    <a:prstDash val="solid"/>
                    <a:miter/>
                  </a:ln>
                </p:spPr>
                <p:txBody>
                  <a:bodyPr rtlCol="0" anchor="ctr"/>
                  <a:lstStyle/>
                  <a:p>
                    <a:endParaRPr lang="en-US"/>
                  </a:p>
                </p:txBody>
              </p:sp>
              <p:sp>
                <p:nvSpPr>
                  <p:cNvPr id="1037" name="Freeform: Shape 1036">
                    <a:extLst>
                      <a:ext uri="{FF2B5EF4-FFF2-40B4-BE49-F238E27FC236}">
                        <a16:creationId xmlns:a16="http://schemas.microsoft.com/office/drawing/2014/main" id="{AE7E52FF-D775-4274-71EF-3745A62F4761}"/>
                      </a:ext>
                    </a:extLst>
                  </p:cNvPr>
                  <p:cNvSpPr/>
                  <p:nvPr userDrawn="1"/>
                </p:nvSpPr>
                <p:spPr>
                  <a:xfrm>
                    <a:off x="8483733" y="45411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07"/>
                          <a:pt x="0" y="21060"/>
                        </a:cubicBezTo>
                        <a:close/>
                      </a:path>
                    </a:pathLst>
                  </a:custGeom>
                  <a:solidFill>
                    <a:srgbClr val="FAFAFC"/>
                  </a:solidFill>
                  <a:ln w="2339" cap="flat">
                    <a:noFill/>
                    <a:prstDash val="solid"/>
                    <a:miter/>
                  </a:ln>
                </p:spPr>
                <p:txBody>
                  <a:bodyPr rtlCol="0" anchor="ctr"/>
                  <a:lstStyle/>
                  <a:p>
                    <a:endParaRPr lang="en-US"/>
                  </a:p>
                </p:txBody>
              </p:sp>
              <p:sp>
                <p:nvSpPr>
                  <p:cNvPr id="1038" name="Freeform: Shape 1037">
                    <a:extLst>
                      <a:ext uri="{FF2B5EF4-FFF2-40B4-BE49-F238E27FC236}">
                        <a16:creationId xmlns:a16="http://schemas.microsoft.com/office/drawing/2014/main" id="{F4F40BF8-F2BB-18D9-75E3-078ECFD0C7DF}"/>
                      </a:ext>
                    </a:extLst>
                  </p:cNvPr>
                  <p:cNvSpPr/>
                  <p:nvPr userDrawn="1"/>
                </p:nvSpPr>
                <p:spPr>
                  <a:xfrm>
                    <a:off x="8483874" y="454153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43"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a:p>
                </p:txBody>
              </p:sp>
              <p:sp>
                <p:nvSpPr>
                  <p:cNvPr id="1039" name="Freeform: Shape 1038">
                    <a:extLst>
                      <a:ext uri="{FF2B5EF4-FFF2-40B4-BE49-F238E27FC236}">
                        <a16:creationId xmlns:a16="http://schemas.microsoft.com/office/drawing/2014/main" id="{EE9FC523-DD6B-5959-59B9-91024B93EC8F}"/>
                      </a:ext>
                    </a:extLst>
                  </p:cNvPr>
                  <p:cNvSpPr/>
                  <p:nvPr userDrawn="1"/>
                </p:nvSpPr>
                <p:spPr>
                  <a:xfrm>
                    <a:off x="8483991" y="45419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AFBFC"/>
                  </a:solidFill>
                  <a:ln w="2339" cap="flat">
                    <a:noFill/>
                    <a:prstDash val="solid"/>
                    <a:miter/>
                  </a:ln>
                </p:spPr>
                <p:txBody>
                  <a:bodyPr rtlCol="0" anchor="ctr"/>
                  <a:lstStyle/>
                  <a:p>
                    <a:endParaRPr lang="en-US"/>
                  </a:p>
                </p:txBody>
              </p:sp>
              <p:sp>
                <p:nvSpPr>
                  <p:cNvPr id="1040" name="Freeform: Shape 1039">
                    <a:extLst>
                      <a:ext uri="{FF2B5EF4-FFF2-40B4-BE49-F238E27FC236}">
                        <a16:creationId xmlns:a16="http://schemas.microsoft.com/office/drawing/2014/main" id="{64AAB7FD-306F-7038-8CEA-1FB8CF17DC28}"/>
                      </a:ext>
                    </a:extLst>
                  </p:cNvPr>
                  <p:cNvSpPr/>
                  <p:nvPr userDrawn="1"/>
                </p:nvSpPr>
                <p:spPr>
                  <a:xfrm>
                    <a:off x="8484108" y="45423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BFBFC"/>
                  </a:solidFill>
                  <a:ln w="2339" cap="flat">
                    <a:noFill/>
                    <a:prstDash val="solid"/>
                    <a:miter/>
                  </a:ln>
                </p:spPr>
                <p:txBody>
                  <a:bodyPr rtlCol="0" anchor="ctr"/>
                  <a:lstStyle/>
                  <a:p>
                    <a:endParaRPr lang="en-US"/>
                  </a:p>
                </p:txBody>
              </p:sp>
              <p:sp>
                <p:nvSpPr>
                  <p:cNvPr id="1041" name="Freeform: Shape 1040">
                    <a:extLst>
                      <a:ext uri="{FF2B5EF4-FFF2-40B4-BE49-F238E27FC236}">
                        <a16:creationId xmlns:a16="http://schemas.microsoft.com/office/drawing/2014/main" id="{FE0D1673-DE8C-A6F6-7586-6099BAC08DD8}"/>
                      </a:ext>
                    </a:extLst>
                  </p:cNvPr>
                  <p:cNvSpPr/>
                  <p:nvPr userDrawn="1"/>
                </p:nvSpPr>
                <p:spPr>
                  <a:xfrm>
                    <a:off x="8484225" y="45427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BFBFC"/>
                  </a:solidFill>
                  <a:ln w="2339" cap="flat">
                    <a:noFill/>
                    <a:prstDash val="solid"/>
                    <a:miter/>
                  </a:ln>
                </p:spPr>
                <p:txBody>
                  <a:bodyPr rtlCol="0" anchor="ctr"/>
                  <a:lstStyle/>
                  <a:p>
                    <a:endParaRPr lang="en-US"/>
                  </a:p>
                </p:txBody>
              </p:sp>
              <p:sp>
                <p:nvSpPr>
                  <p:cNvPr id="1042" name="Freeform: Shape 1041">
                    <a:extLst>
                      <a:ext uri="{FF2B5EF4-FFF2-40B4-BE49-F238E27FC236}">
                        <a16:creationId xmlns:a16="http://schemas.microsoft.com/office/drawing/2014/main" id="{E1036032-683F-695C-99D0-5F8E37163EEE}"/>
                      </a:ext>
                    </a:extLst>
                  </p:cNvPr>
                  <p:cNvSpPr/>
                  <p:nvPr userDrawn="1"/>
                </p:nvSpPr>
                <p:spPr>
                  <a:xfrm>
                    <a:off x="8484342" y="45431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BFCFD"/>
                  </a:solidFill>
                  <a:ln w="2339" cap="flat">
                    <a:noFill/>
                    <a:prstDash val="solid"/>
                    <a:miter/>
                  </a:ln>
                </p:spPr>
                <p:txBody>
                  <a:bodyPr rtlCol="0" anchor="ctr"/>
                  <a:lstStyle/>
                  <a:p>
                    <a:endParaRPr lang="en-US"/>
                  </a:p>
                </p:txBody>
              </p:sp>
              <p:sp>
                <p:nvSpPr>
                  <p:cNvPr id="1043" name="Freeform: Shape 1042">
                    <a:extLst>
                      <a:ext uri="{FF2B5EF4-FFF2-40B4-BE49-F238E27FC236}">
                        <a16:creationId xmlns:a16="http://schemas.microsoft.com/office/drawing/2014/main" id="{A46A12DF-4A9D-4DEF-89B3-D774936872C0}"/>
                      </a:ext>
                    </a:extLst>
                  </p:cNvPr>
                  <p:cNvSpPr/>
                  <p:nvPr userDrawn="1"/>
                </p:nvSpPr>
                <p:spPr>
                  <a:xfrm>
                    <a:off x="8484435" y="454361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a:p>
                </p:txBody>
              </p:sp>
              <p:sp>
                <p:nvSpPr>
                  <p:cNvPr id="1044" name="Freeform: Shape 1043">
                    <a:extLst>
                      <a:ext uri="{FF2B5EF4-FFF2-40B4-BE49-F238E27FC236}">
                        <a16:creationId xmlns:a16="http://schemas.microsoft.com/office/drawing/2014/main" id="{085A8B0F-B9DA-E8D0-4A41-0DCBA041B7F4}"/>
                      </a:ext>
                    </a:extLst>
                  </p:cNvPr>
                  <p:cNvSpPr/>
                  <p:nvPr userDrawn="1"/>
                </p:nvSpPr>
                <p:spPr>
                  <a:xfrm>
                    <a:off x="8484529" y="4544035"/>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07"/>
                          <a:pt x="0" y="21060"/>
                        </a:cubicBezTo>
                        <a:close/>
                      </a:path>
                    </a:pathLst>
                  </a:custGeom>
                  <a:solidFill>
                    <a:srgbClr val="FCFCFD"/>
                  </a:solidFill>
                  <a:ln w="2339" cap="flat">
                    <a:noFill/>
                    <a:prstDash val="solid"/>
                    <a:miter/>
                  </a:ln>
                </p:spPr>
                <p:txBody>
                  <a:bodyPr rtlCol="0" anchor="ctr"/>
                  <a:lstStyle/>
                  <a:p>
                    <a:endParaRPr lang="en-US"/>
                  </a:p>
                </p:txBody>
              </p:sp>
              <p:sp>
                <p:nvSpPr>
                  <p:cNvPr id="1045" name="Freeform: Shape 1044">
                    <a:extLst>
                      <a:ext uri="{FF2B5EF4-FFF2-40B4-BE49-F238E27FC236}">
                        <a16:creationId xmlns:a16="http://schemas.microsoft.com/office/drawing/2014/main" id="{A2E75AE6-396E-58D4-2D26-EF3A616A0A49}"/>
                      </a:ext>
                    </a:extLst>
                  </p:cNvPr>
                  <p:cNvSpPr/>
                  <p:nvPr userDrawn="1"/>
                </p:nvSpPr>
                <p:spPr>
                  <a:xfrm>
                    <a:off x="8484623" y="454443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CFCFD"/>
                  </a:solidFill>
                  <a:ln w="2339" cap="flat">
                    <a:noFill/>
                    <a:prstDash val="solid"/>
                    <a:miter/>
                  </a:ln>
                </p:spPr>
                <p:txBody>
                  <a:bodyPr rtlCol="0" anchor="ctr"/>
                  <a:lstStyle/>
                  <a:p>
                    <a:endParaRPr lang="en-US"/>
                  </a:p>
                </p:txBody>
              </p:sp>
              <p:sp>
                <p:nvSpPr>
                  <p:cNvPr id="1046" name="Freeform: Shape 1045">
                    <a:extLst>
                      <a:ext uri="{FF2B5EF4-FFF2-40B4-BE49-F238E27FC236}">
                        <a16:creationId xmlns:a16="http://schemas.microsoft.com/office/drawing/2014/main" id="{598A0DE1-B35D-A068-2A35-A19D659F5F1F}"/>
                      </a:ext>
                    </a:extLst>
                  </p:cNvPr>
                  <p:cNvSpPr/>
                  <p:nvPr userDrawn="1"/>
                </p:nvSpPr>
                <p:spPr>
                  <a:xfrm>
                    <a:off x="8484693" y="4544854"/>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DFDFD"/>
                  </a:solidFill>
                  <a:ln w="2339" cap="flat">
                    <a:noFill/>
                    <a:prstDash val="solid"/>
                    <a:miter/>
                  </a:ln>
                </p:spPr>
                <p:txBody>
                  <a:bodyPr rtlCol="0" anchor="ctr"/>
                  <a:lstStyle/>
                  <a:p>
                    <a:endParaRPr lang="en-US"/>
                  </a:p>
                </p:txBody>
              </p:sp>
              <p:sp>
                <p:nvSpPr>
                  <p:cNvPr id="1047" name="Freeform: Shape 1046">
                    <a:extLst>
                      <a:ext uri="{FF2B5EF4-FFF2-40B4-BE49-F238E27FC236}">
                        <a16:creationId xmlns:a16="http://schemas.microsoft.com/office/drawing/2014/main" id="{1D11496A-795A-EAC2-A8AB-DB711030C42E}"/>
                      </a:ext>
                    </a:extLst>
                  </p:cNvPr>
                  <p:cNvSpPr/>
                  <p:nvPr userDrawn="1"/>
                </p:nvSpPr>
                <p:spPr>
                  <a:xfrm>
                    <a:off x="8484786" y="454525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DFE"/>
                  </a:solidFill>
                  <a:ln w="2339" cap="flat">
                    <a:noFill/>
                    <a:prstDash val="solid"/>
                    <a:miter/>
                  </a:ln>
                </p:spPr>
                <p:txBody>
                  <a:bodyPr rtlCol="0" anchor="ctr"/>
                  <a:lstStyle/>
                  <a:p>
                    <a:endParaRPr lang="en-US"/>
                  </a:p>
                </p:txBody>
              </p:sp>
              <p:sp>
                <p:nvSpPr>
                  <p:cNvPr id="1048" name="Freeform: Shape 1047">
                    <a:extLst>
                      <a:ext uri="{FF2B5EF4-FFF2-40B4-BE49-F238E27FC236}">
                        <a16:creationId xmlns:a16="http://schemas.microsoft.com/office/drawing/2014/main" id="{A5FFE439-5B80-48E1-F50E-353F929095FC}"/>
                      </a:ext>
                    </a:extLst>
                  </p:cNvPr>
                  <p:cNvSpPr/>
                  <p:nvPr userDrawn="1"/>
                </p:nvSpPr>
                <p:spPr>
                  <a:xfrm>
                    <a:off x="8484857" y="4545673"/>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DFDFE"/>
                  </a:solidFill>
                  <a:ln w="2339" cap="flat">
                    <a:noFill/>
                    <a:prstDash val="solid"/>
                    <a:miter/>
                  </a:ln>
                </p:spPr>
                <p:txBody>
                  <a:bodyPr rtlCol="0" anchor="ctr"/>
                  <a:lstStyle/>
                  <a:p>
                    <a:endParaRPr lang="en-US"/>
                  </a:p>
                </p:txBody>
              </p:sp>
              <p:sp>
                <p:nvSpPr>
                  <p:cNvPr id="1049" name="Freeform: Shape 1048">
                    <a:extLst>
                      <a:ext uri="{FF2B5EF4-FFF2-40B4-BE49-F238E27FC236}">
                        <a16:creationId xmlns:a16="http://schemas.microsoft.com/office/drawing/2014/main" id="{09D673C8-416C-AB94-EB6A-AA69DF31EAB7}"/>
                      </a:ext>
                    </a:extLst>
                  </p:cNvPr>
                  <p:cNvSpPr/>
                  <p:nvPr userDrawn="1"/>
                </p:nvSpPr>
                <p:spPr>
                  <a:xfrm>
                    <a:off x="8484927" y="454607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23"/>
                          <a:pt x="0" y="9430"/>
                          <a:pt x="0" y="21060"/>
                        </a:cubicBezTo>
                        <a:close/>
                      </a:path>
                    </a:pathLst>
                  </a:custGeom>
                  <a:solidFill>
                    <a:srgbClr val="FDFEFE"/>
                  </a:solidFill>
                  <a:ln w="2339" cap="flat">
                    <a:noFill/>
                    <a:prstDash val="solid"/>
                    <a:miter/>
                  </a:ln>
                </p:spPr>
                <p:txBody>
                  <a:bodyPr rtlCol="0" anchor="ctr"/>
                  <a:lstStyle/>
                  <a:p>
                    <a:endParaRPr lang="en-US"/>
                  </a:p>
                </p:txBody>
              </p:sp>
              <p:sp>
                <p:nvSpPr>
                  <p:cNvPr id="1050" name="Freeform: Shape 1049">
                    <a:extLst>
                      <a:ext uri="{FF2B5EF4-FFF2-40B4-BE49-F238E27FC236}">
                        <a16:creationId xmlns:a16="http://schemas.microsoft.com/office/drawing/2014/main" id="{BEA85A0B-430F-B3A1-7D8B-5A75B643F5E1}"/>
                      </a:ext>
                    </a:extLst>
                  </p:cNvPr>
                  <p:cNvSpPr/>
                  <p:nvPr userDrawn="1"/>
                </p:nvSpPr>
                <p:spPr>
                  <a:xfrm>
                    <a:off x="8484974" y="4546492"/>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EFEFE"/>
                  </a:solidFill>
                  <a:ln w="2339" cap="flat">
                    <a:noFill/>
                    <a:prstDash val="solid"/>
                    <a:miter/>
                  </a:ln>
                </p:spPr>
                <p:txBody>
                  <a:bodyPr rtlCol="0" anchor="ctr"/>
                  <a:lstStyle/>
                  <a:p>
                    <a:endParaRPr lang="en-US"/>
                  </a:p>
                </p:txBody>
              </p:sp>
              <p:sp>
                <p:nvSpPr>
                  <p:cNvPr id="1051" name="Freeform: Shape 1050">
                    <a:extLst>
                      <a:ext uri="{FF2B5EF4-FFF2-40B4-BE49-F238E27FC236}">
                        <a16:creationId xmlns:a16="http://schemas.microsoft.com/office/drawing/2014/main" id="{03338342-A788-407E-2F99-A7492328BFC3}"/>
                      </a:ext>
                    </a:extLst>
                  </p:cNvPr>
                  <p:cNvSpPr/>
                  <p:nvPr userDrawn="1"/>
                </p:nvSpPr>
                <p:spPr>
                  <a:xfrm>
                    <a:off x="8485020" y="454689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EFEFE"/>
                  </a:solidFill>
                  <a:ln w="2339" cap="flat">
                    <a:noFill/>
                    <a:prstDash val="solid"/>
                    <a:miter/>
                  </a:ln>
                </p:spPr>
                <p:txBody>
                  <a:bodyPr rtlCol="0" anchor="ctr"/>
                  <a:lstStyle/>
                  <a:p>
                    <a:endParaRPr lang="en-US"/>
                  </a:p>
                </p:txBody>
              </p:sp>
              <p:sp>
                <p:nvSpPr>
                  <p:cNvPr id="1052" name="Freeform: Shape 1051">
                    <a:extLst>
                      <a:ext uri="{FF2B5EF4-FFF2-40B4-BE49-F238E27FC236}">
                        <a16:creationId xmlns:a16="http://schemas.microsoft.com/office/drawing/2014/main" id="{1AB6A7FD-8D6E-44E0-8BD3-062C050FE93F}"/>
                      </a:ext>
                    </a:extLst>
                  </p:cNvPr>
                  <p:cNvSpPr/>
                  <p:nvPr userDrawn="1"/>
                </p:nvSpPr>
                <p:spPr>
                  <a:xfrm>
                    <a:off x="8485091" y="4547311"/>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07" y="0"/>
                          <a:pt x="0" y="9430"/>
                          <a:pt x="0" y="21060"/>
                        </a:cubicBezTo>
                        <a:close/>
                      </a:path>
                    </a:pathLst>
                  </a:custGeom>
                  <a:solidFill>
                    <a:srgbClr val="FEFEFF"/>
                  </a:solidFill>
                  <a:ln w="2339" cap="flat">
                    <a:noFill/>
                    <a:prstDash val="solid"/>
                    <a:miter/>
                  </a:ln>
                </p:spPr>
                <p:txBody>
                  <a:bodyPr rtlCol="0" anchor="ctr"/>
                  <a:lstStyle/>
                  <a:p>
                    <a:endParaRPr lang="en-US"/>
                  </a:p>
                </p:txBody>
              </p:sp>
              <p:sp>
                <p:nvSpPr>
                  <p:cNvPr id="1053" name="Freeform: Shape 1052">
                    <a:extLst>
                      <a:ext uri="{FF2B5EF4-FFF2-40B4-BE49-F238E27FC236}">
                        <a16:creationId xmlns:a16="http://schemas.microsoft.com/office/drawing/2014/main" id="{F4823B96-C72C-CB31-1521-E0959207DB35}"/>
                      </a:ext>
                    </a:extLst>
                  </p:cNvPr>
                  <p:cNvSpPr/>
                  <p:nvPr userDrawn="1"/>
                </p:nvSpPr>
                <p:spPr>
                  <a:xfrm>
                    <a:off x="8485114" y="4547709"/>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23"/>
                          <a:pt x="0" y="9430"/>
                          <a:pt x="0" y="21060"/>
                        </a:cubicBezTo>
                        <a:close/>
                      </a:path>
                    </a:pathLst>
                  </a:custGeom>
                  <a:solidFill>
                    <a:srgbClr val="FFFFFF"/>
                  </a:solidFill>
                  <a:ln w="2339" cap="flat">
                    <a:noFill/>
                    <a:prstDash val="solid"/>
                    <a:miter/>
                  </a:ln>
                </p:spPr>
                <p:txBody>
                  <a:bodyPr rtlCol="0" anchor="ctr"/>
                  <a:lstStyle/>
                  <a:p>
                    <a:endParaRPr lang="en-US"/>
                  </a:p>
                </p:txBody>
              </p:sp>
              <p:sp>
                <p:nvSpPr>
                  <p:cNvPr id="1054" name="Freeform: Shape 1053">
                    <a:extLst>
                      <a:ext uri="{FF2B5EF4-FFF2-40B4-BE49-F238E27FC236}">
                        <a16:creationId xmlns:a16="http://schemas.microsoft.com/office/drawing/2014/main" id="{D6CDB635-67AB-EE73-B5D4-19F456CD65BB}"/>
                      </a:ext>
                    </a:extLst>
                  </p:cNvPr>
                  <p:cNvSpPr/>
                  <p:nvPr userDrawn="1"/>
                </p:nvSpPr>
                <p:spPr>
                  <a:xfrm>
                    <a:off x="8485161" y="4548130"/>
                    <a:ext cx="42073" cy="42096"/>
                  </a:xfrm>
                  <a:custGeom>
                    <a:avLst/>
                    <a:gdLst>
                      <a:gd name="connsiteX0" fmla="*/ 0 w 42073"/>
                      <a:gd name="connsiteY0" fmla="*/ 21060 h 42096"/>
                      <a:gd name="connsiteX1" fmla="*/ 21037 w 42073"/>
                      <a:gd name="connsiteY1" fmla="*/ 42097 h 42096"/>
                      <a:gd name="connsiteX2" fmla="*/ 42074 w 42073"/>
                      <a:gd name="connsiteY2" fmla="*/ 21060 h 42096"/>
                      <a:gd name="connsiteX3" fmla="*/ 21037 w 42073"/>
                      <a:gd name="connsiteY3" fmla="*/ 0 h 42096"/>
                      <a:gd name="connsiteX4" fmla="*/ 0 w 42073"/>
                      <a:gd name="connsiteY4" fmla="*/ 21060 h 4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3" h="42096">
                        <a:moveTo>
                          <a:pt x="0" y="21060"/>
                        </a:moveTo>
                        <a:cubicBezTo>
                          <a:pt x="0" y="32667"/>
                          <a:pt x="9430" y="42097"/>
                          <a:pt x="21037" y="42097"/>
                        </a:cubicBezTo>
                        <a:cubicBezTo>
                          <a:pt x="32667" y="42097"/>
                          <a:pt x="42074" y="32667"/>
                          <a:pt x="42074" y="21060"/>
                        </a:cubicBezTo>
                        <a:cubicBezTo>
                          <a:pt x="42074" y="9430"/>
                          <a:pt x="32643" y="0"/>
                          <a:pt x="21037" y="0"/>
                        </a:cubicBezTo>
                        <a:cubicBezTo>
                          <a:pt x="9430" y="0"/>
                          <a:pt x="0" y="9430"/>
                          <a:pt x="0" y="21060"/>
                        </a:cubicBezTo>
                        <a:close/>
                      </a:path>
                    </a:pathLst>
                  </a:custGeom>
                  <a:solidFill>
                    <a:srgbClr val="FFFFFF"/>
                  </a:solidFill>
                  <a:ln w="2339" cap="flat">
                    <a:noFill/>
                    <a:prstDash val="solid"/>
                    <a:miter/>
                  </a:ln>
                </p:spPr>
                <p:txBody>
                  <a:bodyPr rtlCol="0" anchor="ctr"/>
                  <a:lstStyle/>
                  <a:p>
                    <a:endParaRPr lang="en-US"/>
                  </a:p>
                </p:txBody>
              </p:sp>
            </p:grpSp>
          </p:grpSp>
          <p:grpSp>
            <p:nvGrpSpPr>
              <p:cNvPr id="1055" name="Graphic 4">
                <a:extLst>
                  <a:ext uri="{FF2B5EF4-FFF2-40B4-BE49-F238E27FC236}">
                    <a16:creationId xmlns:a16="http://schemas.microsoft.com/office/drawing/2014/main" id="{0F8243B3-D6DD-AC6A-FAD2-028A34A2E3EC}"/>
                  </a:ext>
                </a:extLst>
              </p:cNvPr>
              <p:cNvGrpSpPr/>
              <p:nvPr userDrawn="1"/>
            </p:nvGrpSpPr>
            <p:grpSpPr>
              <a:xfrm>
                <a:off x="8195243" y="4295826"/>
                <a:ext cx="331785" cy="331794"/>
                <a:chOff x="8195243" y="4295826"/>
                <a:chExt cx="331785" cy="331794"/>
              </a:xfrm>
              <a:solidFill>
                <a:srgbClr val="FFFFFF"/>
              </a:solidFill>
            </p:grpSpPr>
            <p:sp>
              <p:nvSpPr>
                <p:cNvPr id="1056" name="Freeform: Shape 1055">
                  <a:extLst>
                    <a:ext uri="{FF2B5EF4-FFF2-40B4-BE49-F238E27FC236}">
                      <a16:creationId xmlns:a16="http://schemas.microsoft.com/office/drawing/2014/main" id="{81AAC530-DF43-7E52-F528-7EC31E4BFDB1}"/>
                    </a:ext>
                  </a:extLst>
                </p:cNvPr>
                <p:cNvSpPr/>
                <p:nvPr userDrawn="1"/>
              </p:nvSpPr>
              <p:spPr>
                <a:xfrm>
                  <a:off x="8379509" y="4295826"/>
                  <a:ext cx="147519" cy="331794"/>
                </a:xfrm>
                <a:custGeom>
                  <a:avLst/>
                  <a:gdLst>
                    <a:gd name="connsiteX0" fmla="*/ 91612 w 147519"/>
                    <a:gd name="connsiteY0" fmla="*/ 331794 h 331794"/>
                    <a:gd name="connsiteX1" fmla="*/ 87844 w 147519"/>
                    <a:gd name="connsiteY1" fmla="*/ 331654 h 331794"/>
                    <a:gd name="connsiteX2" fmla="*/ 37932 w 147519"/>
                    <a:gd name="connsiteY2" fmla="*/ 301304 h 331794"/>
                    <a:gd name="connsiteX3" fmla="*/ 0 w 147519"/>
                    <a:gd name="connsiteY3" fmla="*/ 165957 h 331794"/>
                    <a:gd name="connsiteX4" fmla="*/ 37932 w 147519"/>
                    <a:gd name="connsiteY4" fmla="*/ 30541 h 331794"/>
                    <a:gd name="connsiteX5" fmla="*/ 87844 w 147519"/>
                    <a:gd name="connsiteY5" fmla="*/ 144 h 331794"/>
                    <a:gd name="connsiteX6" fmla="*/ 130292 w 147519"/>
                    <a:gd name="connsiteY6" fmla="*/ 17226 h 331794"/>
                    <a:gd name="connsiteX7" fmla="*/ 147327 w 147519"/>
                    <a:gd name="connsiteY7" fmla="*/ 60259 h 331794"/>
                    <a:gd name="connsiteX8" fmla="*/ 105909 w 147519"/>
                    <a:gd name="connsiteY8" fmla="*/ 56608 h 331794"/>
                    <a:gd name="connsiteX9" fmla="*/ 100878 w 147519"/>
                    <a:gd name="connsiteY9" fmla="*/ 46616 h 331794"/>
                    <a:gd name="connsiteX10" fmla="*/ 91003 w 147519"/>
                    <a:gd name="connsiteY10" fmla="*/ 41585 h 331794"/>
                    <a:gd name="connsiteX11" fmla="*/ 71113 w 147519"/>
                    <a:gd name="connsiteY11" fmla="*/ 55509 h 331794"/>
                    <a:gd name="connsiteX12" fmla="*/ 70575 w 147519"/>
                    <a:gd name="connsiteY12" fmla="*/ 56211 h 331794"/>
                    <a:gd name="connsiteX13" fmla="*/ 41559 w 147519"/>
                    <a:gd name="connsiteY13" fmla="*/ 165911 h 331794"/>
                    <a:gd name="connsiteX14" fmla="*/ 70575 w 147519"/>
                    <a:gd name="connsiteY14" fmla="*/ 275540 h 331794"/>
                    <a:gd name="connsiteX15" fmla="*/ 71113 w 147519"/>
                    <a:gd name="connsiteY15" fmla="*/ 276242 h 331794"/>
                    <a:gd name="connsiteX16" fmla="*/ 91050 w 147519"/>
                    <a:gd name="connsiteY16" fmla="*/ 290189 h 331794"/>
                    <a:gd name="connsiteX17" fmla="*/ 100878 w 147519"/>
                    <a:gd name="connsiteY17" fmla="*/ 285158 h 331794"/>
                    <a:gd name="connsiteX18" fmla="*/ 105886 w 147519"/>
                    <a:gd name="connsiteY18" fmla="*/ 275166 h 331794"/>
                    <a:gd name="connsiteX19" fmla="*/ 147281 w 147519"/>
                    <a:gd name="connsiteY19" fmla="*/ 271492 h 331794"/>
                    <a:gd name="connsiteX20" fmla="*/ 130245 w 147519"/>
                    <a:gd name="connsiteY20" fmla="*/ 314572 h 331794"/>
                    <a:gd name="connsiteX21" fmla="*/ 91612 w 147519"/>
                    <a:gd name="connsiteY21" fmla="*/ 331794 h 33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19" h="331794">
                      <a:moveTo>
                        <a:pt x="91612" y="331794"/>
                      </a:moveTo>
                      <a:cubicBezTo>
                        <a:pt x="90301" y="331794"/>
                        <a:pt x="89038" y="331748"/>
                        <a:pt x="87844" y="331654"/>
                      </a:cubicBezTo>
                      <a:cubicBezTo>
                        <a:pt x="60443" y="329571"/>
                        <a:pt x="41231" y="305656"/>
                        <a:pt x="37932" y="301304"/>
                      </a:cubicBezTo>
                      <a:cubicBezTo>
                        <a:pt x="13900" y="271188"/>
                        <a:pt x="94" y="221884"/>
                        <a:pt x="0" y="165957"/>
                      </a:cubicBezTo>
                      <a:cubicBezTo>
                        <a:pt x="94" y="109961"/>
                        <a:pt x="13900" y="60657"/>
                        <a:pt x="37932" y="30541"/>
                      </a:cubicBezTo>
                      <a:cubicBezTo>
                        <a:pt x="41231" y="26141"/>
                        <a:pt x="60443" y="2250"/>
                        <a:pt x="87844" y="144"/>
                      </a:cubicBezTo>
                      <a:cubicBezTo>
                        <a:pt x="98585" y="-675"/>
                        <a:pt x="114684" y="1618"/>
                        <a:pt x="130292" y="17226"/>
                      </a:cubicBezTo>
                      <a:cubicBezTo>
                        <a:pt x="146111" y="33068"/>
                        <a:pt x="148287" y="49378"/>
                        <a:pt x="147327" y="60259"/>
                      </a:cubicBezTo>
                      <a:lnTo>
                        <a:pt x="105909" y="56608"/>
                      </a:lnTo>
                      <a:cubicBezTo>
                        <a:pt x="106026" y="55368"/>
                        <a:pt x="106307" y="52045"/>
                        <a:pt x="100878" y="46616"/>
                      </a:cubicBezTo>
                      <a:cubicBezTo>
                        <a:pt x="95496" y="41258"/>
                        <a:pt x="92220" y="41492"/>
                        <a:pt x="91003" y="41585"/>
                      </a:cubicBezTo>
                      <a:cubicBezTo>
                        <a:pt x="83305" y="42170"/>
                        <a:pt x="73594" y="52139"/>
                        <a:pt x="71113" y="55509"/>
                      </a:cubicBezTo>
                      <a:lnTo>
                        <a:pt x="70575" y="56211"/>
                      </a:lnTo>
                      <a:cubicBezTo>
                        <a:pt x="52744" y="78417"/>
                        <a:pt x="41629" y="120444"/>
                        <a:pt x="41559" y="165911"/>
                      </a:cubicBezTo>
                      <a:cubicBezTo>
                        <a:pt x="41629" y="211307"/>
                        <a:pt x="52744" y="253334"/>
                        <a:pt x="70575" y="275540"/>
                      </a:cubicBezTo>
                      <a:lnTo>
                        <a:pt x="71113" y="276242"/>
                      </a:lnTo>
                      <a:cubicBezTo>
                        <a:pt x="75091" y="281531"/>
                        <a:pt x="84264" y="289697"/>
                        <a:pt x="91050" y="290189"/>
                      </a:cubicBezTo>
                      <a:cubicBezTo>
                        <a:pt x="92267" y="290282"/>
                        <a:pt x="95520" y="290493"/>
                        <a:pt x="100878" y="285158"/>
                      </a:cubicBezTo>
                      <a:cubicBezTo>
                        <a:pt x="106307" y="279729"/>
                        <a:pt x="106003" y="276406"/>
                        <a:pt x="105886" y="275166"/>
                      </a:cubicBezTo>
                      <a:lnTo>
                        <a:pt x="147281" y="271492"/>
                      </a:lnTo>
                      <a:cubicBezTo>
                        <a:pt x="148240" y="282397"/>
                        <a:pt x="146087" y="298730"/>
                        <a:pt x="130245" y="314572"/>
                      </a:cubicBezTo>
                      <a:cubicBezTo>
                        <a:pt x="116416" y="328425"/>
                        <a:pt x="102165" y="331794"/>
                        <a:pt x="91612" y="331794"/>
                      </a:cubicBezTo>
                      <a:close/>
                    </a:path>
                  </a:pathLst>
                </a:custGeom>
                <a:solidFill>
                  <a:srgbClr val="FFFFFF"/>
                </a:solidFill>
                <a:ln w="2339" cap="flat">
                  <a:no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6B70919E-EE87-8D5A-AAA1-8CAB98B8C6D8}"/>
                    </a:ext>
                  </a:extLst>
                </p:cNvPr>
                <p:cNvSpPr/>
                <p:nvPr userDrawn="1"/>
              </p:nvSpPr>
              <p:spPr>
                <a:xfrm>
                  <a:off x="8195243" y="4295849"/>
                  <a:ext cx="147551" cy="331770"/>
                </a:xfrm>
                <a:custGeom>
                  <a:avLst/>
                  <a:gdLst>
                    <a:gd name="connsiteX0" fmla="*/ 55893 w 147551"/>
                    <a:gd name="connsiteY0" fmla="*/ 331771 h 331770"/>
                    <a:gd name="connsiteX1" fmla="*/ 17235 w 147551"/>
                    <a:gd name="connsiteY1" fmla="*/ 314548 h 331770"/>
                    <a:gd name="connsiteX2" fmla="*/ 200 w 147551"/>
                    <a:gd name="connsiteY2" fmla="*/ 271445 h 331770"/>
                    <a:gd name="connsiteX3" fmla="*/ 41595 w 147551"/>
                    <a:gd name="connsiteY3" fmla="*/ 275143 h 331770"/>
                    <a:gd name="connsiteX4" fmla="*/ 46626 w 147551"/>
                    <a:gd name="connsiteY4" fmla="*/ 285158 h 331770"/>
                    <a:gd name="connsiteX5" fmla="*/ 56501 w 147551"/>
                    <a:gd name="connsiteY5" fmla="*/ 290189 h 331770"/>
                    <a:gd name="connsiteX6" fmla="*/ 76391 w 147551"/>
                    <a:gd name="connsiteY6" fmla="*/ 276266 h 331770"/>
                    <a:gd name="connsiteX7" fmla="*/ 76929 w 147551"/>
                    <a:gd name="connsiteY7" fmla="*/ 275564 h 331770"/>
                    <a:gd name="connsiteX8" fmla="*/ 105945 w 147551"/>
                    <a:gd name="connsiteY8" fmla="*/ 165887 h 331770"/>
                    <a:gd name="connsiteX9" fmla="*/ 76929 w 147551"/>
                    <a:gd name="connsiteY9" fmla="*/ 56257 h 331770"/>
                    <a:gd name="connsiteX10" fmla="*/ 76391 w 147551"/>
                    <a:gd name="connsiteY10" fmla="*/ 55555 h 331770"/>
                    <a:gd name="connsiteX11" fmla="*/ 56454 w 147551"/>
                    <a:gd name="connsiteY11" fmla="*/ 41609 h 331770"/>
                    <a:gd name="connsiteX12" fmla="*/ 46626 w 147551"/>
                    <a:gd name="connsiteY12" fmla="*/ 46640 h 331770"/>
                    <a:gd name="connsiteX13" fmla="*/ 41618 w 147551"/>
                    <a:gd name="connsiteY13" fmla="*/ 56632 h 331770"/>
                    <a:gd name="connsiteX14" fmla="*/ 223 w 147551"/>
                    <a:gd name="connsiteY14" fmla="*/ 60306 h 331770"/>
                    <a:gd name="connsiteX15" fmla="*/ 17259 w 147551"/>
                    <a:gd name="connsiteY15" fmla="*/ 17226 h 331770"/>
                    <a:gd name="connsiteX16" fmla="*/ 59707 w 147551"/>
                    <a:gd name="connsiteY16" fmla="*/ 144 h 331770"/>
                    <a:gd name="connsiteX17" fmla="*/ 109619 w 147551"/>
                    <a:gd name="connsiteY17" fmla="*/ 30517 h 331770"/>
                    <a:gd name="connsiteX18" fmla="*/ 147551 w 147551"/>
                    <a:gd name="connsiteY18" fmla="*/ 165864 h 331770"/>
                    <a:gd name="connsiteX19" fmla="*/ 109619 w 147551"/>
                    <a:gd name="connsiteY19" fmla="*/ 301281 h 331770"/>
                    <a:gd name="connsiteX20" fmla="*/ 59707 w 147551"/>
                    <a:gd name="connsiteY20" fmla="*/ 331654 h 331770"/>
                    <a:gd name="connsiteX21" fmla="*/ 55893 w 147551"/>
                    <a:gd name="connsiteY21" fmla="*/ 331771 h 33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551" h="331770">
                      <a:moveTo>
                        <a:pt x="55893" y="331771"/>
                      </a:moveTo>
                      <a:cubicBezTo>
                        <a:pt x="45362" y="331771"/>
                        <a:pt x="31112" y="328425"/>
                        <a:pt x="17235" y="314548"/>
                      </a:cubicBezTo>
                      <a:cubicBezTo>
                        <a:pt x="1393" y="298683"/>
                        <a:pt x="-783" y="282350"/>
                        <a:pt x="200" y="271445"/>
                      </a:cubicBezTo>
                      <a:lnTo>
                        <a:pt x="41595" y="275143"/>
                      </a:lnTo>
                      <a:cubicBezTo>
                        <a:pt x="41478" y="276406"/>
                        <a:pt x="41197" y="279729"/>
                        <a:pt x="46626" y="285158"/>
                      </a:cubicBezTo>
                      <a:cubicBezTo>
                        <a:pt x="52008" y="290540"/>
                        <a:pt x="55284" y="290282"/>
                        <a:pt x="56501" y="290189"/>
                      </a:cubicBezTo>
                      <a:cubicBezTo>
                        <a:pt x="64200" y="289604"/>
                        <a:pt x="73911" y="279635"/>
                        <a:pt x="76391" y="276266"/>
                      </a:cubicBezTo>
                      <a:lnTo>
                        <a:pt x="76929" y="275564"/>
                      </a:lnTo>
                      <a:cubicBezTo>
                        <a:pt x="94760" y="253357"/>
                        <a:pt x="105875" y="211330"/>
                        <a:pt x="105945" y="165887"/>
                      </a:cubicBezTo>
                      <a:cubicBezTo>
                        <a:pt x="105875" y="120491"/>
                        <a:pt x="94760" y="78464"/>
                        <a:pt x="76929" y="56257"/>
                      </a:cubicBezTo>
                      <a:lnTo>
                        <a:pt x="76391" y="55555"/>
                      </a:lnTo>
                      <a:cubicBezTo>
                        <a:pt x="72413" y="50267"/>
                        <a:pt x="63240" y="42100"/>
                        <a:pt x="56454" y="41609"/>
                      </a:cubicBezTo>
                      <a:cubicBezTo>
                        <a:pt x="55214" y="41515"/>
                        <a:pt x="51985" y="41305"/>
                        <a:pt x="46626" y="46640"/>
                      </a:cubicBezTo>
                      <a:cubicBezTo>
                        <a:pt x="41197" y="52069"/>
                        <a:pt x="41501" y="55392"/>
                        <a:pt x="41618" y="56632"/>
                      </a:cubicBezTo>
                      <a:lnTo>
                        <a:pt x="223" y="60306"/>
                      </a:lnTo>
                      <a:cubicBezTo>
                        <a:pt x="-736" y="49401"/>
                        <a:pt x="1417" y="33068"/>
                        <a:pt x="17259" y="17226"/>
                      </a:cubicBezTo>
                      <a:cubicBezTo>
                        <a:pt x="32867" y="1618"/>
                        <a:pt x="48966" y="-675"/>
                        <a:pt x="59707" y="144"/>
                      </a:cubicBezTo>
                      <a:cubicBezTo>
                        <a:pt x="87108" y="2226"/>
                        <a:pt x="106320" y="26141"/>
                        <a:pt x="109619" y="30517"/>
                      </a:cubicBezTo>
                      <a:cubicBezTo>
                        <a:pt x="133651" y="60633"/>
                        <a:pt x="147457" y="109937"/>
                        <a:pt x="147551" y="165864"/>
                      </a:cubicBezTo>
                      <a:cubicBezTo>
                        <a:pt x="147457" y="221860"/>
                        <a:pt x="133651" y="271165"/>
                        <a:pt x="109619" y="301281"/>
                      </a:cubicBezTo>
                      <a:cubicBezTo>
                        <a:pt x="106320" y="305656"/>
                        <a:pt x="87085" y="329548"/>
                        <a:pt x="59707" y="331654"/>
                      </a:cubicBezTo>
                      <a:cubicBezTo>
                        <a:pt x="58490" y="331724"/>
                        <a:pt x="57226" y="331771"/>
                        <a:pt x="55893" y="331771"/>
                      </a:cubicBezTo>
                      <a:close/>
                    </a:path>
                  </a:pathLst>
                </a:custGeom>
                <a:solidFill>
                  <a:srgbClr val="FFFFFF"/>
                </a:solidFill>
                <a:ln w="2339" cap="flat">
                  <a:noFill/>
                  <a:prstDash val="solid"/>
                  <a:miter/>
                </a:ln>
              </p:spPr>
              <p:txBody>
                <a:bodyPr rtlCol="0" anchor="ctr"/>
                <a:lstStyle/>
                <a:p>
                  <a:endParaRPr lang="en-US"/>
                </a:p>
              </p:txBody>
            </p:sp>
          </p:grpSp>
        </p:grpSp>
      </p:grpSp>
      <p:sp>
        <p:nvSpPr>
          <p:cNvPr id="7" name="Title 1"/>
          <p:cNvSpPr>
            <a:spLocks noGrp="1"/>
          </p:cNvSpPr>
          <p:nvPr>
            <p:ph type="title" hasCustomPrompt="1"/>
          </p:nvPr>
        </p:nvSpPr>
        <p:spPr>
          <a:xfrm>
            <a:off x="460375" y="379413"/>
            <a:ext cx="4446058" cy="2192337"/>
          </a:xfrm>
        </p:spPr>
        <p:txBody>
          <a:bodyPr anchor="b">
            <a:noAutofit/>
          </a:bodyPr>
          <a:lstStyle>
            <a:lvl1pPr>
              <a:defRPr sz="42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sp>
        <p:nvSpPr>
          <p:cNvPr id="6" name="Subtitle 2">
            <a:extLst>
              <a:ext uri="{FF2B5EF4-FFF2-40B4-BE49-F238E27FC236}">
                <a16:creationId xmlns:a16="http://schemas.microsoft.com/office/drawing/2014/main" id="{56176E85-8408-4B89-A7FD-D33D192C3CE4}"/>
              </a:ext>
            </a:extLst>
          </p:cNvPr>
          <p:cNvSpPr>
            <a:spLocks noGrp="1"/>
          </p:cNvSpPr>
          <p:nvPr>
            <p:ph type="subTitle" idx="1" hasCustomPrompt="1"/>
          </p:nvPr>
        </p:nvSpPr>
        <p:spPr>
          <a:xfrm>
            <a:off x="460375" y="2851099"/>
            <a:ext cx="4111625" cy="1001806"/>
          </a:xfrm>
        </p:spPr>
        <p:txBody>
          <a:bodyPr/>
          <a:lstStyle>
            <a:lvl1pPr marL="0" indent="0" algn="l">
              <a:lnSpc>
                <a:spcPct val="100000"/>
              </a:lnSpc>
              <a:buNone/>
              <a:defRPr sz="26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3" name="Date Placeholder 8">
            <a:extLst>
              <a:ext uri="{FF2B5EF4-FFF2-40B4-BE49-F238E27FC236}">
                <a16:creationId xmlns:a16="http://schemas.microsoft.com/office/drawing/2014/main" id="{C6D253A4-9E71-17BB-14ED-6271A75930B9}"/>
              </a:ext>
            </a:extLst>
          </p:cNvPr>
          <p:cNvSpPr>
            <a:spLocks noGrp="1"/>
          </p:cNvSpPr>
          <p:nvPr>
            <p:ph type="dt" sz="half" idx="2"/>
          </p:nvPr>
        </p:nvSpPr>
        <p:spPr>
          <a:xfrm>
            <a:off x="460375" y="4320114"/>
            <a:ext cx="1545007" cy="375711"/>
          </a:xfrm>
          <a:prstGeom prst="roundRect">
            <a:avLst>
              <a:gd name="adj" fmla="val 50000"/>
            </a:avLst>
          </a:prstGeom>
          <a:solidFill>
            <a:schemeClr val="tx1"/>
          </a:solidFill>
        </p:spPr>
        <p:txBody>
          <a:bodyPr vert="horz" wrap="none" lIns="72000" tIns="36000" rIns="72000" bIns="36000" rtlCol="0" anchor="ctr">
            <a:spAutoFit/>
          </a:bodyPr>
          <a:lstStyle>
            <a:lvl1pPr algn="l">
              <a:defRPr sz="1200">
                <a:solidFill>
                  <a:schemeClr val="bg1"/>
                </a:solidFill>
              </a:defRPr>
            </a:lvl1pPr>
          </a:lstStyle>
          <a:p>
            <a:endParaRPr lang="en-US"/>
          </a:p>
        </p:txBody>
      </p:sp>
      <p:sp>
        <p:nvSpPr>
          <p:cNvPr id="1075" name="Picture Placeholder 1074">
            <a:extLst>
              <a:ext uri="{FF2B5EF4-FFF2-40B4-BE49-F238E27FC236}">
                <a16:creationId xmlns:a16="http://schemas.microsoft.com/office/drawing/2014/main" id="{E51534D9-BBA2-4B82-27F2-0EDD9723BC0B}"/>
              </a:ext>
            </a:extLst>
          </p:cNvPr>
          <p:cNvSpPr>
            <a:spLocks noGrp="1"/>
          </p:cNvSpPr>
          <p:nvPr>
            <p:ph type="pic" sz="quarter" idx="10"/>
          </p:nvPr>
        </p:nvSpPr>
        <p:spPr>
          <a:xfrm>
            <a:off x="4322763" y="3"/>
            <a:ext cx="4819650" cy="5143499"/>
          </a:xfrm>
          <a:custGeom>
            <a:avLst/>
            <a:gdLst>
              <a:gd name="connsiteX0" fmla="*/ 3742286 w 4819650"/>
              <a:gd name="connsiteY0" fmla="*/ 4731402 h 5143499"/>
              <a:gd name="connsiteX1" fmla="*/ 3762891 w 4819650"/>
              <a:gd name="connsiteY1" fmla="*/ 4756413 h 5143499"/>
              <a:gd name="connsiteX2" fmla="*/ 3742286 w 4819650"/>
              <a:gd name="connsiteY2" fmla="*/ 4781755 h 5143499"/>
              <a:gd name="connsiteX3" fmla="*/ 3721823 w 4819650"/>
              <a:gd name="connsiteY3" fmla="*/ 4756413 h 5143499"/>
              <a:gd name="connsiteX4" fmla="*/ 3742286 w 4819650"/>
              <a:gd name="connsiteY4" fmla="*/ 4731402 h 5143499"/>
              <a:gd name="connsiteX5" fmla="*/ 3892112 w 4819650"/>
              <a:gd name="connsiteY5" fmla="*/ 4731379 h 5143499"/>
              <a:gd name="connsiteX6" fmla="*/ 3913356 w 4819650"/>
              <a:gd name="connsiteY6" fmla="*/ 4756555 h 5143499"/>
              <a:gd name="connsiteX7" fmla="*/ 3892112 w 4819650"/>
              <a:gd name="connsiteY7" fmla="*/ 4781732 h 5143499"/>
              <a:gd name="connsiteX8" fmla="*/ 3870867 w 4819650"/>
              <a:gd name="connsiteY8" fmla="*/ 4756555 h 5143499"/>
              <a:gd name="connsiteX9" fmla="*/ 3892112 w 4819650"/>
              <a:gd name="connsiteY9" fmla="*/ 4731379 h 5143499"/>
              <a:gd name="connsiteX10" fmla="*/ 4212654 w 4819650"/>
              <a:gd name="connsiteY10" fmla="*/ 4713284 h 5143499"/>
              <a:gd name="connsiteX11" fmla="*/ 4212654 w 4819650"/>
              <a:gd name="connsiteY11" fmla="*/ 4762855 h 5143499"/>
              <a:gd name="connsiteX12" fmla="*/ 4251378 w 4819650"/>
              <a:gd name="connsiteY12" fmla="*/ 4801413 h 5143499"/>
              <a:gd name="connsiteX13" fmla="*/ 4290101 w 4819650"/>
              <a:gd name="connsiteY13" fmla="*/ 4762855 h 5143499"/>
              <a:gd name="connsiteX14" fmla="*/ 4290101 w 4819650"/>
              <a:gd name="connsiteY14" fmla="*/ 4713284 h 5143499"/>
              <a:gd name="connsiteX15" fmla="*/ 4290054 w 4819650"/>
              <a:gd name="connsiteY15" fmla="*/ 4713284 h 5143499"/>
              <a:gd name="connsiteX16" fmla="*/ 4269283 w 4819650"/>
              <a:gd name="connsiteY16" fmla="*/ 4713284 h 5143499"/>
              <a:gd name="connsiteX17" fmla="*/ 4269283 w 4819650"/>
              <a:gd name="connsiteY17" fmla="*/ 4762855 h 5143499"/>
              <a:gd name="connsiteX18" fmla="*/ 4251354 w 4819650"/>
              <a:gd name="connsiteY18" fmla="*/ 4781731 h 5143499"/>
              <a:gd name="connsiteX19" fmla="*/ 4233425 w 4819650"/>
              <a:gd name="connsiteY19" fmla="*/ 4762855 h 5143499"/>
              <a:gd name="connsiteX20" fmla="*/ 4233425 w 4819650"/>
              <a:gd name="connsiteY20" fmla="*/ 4713284 h 5143499"/>
              <a:gd name="connsiteX21" fmla="*/ 4031541 w 4819650"/>
              <a:gd name="connsiteY21" fmla="*/ 4713284 h 5143499"/>
              <a:gd name="connsiteX22" fmla="*/ 4031541 w 4819650"/>
              <a:gd name="connsiteY22" fmla="*/ 4799826 h 5143499"/>
              <a:gd name="connsiteX23" fmla="*/ 4052312 w 4819650"/>
              <a:gd name="connsiteY23" fmla="*/ 4799826 h 5143499"/>
              <a:gd name="connsiteX24" fmla="*/ 4052312 w 4819650"/>
              <a:gd name="connsiteY24" fmla="*/ 4713284 h 5143499"/>
              <a:gd name="connsiteX25" fmla="*/ 3936473 w 4819650"/>
              <a:gd name="connsiteY25" fmla="*/ 4713284 h 5143499"/>
              <a:gd name="connsiteX26" fmla="*/ 3966836 w 4819650"/>
              <a:gd name="connsiteY26" fmla="*/ 4756247 h 5143499"/>
              <a:gd name="connsiteX27" fmla="*/ 3936473 w 4819650"/>
              <a:gd name="connsiteY27" fmla="*/ 4799850 h 5143499"/>
              <a:gd name="connsiteX28" fmla="*/ 3959447 w 4819650"/>
              <a:gd name="connsiteY28" fmla="*/ 4799850 h 5143499"/>
              <a:gd name="connsiteX29" fmla="*/ 3978181 w 4819650"/>
              <a:gd name="connsiteY29" fmla="*/ 4771689 h 5143499"/>
              <a:gd name="connsiteX30" fmla="*/ 3996915 w 4819650"/>
              <a:gd name="connsiteY30" fmla="*/ 4799850 h 5143499"/>
              <a:gd name="connsiteX31" fmla="*/ 4019889 w 4819650"/>
              <a:gd name="connsiteY31" fmla="*/ 4799850 h 5143499"/>
              <a:gd name="connsiteX32" fmla="*/ 3989668 w 4819650"/>
              <a:gd name="connsiteY32" fmla="*/ 4756247 h 5143499"/>
              <a:gd name="connsiteX33" fmla="*/ 4019889 w 4819650"/>
              <a:gd name="connsiteY33" fmla="*/ 4713284 h 5143499"/>
              <a:gd name="connsiteX34" fmla="*/ 3996749 w 4819650"/>
              <a:gd name="connsiteY34" fmla="*/ 4713284 h 5143499"/>
              <a:gd name="connsiteX35" fmla="*/ 3978181 w 4819650"/>
              <a:gd name="connsiteY35" fmla="*/ 4741137 h 5143499"/>
              <a:gd name="connsiteX36" fmla="*/ 3959612 w 4819650"/>
              <a:gd name="connsiteY36" fmla="*/ 4713284 h 5143499"/>
              <a:gd name="connsiteX37" fmla="*/ 4336238 w 4819650"/>
              <a:gd name="connsiteY37" fmla="*/ 4711721 h 5143499"/>
              <a:gd name="connsiteX38" fmla="*/ 4304596 w 4819650"/>
              <a:gd name="connsiteY38" fmla="*/ 4737063 h 5143499"/>
              <a:gd name="connsiteX39" fmla="*/ 4330080 w 4819650"/>
              <a:gd name="connsiteY39" fmla="*/ 4761932 h 5143499"/>
              <a:gd name="connsiteX40" fmla="*/ 4336073 w 4819650"/>
              <a:gd name="connsiteY40" fmla="*/ 4764134 h 5143499"/>
              <a:gd name="connsiteX41" fmla="*/ 4351657 w 4819650"/>
              <a:gd name="connsiteY41" fmla="*/ 4774982 h 5143499"/>
              <a:gd name="connsiteX42" fmla="*/ 4337186 w 4819650"/>
              <a:gd name="connsiteY42" fmla="*/ 4782845 h 5143499"/>
              <a:gd name="connsiteX43" fmla="*/ 4308220 w 4819650"/>
              <a:gd name="connsiteY43" fmla="*/ 4775763 h 5143499"/>
              <a:gd name="connsiteX44" fmla="*/ 4303341 w 4819650"/>
              <a:gd name="connsiteY44" fmla="*/ 4793858 h 5143499"/>
              <a:gd name="connsiteX45" fmla="*/ 4338109 w 4819650"/>
              <a:gd name="connsiteY45" fmla="*/ 4801413 h 5143499"/>
              <a:gd name="connsiteX46" fmla="*/ 4372404 w 4819650"/>
              <a:gd name="connsiteY46" fmla="*/ 4774342 h 5143499"/>
              <a:gd name="connsiteX47" fmla="*/ 4372452 w 4819650"/>
              <a:gd name="connsiteY47" fmla="*/ 4774366 h 5143499"/>
              <a:gd name="connsiteX48" fmla="*/ 4345688 w 4819650"/>
              <a:gd name="connsiteY48" fmla="*/ 4747768 h 5143499"/>
              <a:gd name="connsiteX49" fmla="*/ 4339388 w 4819650"/>
              <a:gd name="connsiteY49" fmla="*/ 4745400 h 5143499"/>
              <a:gd name="connsiteX50" fmla="*/ 4325391 w 4819650"/>
              <a:gd name="connsiteY50" fmla="*/ 4736116 h 5143499"/>
              <a:gd name="connsiteX51" fmla="*/ 4336096 w 4819650"/>
              <a:gd name="connsiteY51" fmla="*/ 4730124 h 5143499"/>
              <a:gd name="connsiteX52" fmla="*/ 4363783 w 4819650"/>
              <a:gd name="connsiteY52" fmla="*/ 4734221 h 5143499"/>
              <a:gd name="connsiteX53" fmla="*/ 4367715 w 4819650"/>
              <a:gd name="connsiteY53" fmla="*/ 4716434 h 5143499"/>
              <a:gd name="connsiteX54" fmla="*/ 4336238 w 4819650"/>
              <a:gd name="connsiteY54" fmla="*/ 4711721 h 5143499"/>
              <a:gd name="connsiteX55" fmla="*/ 4107093 w 4819650"/>
              <a:gd name="connsiteY55" fmla="*/ 4711721 h 5143499"/>
              <a:gd name="connsiteX56" fmla="*/ 4070430 w 4819650"/>
              <a:gd name="connsiteY56" fmla="*/ 4744760 h 5143499"/>
              <a:gd name="connsiteX57" fmla="*/ 4070430 w 4819650"/>
              <a:gd name="connsiteY57" fmla="*/ 4799850 h 5143499"/>
              <a:gd name="connsiteX58" fmla="*/ 4091201 w 4819650"/>
              <a:gd name="connsiteY58" fmla="*/ 4799850 h 5143499"/>
              <a:gd name="connsiteX59" fmla="*/ 4091201 w 4819650"/>
              <a:gd name="connsiteY59" fmla="*/ 4746182 h 5143499"/>
              <a:gd name="connsiteX60" fmla="*/ 4106927 w 4819650"/>
              <a:gd name="connsiteY60" fmla="*/ 4731379 h 5143499"/>
              <a:gd name="connsiteX61" fmla="*/ 4122985 w 4819650"/>
              <a:gd name="connsiteY61" fmla="*/ 4746182 h 5143499"/>
              <a:gd name="connsiteX62" fmla="*/ 4122985 w 4819650"/>
              <a:gd name="connsiteY62" fmla="*/ 4799850 h 5143499"/>
              <a:gd name="connsiteX63" fmla="*/ 4143591 w 4819650"/>
              <a:gd name="connsiteY63" fmla="*/ 4799850 h 5143499"/>
              <a:gd name="connsiteX64" fmla="*/ 4143591 w 4819650"/>
              <a:gd name="connsiteY64" fmla="*/ 4746182 h 5143499"/>
              <a:gd name="connsiteX65" fmla="*/ 4159648 w 4819650"/>
              <a:gd name="connsiteY65" fmla="*/ 4731379 h 5143499"/>
              <a:gd name="connsiteX66" fmla="*/ 4175375 w 4819650"/>
              <a:gd name="connsiteY66" fmla="*/ 4746182 h 5143499"/>
              <a:gd name="connsiteX67" fmla="*/ 4175375 w 4819650"/>
              <a:gd name="connsiteY67" fmla="*/ 4799850 h 5143499"/>
              <a:gd name="connsiteX68" fmla="*/ 4196146 w 4819650"/>
              <a:gd name="connsiteY68" fmla="*/ 4799850 h 5143499"/>
              <a:gd name="connsiteX69" fmla="*/ 4196146 w 4819650"/>
              <a:gd name="connsiteY69" fmla="*/ 4744760 h 5143499"/>
              <a:gd name="connsiteX70" fmla="*/ 4159648 w 4819650"/>
              <a:gd name="connsiteY70" fmla="*/ 4711721 h 5143499"/>
              <a:gd name="connsiteX71" fmla="*/ 4133525 w 4819650"/>
              <a:gd name="connsiteY71" fmla="*/ 4722426 h 5143499"/>
              <a:gd name="connsiteX72" fmla="*/ 4107093 w 4819650"/>
              <a:gd name="connsiteY72" fmla="*/ 4711721 h 5143499"/>
              <a:gd name="connsiteX73" fmla="*/ 3892112 w 4819650"/>
              <a:gd name="connsiteY73" fmla="*/ 4711721 h 5143499"/>
              <a:gd name="connsiteX74" fmla="*/ 3849930 w 4819650"/>
              <a:gd name="connsiteY74" fmla="*/ 4756413 h 5143499"/>
              <a:gd name="connsiteX75" fmla="*/ 3892112 w 4819650"/>
              <a:gd name="connsiteY75" fmla="*/ 4801413 h 5143499"/>
              <a:gd name="connsiteX76" fmla="*/ 3934293 w 4819650"/>
              <a:gd name="connsiteY76" fmla="*/ 4756413 h 5143499"/>
              <a:gd name="connsiteX77" fmla="*/ 3892112 w 4819650"/>
              <a:gd name="connsiteY77" fmla="*/ 4711721 h 5143499"/>
              <a:gd name="connsiteX78" fmla="*/ 3837662 w 4819650"/>
              <a:gd name="connsiteY78" fmla="*/ 4711697 h 5143499"/>
              <a:gd name="connsiteX79" fmla="*/ 3799412 w 4819650"/>
              <a:gd name="connsiteY79" fmla="*/ 4749000 h 5143499"/>
              <a:gd name="connsiteX80" fmla="*/ 3799412 w 4819650"/>
              <a:gd name="connsiteY80" fmla="*/ 4799826 h 5143499"/>
              <a:gd name="connsiteX81" fmla="*/ 3820183 w 4819650"/>
              <a:gd name="connsiteY81" fmla="*/ 4799826 h 5143499"/>
              <a:gd name="connsiteX82" fmla="*/ 3820183 w 4819650"/>
              <a:gd name="connsiteY82" fmla="*/ 4750563 h 5143499"/>
              <a:gd name="connsiteX83" fmla="*/ 3837662 w 4819650"/>
              <a:gd name="connsiteY83" fmla="*/ 4731994 h 5143499"/>
              <a:gd name="connsiteX84" fmla="*/ 3842707 w 4819650"/>
              <a:gd name="connsiteY84" fmla="*/ 4732302 h 5143499"/>
              <a:gd name="connsiteX85" fmla="*/ 3846165 w 4819650"/>
              <a:gd name="connsiteY85" fmla="*/ 4712479 h 5143499"/>
              <a:gd name="connsiteX86" fmla="*/ 3837662 w 4819650"/>
              <a:gd name="connsiteY86" fmla="*/ 4711697 h 5143499"/>
              <a:gd name="connsiteX87" fmla="*/ 3742286 w 4819650"/>
              <a:gd name="connsiteY87" fmla="*/ 4711697 h 5143499"/>
              <a:gd name="connsiteX88" fmla="*/ 3701052 w 4819650"/>
              <a:gd name="connsiteY88" fmla="*/ 4755915 h 5143499"/>
              <a:gd name="connsiteX89" fmla="*/ 3701052 w 4819650"/>
              <a:gd name="connsiteY89" fmla="*/ 4834452 h 5143499"/>
              <a:gd name="connsiteX90" fmla="*/ 3721823 w 4819650"/>
              <a:gd name="connsiteY90" fmla="*/ 4834452 h 5143499"/>
              <a:gd name="connsiteX91" fmla="*/ 3721823 w 4819650"/>
              <a:gd name="connsiteY91" fmla="*/ 4795586 h 5143499"/>
              <a:gd name="connsiteX92" fmla="*/ 3742286 w 4819650"/>
              <a:gd name="connsiteY92" fmla="*/ 4801413 h 5143499"/>
              <a:gd name="connsiteX93" fmla="*/ 3783828 w 4819650"/>
              <a:gd name="connsiteY93" fmla="*/ 4756413 h 5143499"/>
              <a:gd name="connsiteX94" fmla="*/ 3783828 w 4819650"/>
              <a:gd name="connsiteY94" fmla="*/ 4756389 h 5143499"/>
              <a:gd name="connsiteX95" fmla="*/ 3742286 w 4819650"/>
              <a:gd name="connsiteY95" fmla="*/ 4711697 h 5143499"/>
              <a:gd name="connsiteX96" fmla="*/ 3966385 w 4819650"/>
              <a:gd name="connsiteY96" fmla="*/ 4531816 h 5143499"/>
              <a:gd name="connsiteX97" fmla="*/ 3946680 w 4819650"/>
              <a:gd name="connsiteY97" fmla="*/ 4572481 h 5143499"/>
              <a:gd name="connsiteX98" fmla="*/ 3946656 w 4819650"/>
              <a:gd name="connsiteY98" fmla="*/ 4572458 h 5143499"/>
              <a:gd name="connsiteX99" fmla="*/ 3946112 w 4819650"/>
              <a:gd name="connsiteY99" fmla="*/ 4573168 h 5143499"/>
              <a:gd name="connsiteX100" fmla="*/ 3925933 w 4819650"/>
              <a:gd name="connsiteY100" fmla="*/ 4587284 h 5143499"/>
              <a:gd name="connsiteX101" fmla="*/ 3915985 w 4819650"/>
              <a:gd name="connsiteY101" fmla="*/ 4582192 h 5143499"/>
              <a:gd name="connsiteX102" fmla="*/ 3910893 w 4819650"/>
              <a:gd name="connsiteY102" fmla="*/ 4572244 h 5143499"/>
              <a:gd name="connsiteX103" fmla="*/ 3925009 w 4819650"/>
              <a:gd name="connsiteY103" fmla="*/ 4552066 h 5143499"/>
              <a:gd name="connsiteX104" fmla="*/ 3925720 w 4819650"/>
              <a:gd name="connsiteY104" fmla="*/ 4551521 h 5143499"/>
              <a:gd name="connsiteX105" fmla="*/ 3966385 w 4819650"/>
              <a:gd name="connsiteY105" fmla="*/ 4531816 h 5143499"/>
              <a:gd name="connsiteX106" fmla="*/ 4107045 w 4819650"/>
              <a:gd name="connsiteY106" fmla="*/ 4531815 h 5143499"/>
              <a:gd name="connsiteX107" fmla="*/ 4147664 w 4819650"/>
              <a:gd name="connsiteY107" fmla="*/ 4551497 h 5143499"/>
              <a:gd name="connsiteX108" fmla="*/ 4148375 w 4819650"/>
              <a:gd name="connsiteY108" fmla="*/ 4552042 h 5143499"/>
              <a:gd name="connsiteX109" fmla="*/ 4162491 w 4819650"/>
              <a:gd name="connsiteY109" fmla="*/ 4572221 h 5143499"/>
              <a:gd name="connsiteX110" fmla="*/ 4157398 w 4819650"/>
              <a:gd name="connsiteY110" fmla="*/ 4582168 h 5143499"/>
              <a:gd name="connsiteX111" fmla="*/ 4147451 w 4819650"/>
              <a:gd name="connsiteY111" fmla="*/ 4587260 h 5143499"/>
              <a:gd name="connsiteX112" fmla="*/ 4127272 w 4819650"/>
              <a:gd name="connsiteY112" fmla="*/ 4573145 h 5143499"/>
              <a:gd name="connsiteX113" fmla="*/ 4126727 w 4819650"/>
              <a:gd name="connsiteY113" fmla="*/ 4572434 h 5143499"/>
              <a:gd name="connsiteX114" fmla="*/ 4107022 w 4819650"/>
              <a:gd name="connsiteY114" fmla="*/ 4531768 h 5143499"/>
              <a:gd name="connsiteX115" fmla="*/ 4107045 w 4819650"/>
              <a:gd name="connsiteY115" fmla="*/ 4531815 h 5143499"/>
              <a:gd name="connsiteX116" fmla="*/ 4106998 w 4819650"/>
              <a:gd name="connsiteY116" fmla="*/ 4531792 h 5143499"/>
              <a:gd name="connsiteX117" fmla="*/ 4017496 w 4819650"/>
              <a:gd name="connsiteY117" fmla="*/ 4442289 h 5143499"/>
              <a:gd name="connsiteX118" fmla="*/ 4036704 w 4819650"/>
              <a:gd name="connsiteY118" fmla="*/ 4442881 h 5143499"/>
              <a:gd name="connsiteX119" fmla="*/ 4055864 w 4819650"/>
              <a:gd name="connsiteY119" fmla="*/ 4442289 h 5143499"/>
              <a:gd name="connsiteX120" fmla="*/ 4055272 w 4819650"/>
              <a:gd name="connsiteY120" fmla="*/ 4461497 h 5143499"/>
              <a:gd name="connsiteX121" fmla="*/ 4055864 w 4819650"/>
              <a:gd name="connsiteY121" fmla="*/ 4480658 h 5143499"/>
              <a:gd name="connsiteX122" fmla="*/ 4036656 w 4819650"/>
              <a:gd name="connsiteY122" fmla="*/ 4480066 h 5143499"/>
              <a:gd name="connsiteX123" fmla="*/ 4017496 w 4819650"/>
              <a:gd name="connsiteY123" fmla="*/ 4480658 h 5143499"/>
              <a:gd name="connsiteX124" fmla="*/ 4018088 w 4819650"/>
              <a:gd name="connsiteY124" fmla="*/ 4461450 h 5143499"/>
              <a:gd name="connsiteX125" fmla="*/ 4017496 w 4819650"/>
              <a:gd name="connsiteY125" fmla="*/ 4442289 h 5143499"/>
              <a:gd name="connsiteX126" fmla="*/ 3966316 w 4819650"/>
              <a:gd name="connsiteY126" fmla="*/ 4391133 h 5143499"/>
              <a:gd name="connsiteX127" fmla="*/ 3966362 w 4819650"/>
              <a:gd name="connsiteY127" fmla="*/ 4391155 h 5143499"/>
              <a:gd name="connsiteX128" fmla="*/ 3966338 w 4819650"/>
              <a:gd name="connsiteY128" fmla="*/ 4391179 h 5143499"/>
              <a:gd name="connsiteX129" fmla="*/ 3925909 w 4819650"/>
              <a:gd name="connsiteY129" fmla="*/ 4335687 h 5143499"/>
              <a:gd name="connsiteX130" fmla="*/ 3946088 w 4819650"/>
              <a:gd name="connsiteY130" fmla="*/ 4349802 h 5143499"/>
              <a:gd name="connsiteX131" fmla="*/ 3946633 w 4819650"/>
              <a:gd name="connsiteY131" fmla="*/ 4350513 h 5143499"/>
              <a:gd name="connsiteX132" fmla="*/ 3966316 w 4819650"/>
              <a:gd name="connsiteY132" fmla="*/ 4391133 h 5143499"/>
              <a:gd name="connsiteX133" fmla="*/ 3925696 w 4819650"/>
              <a:gd name="connsiteY133" fmla="*/ 4371450 h 5143499"/>
              <a:gd name="connsiteX134" fmla="*/ 3924985 w 4819650"/>
              <a:gd name="connsiteY134" fmla="*/ 4370905 h 5143499"/>
              <a:gd name="connsiteX135" fmla="*/ 3910870 w 4819650"/>
              <a:gd name="connsiteY135" fmla="*/ 4350726 h 5143499"/>
              <a:gd name="connsiteX136" fmla="*/ 3915962 w 4819650"/>
              <a:gd name="connsiteY136" fmla="*/ 4340779 h 5143499"/>
              <a:gd name="connsiteX137" fmla="*/ 3925909 w 4819650"/>
              <a:gd name="connsiteY137" fmla="*/ 4335687 h 5143499"/>
              <a:gd name="connsiteX138" fmla="*/ 4147427 w 4819650"/>
              <a:gd name="connsiteY138" fmla="*/ 4335639 h 5143499"/>
              <a:gd name="connsiteX139" fmla="*/ 4157375 w 4819650"/>
              <a:gd name="connsiteY139" fmla="*/ 4340731 h 5143499"/>
              <a:gd name="connsiteX140" fmla="*/ 4162467 w 4819650"/>
              <a:gd name="connsiteY140" fmla="*/ 4350679 h 5143499"/>
              <a:gd name="connsiteX141" fmla="*/ 4148351 w 4819650"/>
              <a:gd name="connsiteY141" fmla="*/ 4370858 h 5143499"/>
              <a:gd name="connsiteX142" fmla="*/ 4147641 w 4819650"/>
              <a:gd name="connsiteY142" fmla="*/ 4371402 h 5143499"/>
              <a:gd name="connsiteX143" fmla="*/ 4106975 w 4819650"/>
              <a:gd name="connsiteY143" fmla="*/ 4391108 h 5143499"/>
              <a:gd name="connsiteX144" fmla="*/ 4126680 w 4819650"/>
              <a:gd name="connsiteY144" fmla="*/ 4350442 h 5143499"/>
              <a:gd name="connsiteX145" fmla="*/ 4126704 w 4819650"/>
              <a:gd name="connsiteY145" fmla="*/ 4350466 h 5143499"/>
              <a:gd name="connsiteX146" fmla="*/ 4127248 w 4819650"/>
              <a:gd name="connsiteY146" fmla="*/ 4349755 h 5143499"/>
              <a:gd name="connsiteX147" fmla="*/ 4147427 w 4819650"/>
              <a:gd name="connsiteY147" fmla="*/ 4335639 h 5143499"/>
              <a:gd name="connsiteX148" fmla="*/ 3929201 w 4819650"/>
              <a:gd name="connsiteY148" fmla="*/ 4293694 h 5143499"/>
              <a:gd name="connsiteX149" fmla="*/ 3886238 w 4819650"/>
              <a:gd name="connsiteY149" fmla="*/ 4310984 h 5143499"/>
              <a:gd name="connsiteX150" fmla="*/ 3868948 w 4819650"/>
              <a:gd name="connsiteY150" fmla="*/ 4353947 h 5143499"/>
              <a:gd name="connsiteX151" fmla="*/ 3899691 w 4819650"/>
              <a:gd name="connsiteY151" fmla="*/ 4404466 h 5143499"/>
              <a:gd name="connsiteX152" fmla="*/ 3974912 w 4819650"/>
              <a:gd name="connsiteY152" fmla="*/ 4436723 h 5143499"/>
              <a:gd name="connsiteX153" fmla="*/ 3976048 w 4819650"/>
              <a:gd name="connsiteY153" fmla="*/ 4461473 h 5143499"/>
              <a:gd name="connsiteX154" fmla="*/ 3974912 w 4819650"/>
              <a:gd name="connsiteY154" fmla="*/ 4486152 h 5143499"/>
              <a:gd name="connsiteX155" fmla="*/ 3899691 w 4819650"/>
              <a:gd name="connsiteY155" fmla="*/ 4518410 h 5143499"/>
              <a:gd name="connsiteX156" fmla="*/ 3868948 w 4819650"/>
              <a:gd name="connsiteY156" fmla="*/ 4568929 h 5143499"/>
              <a:gd name="connsiteX157" fmla="*/ 3886238 w 4819650"/>
              <a:gd name="connsiteY157" fmla="*/ 4611892 h 5143499"/>
              <a:gd name="connsiteX158" fmla="*/ 3929201 w 4819650"/>
              <a:gd name="connsiteY158" fmla="*/ 4629181 h 5143499"/>
              <a:gd name="connsiteX159" fmla="*/ 3979720 w 4819650"/>
              <a:gd name="connsiteY159" fmla="*/ 4598439 h 5143499"/>
              <a:gd name="connsiteX160" fmla="*/ 4011977 w 4819650"/>
              <a:gd name="connsiteY160" fmla="*/ 4523218 h 5143499"/>
              <a:gd name="connsiteX161" fmla="*/ 4036656 w 4819650"/>
              <a:gd name="connsiteY161" fmla="*/ 4522081 h 5143499"/>
              <a:gd name="connsiteX162" fmla="*/ 4061406 w 4819650"/>
              <a:gd name="connsiteY162" fmla="*/ 4523218 h 5143499"/>
              <a:gd name="connsiteX163" fmla="*/ 4093664 w 4819650"/>
              <a:gd name="connsiteY163" fmla="*/ 4598439 h 5143499"/>
              <a:gd name="connsiteX164" fmla="*/ 4144183 w 4819650"/>
              <a:gd name="connsiteY164" fmla="*/ 4629181 h 5143499"/>
              <a:gd name="connsiteX165" fmla="*/ 4187146 w 4819650"/>
              <a:gd name="connsiteY165" fmla="*/ 4611892 h 5143499"/>
              <a:gd name="connsiteX166" fmla="*/ 4204435 w 4819650"/>
              <a:gd name="connsiteY166" fmla="*/ 4568929 h 5143499"/>
              <a:gd name="connsiteX167" fmla="*/ 4173693 w 4819650"/>
              <a:gd name="connsiteY167" fmla="*/ 4518410 h 5143499"/>
              <a:gd name="connsiteX168" fmla="*/ 4098472 w 4819650"/>
              <a:gd name="connsiteY168" fmla="*/ 4486152 h 5143499"/>
              <a:gd name="connsiteX169" fmla="*/ 4097335 w 4819650"/>
              <a:gd name="connsiteY169" fmla="*/ 4461402 h 5143499"/>
              <a:gd name="connsiteX170" fmla="*/ 4098472 w 4819650"/>
              <a:gd name="connsiteY170" fmla="*/ 4436723 h 5143499"/>
              <a:gd name="connsiteX171" fmla="*/ 4173693 w 4819650"/>
              <a:gd name="connsiteY171" fmla="*/ 4404466 h 5143499"/>
              <a:gd name="connsiteX172" fmla="*/ 4204435 w 4819650"/>
              <a:gd name="connsiteY172" fmla="*/ 4353947 h 5143499"/>
              <a:gd name="connsiteX173" fmla="*/ 4187146 w 4819650"/>
              <a:gd name="connsiteY173" fmla="*/ 4310984 h 5143499"/>
              <a:gd name="connsiteX174" fmla="*/ 4144183 w 4819650"/>
              <a:gd name="connsiteY174" fmla="*/ 4293694 h 5143499"/>
              <a:gd name="connsiteX175" fmla="*/ 4093664 w 4819650"/>
              <a:gd name="connsiteY175" fmla="*/ 4324437 h 5143499"/>
              <a:gd name="connsiteX176" fmla="*/ 4061406 w 4819650"/>
              <a:gd name="connsiteY176" fmla="*/ 4399658 h 5143499"/>
              <a:gd name="connsiteX177" fmla="*/ 4036727 w 4819650"/>
              <a:gd name="connsiteY177" fmla="*/ 4400794 h 5143499"/>
              <a:gd name="connsiteX178" fmla="*/ 4011977 w 4819650"/>
              <a:gd name="connsiteY178" fmla="*/ 4399658 h 5143499"/>
              <a:gd name="connsiteX179" fmla="*/ 3979720 w 4819650"/>
              <a:gd name="connsiteY179" fmla="*/ 4324437 h 5143499"/>
              <a:gd name="connsiteX180" fmla="*/ 3929201 w 4819650"/>
              <a:gd name="connsiteY180" fmla="*/ 4293694 h 5143499"/>
              <a:gd name="connsiteX181" fmla="*/ 2094551 w 4819650"/>
              <a:gd name="connsiteY181" fmla="*/ 0 h 5143499"/>
              <a:gd name="connsiteX182" fmla="*/ 4819650 w 4819650"/>
              <a:gd name="connsiteY182" fmla="*/ 0 h 5143499"/>
              <a:gd name="connsiteX183" fmla="*/ 4819650 w 4819650"/>
              <a:gd name="connsiteY183" fmla="*/ 5143499 h 5143499"/>
              <a:gd name="connsiteX184" fmla="*/ 0 w 4819650"/>
              <a:gd name="connsiteY184" fmla="*/ 5143499 h 5143499"/>
              <a:gd name="connsiteX185" fmla="*/ 0 w 4819650"/>
              <a:gd name="connsiteY185" fmla="*/ 5143498 h 5143499"/>
              <a:gd name="connsiteX186" fmla="*/ 371745 w 4819650"/>
              <a:gd name="connsiteY186" fmla="*/ 5143498 h 5143499"/>
              <a:gd name="connsiteX187" fmla="*/ 1206499 w 4819650"/>
              <a:gd name="connsiteY187" fmla="*/ 1821610 h 5143499"/>
              <a:gd name="connsiteX188" fmla="*/ 2048326 w 4819650"/>
              <a:gd name="connsiteY188" fmla="*/ 58253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4819650" h="5143499">
                <a:moveTo>
                  <a:pt x="3742286" y="4731402"/>
                </a:moveTo>
                <a:cubicBezTo>
                  <a:pt x="3754863" y="4731402"/>
                  <a:pt x="3762891" y="4738792"/>
                  <a:pt x="3762891" y="4756413"/>
                </a:cubicBezTo>
                <a:cubicBezTo>
                  <a:pt x="3762891" y="4774365"/>
                  <a:pt x="3754720" y="4781755"/>
                  <a:pt x="3742286" y="4781755"/>
                </a:cubicBezTo>
                <a:cubicBezTo>
                  <a:pt x="3729852" y="4781755"/>
                  <a:pt x="3721823" y="4774034"/>
                  <a:pt x="3721823" y="4756413"/>
                </a:cubicBezTo>
                <a:cubicBezTo>
                  <a:pt x="3721823" y="4738792"/>
                  <a:pt x="3729710" y="4731402"/>
                  <a:pt x="3742286" y="4731402"/>
                </a:cubicBezTo>
                <a:close/>
                <a:moveTo>
                  <a:pt x="3892112" y="4731379"/>
                </a:moveTo>
                <a:cubicBezTo>
                  <a:pt x="3904380" y="4731379"/>
                  <a:pt x="3913356" y="4738768"/>
                  <a:pt x="3913356" y="4756555"/>
                </a:cubicBezTo>
                <a:cubicBezTo>
                  <a:pt x="3913356" y="4774342"/>
                  <a:pt x="3904546" y="4781732"/>
                  <a:pt x="3892112" y="4781732"/>
                </a:cubicBezTo>
                <a:cubicBezTo>
                  <a:pt x="3879677" y="4781732"/>
                  <a:pt x="3870867" y="4774342"/>
                  <a:pt x="3870867" y="4756555"/>
                </a:cubicBezTo>
                <a:cubicBezTo>
                  <a:pt x="3870867" y="4738768"/>
                  <a:pt x="3879677" y="4731379"/>
                  <a:pt x="3892112" y="4731379"/>
                </a:cubicBezTo>
                <a:close/>
                <a:moveTo>
                  <a:pt x="4212654" y="4713284"/>
                </a:moveTo>
                <a:lnTo>
                  <a:pt x="4212654" y="4762855"/>
                </a:lnTo>
                <a:cubicBezTo>
                  <a:pt x="4212654" y="4788671"/>
                  <a:pt x="4225870" y="4801413"/>
                  <a:pt x="4251378" y="4801413"/>
                </a:cubicBezTo>
                <a:cubicBezTo>
                  <a:pt x="4276886" y="4801413"/>
                  <a:pt x="4290101" y="4788671"/>
                  <a:pt x="4290101" y="4762855"/>
                </a:cubicBezTo>
                <a:lnTo>
                  <a:pt x="4290101" y="4713284"/>
                </a:lnTo>
                <a:lnTo>
                  <a:pt x="4290054" y="4713284"/>
                </a:lnTo>
                <a:lnTo>
                  <a:pt x="4269283" y="4713284"/>
                </a:lnTo>
                <a:lnTo>
                  <a:pt x="4269283" y="4762855"/>
                </a:lnTo>
                <a:cubicBezTo>
                  <a:pt x="4269283" y="4777160"/>
                  <a:pt x="4261254" y="4781731"/>
                  <a:pt x="4251354" y="4781731"/>
                </a:cubicBezTo>
                <a:cubicBezTo>
                  <a:pt x="4241454" y="4781731"/>
                  <a:pt x="4233425" y="4777184"/>
                  <a:pt x="4233425" y="4762855"/>
                </a:cubicBezTo>
                <a:lnTo>
                  <a:pt x="4233425" y="4713284"/>
                </a:lnTo>
                <a:close/>
                <a:moveTo>
                  <a:pt x="4031541" y="4713284"/>
                </a:moveTo>
                <a:lnTo>
                  <a:pt x="4031541" y="4799826"/>
                </a:lnTo>
                <a:lnTo>
                  <a:pt x="4052312" y="4799826"/>
                </a:lnTo>
                <a:lnTo>
                  <a:pt x="4052312" y="4713284"/>
                </a:lnTo>
                <a:close/>
                <a:moveTo>
                  <a:pt x="3936473" y="4713284"/>
                </a:moveTo>
                <a:lnTo>
                  <a:pt x="3966836" y="4756247"/>
                </a:lnTo>
                <a:lnTo>
                  <a:pt x="3936473" y="4799850"/>
                </a:lnTo>
                <a:lnTo>
                  <a:pt x="3959447" y="4799850"/>
                </a:lnTo>
                <a:lnTo>
                  <a:pt x="3978181" y="4771689"/>
                </a:lnTo>
                <a:lnTo>
                  <a:pt x="3996915" y="4799850"/>
                </a:lnTo>
                <a:lnTo>
                  <a:pt x="4019889" y="4799850"/>
                </a:lnTo>
                <a:lnTo>
                  <a:pt x="3989668" y="4756247"/>
                </a:lnTo>
                <a:lnTo>
                  <a:pt x="4019889" y="4713284"/>
                </a:lnTo>
                <a:lnTo>
                  <a:pt x="3996749" y="4713284"/>
                </a:lnTo>
                <a:lnTo>
                  <a:pt x="3978181" y="4741137"/>
                </a:lnTo>
                <a:lnTo>
                  <a:pt x="3959612" y="4713284"/>
                </a:lnTo>
                <a:close/>
                <a:moveTo>
                  <a:pt x="4336238" y="4711721"/>
                </a:moveTo>
                <a:cubicBezTo>
                  <a:pt x="4310565" y="4711721"/>
                  <a:pt x="4304596" y="4724155"/>
                  <a:pt x="4304596" y="4737063"/>
                </a:cubicBezTo>
                <a:cubicBezTo>
                  <a:pt x="4304596" y="4751084"/>
                  <a:pt x="4311986" y="4755489"/>
                  <a:pt x="4330080" y="4761932"/>
                </a:cubicBezTo>
                <a:lnTo>
                  <a:pt x="4336073" y="4764134"/>
                </a:lnTo>
                <a:cubicBezTo>
                  <a:pt x="4346470" y="4767900"/>
                  <a:pt x="4351657" y="4769795"/>
                  <a:pt x="4351657" y="4774982"/>
                </a:cubicBezTo>
                <a:cubicBezTo>
                  <a:pt x="4351657" y="4779529"/>
                  <a:pt x="4346944" y="4782845"/>
                  <a:pt x="4337186" y="4782845"/>
                </a:cubicBezTo>
                <a:cubicBezTo>
                  <a:pt x="4327428" y="4782845"/>
                  <a:pt x="4318144" y="4779860"/>
                  <a:pt x="4308220" y="4775763"/>
                </a:cubicBezTo>
                <a:lnTo>
                  <a:pt x="4303341" y="4793858"/>
                </a:lnTo>
                <a:cubicBezTo>
                  <a:pt x="4312767" y="4798429"/>
                  <a:pt x="4325202" y="4801413"/>
                  <a:pt x="4338109" y="4801413"/>
                </a:cubicBezTo>
                <a:cubicBezTo>
                  <a:pt x="4363901" y="4801413"/>
                  <a:pt x="4372404" y="4789287"/>
                  <a:pt x="4372404" y="4774342"/>
                </a:cubicBezTo>
                <a:lnTo>
                  <a:pt x="4372452" y="4774366"/>
                </a:lnTo>
                <a:cubicBezTo>
                  <a:pt x="4372452" y="4760510"/>
                  <a:pt x="4364730" y="4754684"/>
                  <a:pt x="4345688" y="4747768"/>
                </a:cubicBezTo>
                <a:lnTo>
                  <a:pt x="4339388" y="4745400"/>
                </a:lnTo>
                <a:cubicBezTo>
                  <a:pt x="4328233" y="4741303"/>
                  <a:pt x="4325391" y="4740213"/>
                  <a:pt x="4325391" y="4736116"/>
                </a:cubicBezTo>
                <a:cubicBezTo>
                  <a:pt x="4325391" y="4731687"/>
                  <a:pt x="4328849" y="4730124"/>
                  <a:pt x="4336096" y="4730124"/>
                </a:cubicBezTo>
                <a:cubicBezTo>
                  <a:pt x="4344267" y="4730124"/>
                  <a:pt x="4357175" y="4732492"/>
                  <a:pt x="4363783" y="4734221"/>
                </a:cubicBezTo>
                <a:lnTo>
                  <a:pt x="4367715" y="4716434"/>
                </a:lnTo>
                <a:cubicBezTo>
                  <a:pt x="4361580" y="4714397"/>
                  <a:pt x="4347725" y="4711721"/>
                  <a:pt x="4336238" y="4711721"/>
                </a:cubicBezTo>
                <a:close/>
                <a:moveTo>
                  <a:pt x="4107093" y="4711721"/>
                </a:moveTo>
                <a:cubicBezTo>
                  <a:pt x="4086796" y="4711721"/>
                  <a:pt x="4070430" y="4722734"/>
                  <a:pt x="4070430" y="4744760"/>
                </a:cubicBezTo>
                <a:lnTo>
                  <a:pt x="4070430" y="4799850"/>
                </a:lnTo>
                <a:lnTo>
                  <a:pt x="4091201" y="4799850"/>
                </a:lnTo>
                <a:lnTo>
                  <a:pt x="4091201" y="4746182"/>
                </a:lnTo>
                <a:cubicBezTo>
                  <a:pt x="4091201" y="4737347"/>
                  <a:pt x="4094659" y="4731379"/>
                  <a:pt x="4106927" y="4731379"/>
                </a:cubicBezTo>
                <a:cubicBezTo>
                  <a:pt x="4118106" y="4731379"/>
                  <a:pt x="4122985" y="4736258"/>
                  <a:pt x="4122985" y="4746182"/>
                </a:cubicBezTo>
                <a:lnTo>
                  <a:pt x="4122985" y="4799850"/>
                </a:lnTo>
                <a:lnTo>
                  <a:pt x="4143591" y="4799850"/>
                </a:lnTo>
                <a:lnTo>
                  <a:pt x="4143591" y="4746182"/>
                </a:lnTo>
                <a:cubicBezTo>
                  <a:pt x="4143591" y="4737347"/>
                  <a:pt x="4147214" y="4731379"/>
                  <a:pt x="4159648" y="4731379"/>
                </a:cubicBezTo>
                <a:cubicBezTo>
                  <a:pt x="4170496" y="4731379"/>
                  <a:pt x="4175375" y="4736258"/>
                  <a:pt x="4175375" y="4746182"/>
                </a:cubicBezTo>
                <a:lnTo>
                  <a:pt x="4175375" y="4799850"/>
                </a:lnTo>
                <a:lnTo>
                  <a:pt x="4196146" y="4799850"/>
                </a:lnTo>
                <a:lnTo>
                  <a:pt x="4196146" y="4744760"/>
                </a:lnTo>
                <a:cubicBezTo>
                  <a:pt x="4196146" y="4721171"/>
                  <a:pt x="4178856" y="4711721"/>
                  <a:pt x="4159648" y="4711721"/>
                </a:cubicBezTo>
                <a:cubicBezTo>
                  <a:pt x="4150364" y="4711721"/>
                  <a:pt x="4139659" y="4715653"/>
                  <a:pt x="4133525" y="4722426"/>
                </a:cubicBezTo>
                <a:cubicBezTo>
                  <a:pt x="4126917" y="4715653"/>
                  <a:pt x="4116543" y="4711721"/>
                  <a:pt x="4107093" y="4711721"/>
                </a:cubicBezTo>
                <a:close/>
                <a:moveTo>
                  <a:pt x="3892112" y="4711721"/>
                </a:moveTo>
                <a:cubicBezTo>
                  <a:pt x="3868333" y="4711721"/>
                  <a:pt x="3849930" y="4727305"/>
                  <a:pt x="3849930" y="4756413"/>
                </a:cubicBezTo>
                <a:cubicBezTo>
                  <a:pt x="3849930" y="4785521"/>
                  <a:pt x="3868356" y="4801413"/>
                  <a:pt x="3892112" y="4801413"/>
                </a:cubicBezTo>
                <a:cubicBezTo>
                  <a:pt x="3915891" y="4801413"/>
                  <a:pt x="3934293" y="4785213"/>
                  <a:pt x="3934293" y="4756413"/>
                </a:cubicBezTo>
                <a:cubicBezTo>
                  <a:pt x="3934293" y="4727613"/>
                  <a:pt x="3915891" y="4711721"/>
                  <a:pt x="3892112" y="4711721"/>
                </a:cubicBezTo>
                <a:close/>
                <a:moveTo>
                  <a:pt x="3837662" y="4711697"/>
                </a:moveTo>
                <a:cubicBezTo>
                  <a:pt x="3813267" y="4711697"/>
                  <a:pt x="3799412" y="4727755"/>
                  <a:pt x="3799412" y="4749000"/>
                </a:cubicBezTo>
                <a:lnTo>
                  <a:pt x="3799412" y="4799826"/>
                </a:lnTo>
                <a:lnTo>
                  <a:pt x="3820183" y="4799826"/>
                </a:lnTo>
                <a:lnTo>
                  <a:pt x="3820183" y="4750563"/>
                </a:lnTo>
                <a:cubicBezTo>
                  <a:pt x="3820183" y="4739242"/>
                  <a:pt x="3825701" y="4731994"/>
                  <a:pt x="3837662" y="4731994"/>
                </a:cubicBezTo>
                <a:cubicBezTo>
                  <a:pt x="3839083" y="4731994"/>
                  <a:pt x="3841451" y="4732136"/>
                  <a:pt x="3842707" y="4732302"/>
                </a:cubicBezTo>
                <a:lnTo>
                  <a:pt x="3846165" y="4712479"/>
                </a:lnTo>
                <a:cubicBezTo>
                  <a:pt x="3844909" y="4712171"/>
                  <a:pt x="3841759" y="4711697"/>
                  <a:pt x="3837662" y="4711697"/>
                </a:cubicBezTo>
                <a:close/>
                <a:moveTo>
                  <a:pt x="3742286" y="4711697"/>
                </a:moveTo>
                <a:cubicBezTo>
                  <a:pt x="3718673" y="4711697"/>
                  <a:pt x="3701052" y="4727115"/>
                  <a:pt x="3701052" y="4755915"/>
                </a:cubicBezTo>
                <a:lnTo>
                  <a:pt x="3701052" y="4834452"/>
                </a:lnTo>
                <a:lnTo>
                  <a:pt x="3721823" y="4834452"/>
                </a:lnTo>
                <a:lnTo>
                  <a:pt x="3721823" y="4795586"/>
                </a:lnTo>
                <a:cubicBezTo>
                  <a:pt x="3727649" y="4799518"/>
                  <a:pt x="3734565" y="4801413"/>
                  <a:pt x="3742286" y="4801413"/>
                </a:cubicBezTo>
                <a:cubicBezTo>
                  <a:pt x="3766041" y="4801413"/>
                  <a:pt x="3783828" y="4785379"/>
                  <a:pt x="3783828" y="4756413"/>
                </a:cubicBezTo>
                <a:lnTo>
                  <a:pt x="3783828" y="4756389"/>
                </a:lnTo>
                <a:cubicBezTo>
                  <a:pt x="3783828" y="4727589"/>
                  <a:pt x="3765899" y="4711697"/>
                  <a:pt x="3742286" y="4711697"/>
                </a:cubicBezTo>
                <a:close/>
                <a:moveTo>
                  <a:pt x="3966385" y="4531816"/>
                </a:moveTo>
                <a:cubicBezTo>
                  <a:pt x="3961435" y="4548371"/>
                  <a:pt x="3954733" y="4562439"/>
                  <a:pt x="3946680" y="4572481"/>
                </a:cubicBezTo>
                <a:lnTo>
                  <a:pt x="3946656" y="4572458"/>
                </a:lnTo>
                <a:lnTo>
                  <a:pt x="3946112" y="4573168"/>
                </a:lnTo>
                <a:cubicBezTo>
                  <a:pt x="3942085" y="4578521"/>
                  <a:pt x="3932801" y="4586787"/>
                  <a:pt x="3925933" y="4587284"/>
                </a:cubicBezTo>
                <a:cubicBezTo>
                  <a:pt x="3924677" y="4587379"/>
                  <a:pt x="3921409" y="4587616"/>
                  <a:pt x="3915985" y="4582192"/>
                </a:cubicBezTo>
                <a:cubicBezTo>
                  <a:pt x="3910562" y="4576768"/>
                  <a:pt x="3910798" y="4573476"/>
                  <a:pt x="3910893" y="4572244"/>
                </a:cubicBezTo>
                <a:cubicBezTo>
                  <a:pt x="3911367" y="4565376"/>
                  <a:pt x="3919656" y="4556092"/>
                  <a:pt x="3925009" y="4552066"/>
                </a:cubicBezTo>
                <a:lnTo>
                  <a:pt x="3925720" y="4551521"/>
                </a:lnTo>
                <a:cubicBezTo>
                  <a:pt x="3935762" y="4543468"/>
                  <a:pt x="3949830" y="4536766"/>
                  <a:pt x="3966385" y="4531816"/>
                </a:cubicBezTo>
                <a:close/>
                <a:moveTo>
                  <a:pt x="4107045" y="4531815"/>
                </a:moveTo>
                <a:lnTo>
                  <a:pt x="4147664" y="4551497"/>
                </a:lnTo>
                <a:lnTo>
                  <a:pt x="4148375" y="4552042"/>
                </a:lnTo>
                <a:cubicBezTo>
                  <a:pt x="4153727" y="4556068"/>
                  <a:pt x="4161993" y="4565352"/>
                  <a:pt x="4162491" y="4572221"/>
                </a:cubicBezTo>
                <a:cubicBezTo>
                  <a:pt x="4162585" y="4573476"/>
                  <a:pt x="4162822" y="4576744"/>
                  <a:pt x="4157398" y="4582168"/>
                </a:cubicBezTo>
                <a:cubicBezTo>
                  <a:pt x="4151975" y="4587592"/>
                  <a:pt x="4148683" y="4587355"/>
                  <a:pt x="4147451" y="4587260"/>
                </a:cubicBezTo>
                <a:cubicBezTo>
                  <a:pt x="4140583" y="4586787"/>
                  <a:pt x="4131298" y="4578497"/>
                  <a:pt x="4127272" y="4573145"/>
                </a:cubicBezTo>
                <a:lnTo>
                  <a:pt x="4126727" y="4572434"/>
                </a:lnTo>
                <a:close/>
                <a:moveTo>
                  <a:pt x="4107022" y="4531768"/>
                </a:moveTo>
                <a:lnTo>
                  <a:pt x="4107045" y="4531815"/>
                </a:lnTo>
                <a:lnTo>
                  <a:pt x="4106998" y="4531792"/>
                </a:lnTo>
                <a:close/>
                <a:moveTo>
                  <a:pt x="4017496" y="4442289"/>
                </a:moveTo>
                <a:cubicBezTo>
                  <a:pt x="4023796" y="4442668"/>
                  <a:pt x="4030214" y="4442881"/>
                  <a:pt x="4036704" y="4442881"/>
                </a:cubicBezTo>
                <a:cubicBezTo>
                  <a:pt x="4043193" y="4442881"/>
                  <a:pt x="4049564" y="4442644"/>
                  <a:pt x="4055864" y="4442289"/>
                </a:cubicBezTo>
                <a:cubicBezTo>
                  <a:pt x="4055485" y="4448589"/>
                  <a:pt x="4055272" y="4455008"/>
                  <a:pt x="4055272" y="4461497"/>
                </a:cubicBezTo>
                <a:cubicBezTo>
                  <a:pt x="4055272" y="4467987"/>
                  <a:pt x="4055485" y="4474358"/>
                  <a:pt x="4055864" y="4480658"/>
                </a:cubicBezTo>
                <a:cubicBezTo>
                  <a:pt x="4049564" y="4480279"/>
                  <a:pt x="4043146" y="4480066"/>
                  <a:pt x="4036656" y="4480066"/>
                </a:cubicBezTo>
                <a:cubicBezTo>
                  <a:pt x="4030167" y="4480066"/>
                  <a:pt x="4023796" y="4480302"/>
                  <a:pt x="4017496" y="4480658"/>
                </a:cubicBezTo>
                <a:cubicBezTo>
                  <a:pt x="4017875" y="4474358"/>
                  <a:pt x="4018088" y="4467939"/>
                  <a:pt x="4018088" y="4461450"/>
                </a:cubicBezTo>
                <a:cubicBezTo>
                  <a:pt x="4018088" y="4454960"/>
                  <a:pt x="4017875" y="4448589"/>
                  <a:pt x="4017496" y="4442289"/>
                </a:cubicBezTo>
                <a:close/>
                <a:moveTo>
                  <a:pt x="3966316" y="4391133"/>
                </a:moveTo>
                <a:lnTo>
                  <a:pt x="3966362" y="4391155"/>
                </a:lnTo>
                <a:lnTo>
                  <a:pt x="3966338" y="4391179"/>
                </a:lnTo>
                <a:close/>
                <a:moveTo>
                  <a:pt x="3925909" y="4335687"/>
                </a:moveTo>
                <a:cubicBezTo>
                  <a:pt x="3932777" y="4336160"/>
                  <a:pt x="3942062" y="4344450"/>
                  <a:pt x="3946088" y="4349802"/>
                </a:cubicBezTo>
                <a:lnTo>
                  <a:pt x="3946633" y="4350513"/>
                </a:lnTo>
                <a:lnTo>
                  <a:pt x="3966316" y="4391133"/>
                </a:lnTo>
                <a:lnTo>
                  <a:pt x="3925696" y="4371450"/>
                </a:lnTo>
                <a:lnTo>
                  <a:pt x="3924985" y="4370905"/>
                </a:lnTo>
                <a:cubicBezTo>
                  <a:pt x="3919633" y="4366879"/>
                  <a:pt x="3911367" y="4357594"/>
                  <a:pt x="3910870" y="4350726"/>
                </a:cubicBezTo>
                <a:cubicBezTo>
                  <a:pt x="3910775" y="4349471"/>
                  <a:pt x="3910538" y="4346202"/>
                  <a:pt x="3915962" y="4340779"/>
                </a:cubicBezTo>
                <a:cubicBezTo>
                  <a:pt x="3921385" y="4335355"/>
                  <a:pt x="3924677" y="4335592"/>
                  <a:pt x="3925909" y="4335687"/>
                </a:cubicBezTo>
                <a:close/>
                <a:moveTo>
                  <a:pt x="4147427" y="4335639"/>
                </a:moveTo>
                <a:cubicBezTo>
                  <a:pt x="4148683" y="4335544"/>
                  <a:pt x="4151951" y="4335308"/>
                  <a:pt x="4157375" y="4340731"/>
                </a:cubicBezTo>
                <a:cubicBezTo>
                  <a:pt x="4162798" y="4346155"/>
                  <a:pt x="4162562" y="4349447"/>
                  <a:pt x="4162467" y="4350679"/>
                </a:cubicBezTo>
                <a:cubicBezTo>
                  <a:pt x="4161993" y="4357547"/>
                  <a:pt x="4153704" y="4366831"/>
                  <a:pt x="4148351" y="4370858"/>
                </a:cubicBezTo>
                <a:lnTo>
                  <a:pt x="4147641" y="4371402"/>
                </a:lnTo>
                <a:cubicBezTo>
                  <a:pt x="4137598" y="4379455"/>
                  <a:pt x="4123530" y="4386158"/>
                  <a:pt x="4106975" y="4391108"/>
                </a:cubicBezTo>
                <a:cubicBezTo>
                  <a:pt x="4111925" y="4374552"/>
                  <a:pt x="4118627" y="4360484"/>
                  <a:pt x="4126680" y="4350442"/>
                </a:cubicBezTo>
                <a:lnTo>
                  <a:pt x="4126704" y="4350466"/>
                </a:lnTo>
                <a:lnTo>
                  <a:pt x="4127248" y="4349755"/>
                </a:lnTo>
                <a:cubicBezTo>
                  <a:pt x="4131275" y="4344402"/>
                  <a:pt x="4140559" y="4336137"/>
                  <a:pt x="4147427" y="4335639"/>
                </a:cubicBezTo>
                <a:close/>
                <a:moveTo>
                  <a:pt x="3929201" y="4293694"/>
                </a:moveTo>
                <a:cubicBezTo>
                  <a:pt x="3918330" y="4292866"/>
                  <a:pt x="3902035" y="4295187"/>
                  <a:pt x="3886238" y="4310984"/>
                </a:cubicBezTo>
                <a:cubicBezTo>
                  <a:pt x="3870441" y="4326781"/>
                  <a:pt x="3868120" y="4343076"/>
                  <a:pt x="3868948" y="4353947"/>
                </a:cubicBezTo>
                <a:cubicBezTo>
                  <a:pt x="3871056" y="4381681"/>
                  <a:pt x="3895262" y="4401126"/>
                  <a:pt x="3899691" y="4404466"/>
                </a:cubicBezTo>
                <a:cubicBezTo>
                  <a:pt x="3918425" y="4419410"/>
                  <a:pt x="3944477" y="4430423"/>
                  <a:pt x="3974912" y="4436723"/>
                </a:cubicBezTo>
                <a:cubicBezTo>
                  <a:pt x="3975646" y="4444800"/>
                  <a:pt x="3976048" y="4453066"/>
                  <a:pt x="3976048" y="4461473"/>
                </a:cubicBezTo>
                <a:cubicBezTo>
                  <a:pt x="3976048" y="4469858"/>
                  <a:pt x="3975646" y="4478100"/>
                  <a:pt x="3974912" y="4486152"/>
                </a:cubicBezTo>
                <a:cubicBezTo>
                  <a:pt x="3944477" y="4492476"/>
                  <a:pt x="3918401" y="4503489"/>
                  <a:pt x="3899691" y="4518410"/>
                </a:cubicBezTo>
                <a:cubicBezTo>
                  <a:pt x="3895262" y="4521750"/>
                  <a:pt x="3871080" y="4541218"/>
                  <a:pt x="3868948" y="4568929"/>
                </a:cubicBezTo>
                <a:cubicBezTo>
                  <a:pt x="3868120" y="4579800"/>
                  <a:pt x="3870441" y="4596094"/>
                  <a:pt x="3886238" y="4611892"/>
                </a:cubicBezTo>
                <a:cubicBezTo>
                  <a:pt x="3902035" y="4627689"/>
                  <a:pt x="3918330" y="4630010"/>
                  <a:pt x="3929201" y="4629181"/>
                </a:cubicBezTo>
                <a:cubicBezTo>
                  <a:pt x="3956935" y="4627073"/>
                  <a:pt x="3976380" y="4602868"/>
                  <a:pt x="3979720" y="4598439"/>
                </a:cubicBezTo>
                <a:cubicBezTo>
                  <a:pt x="3994664" y="4579705"/>
                  <a:pt x="4005677" y="4553652"/>
                  <a:pt x="4011977" y="4523218"/>
                </a:cubicBezTo>
                <a:cubicBezTo>
                  <a:pt x="4020030" y="4522484"/>
                  <a:pt x="4028296" y="4522105"/>
                  <a:pt x="4036656" y="4522081"/>
                </a:cubicBezTo>
                <a:cubicBezTo>
                  <a:pt x="4045064" y="4522081"/>
                  <a:pt x="4053330" y="4522484"/>
                  <a:pt x="4061406" y="4523218"/>
                </a:cubicBezTo>
                <a:cubicBezTo>
                  <a:pt x="4067730" y="4553652"/>
                  <a:pt x="4078743" y="4579705"/>
                  <a:pt x="4093664" y="4598439"/>
                </a:cubicBezTo>
                <a:cubicBezTo>
                  <a:pt x="4097004" y="4602868"/>
                  <a:pt x="4116472" y="4627050"/>
                  <a:pt x="4144183" y="4629181"/>
                </a:cubicBezTo>
                <a:cubicBezTo>
                  <a:pt x="4155054" y="4630010"/>
                  <a:pt x="4171348" y="4627689"/>
                  <a:pt x="4187146" y="4611892"/>
                </a:cubicBezTo>
                <a:cubicBezTo>
                  <a:pt x="4202943" y="4596094"/>
                  <a:pt x="4205264" y="4579800"/>
                  <a:pt x="4204435" y="4568929"/>
                </a:cubicBezTo>
                <a:cubicBezTo>
                  <a:pt x="4202327" y="4541194"/>
                  <a:pt x="4178122" y="4521750"/>
                  <a:pt x="4173693" y="4518410"/>
                </a:cubicBezTo>
                <a:cubicBezTo>
                  <a:pt x="4154959" y="4503466"/>
                  <a:pt x="4128906" y="4492452"/>
                  <a:pt x="4098472" y="4486152"/>
                </a:cubicBezTo>
                <a:cubicBezTo>
                  <a:pt x="4097738" y="4478076"/>
                  <a:pt x="4097335" y="4469810"/>
                  <a:pt x="4097335" y="4461402"/>
                </a:cubicBezTo>
                <a:cubicBezTo>
                  <a:pt x="4097335" y="4453018"/>
                  <a:pt x="4097738" y="4444776"/>
                  <a:pt x="4098472" y="4436723"/>
                </a:cubicBezTo>
                <a:cubicBezTo>
                  <a:pt x="4128906" y="4430400"/>
                  <a:pt x="4154983" y="4419387"/>
                  <a:pt x="4173693" y="4404466"/>
                </a:cubicBezTo>
                <a:cubicBezTo>
                  <a:pt x="4178122" y="4401126"/>
                  <a:pt x="4202304" y="4381658"/>
                  <a:pt x="4204435" y="4353947"/>
                </a:cubicBezTo>
                <a:cubicBezTo>
                  <a:pt x="4205264" y="4343076"/>
                  <a:pt x="4202943" y="4326781"/>
                  <a:pt x="4187146" y="4310984"/>
                </a:cubicBezTo>
                <a:cubicBezTo>
                  <a:pt x="4171348" y="4295187"/>
                  <a:pt x="4155054" y="4292866"/>
                  <a:pt x="4144183" y="4293694"/>
                </a:cubicBezTo>
                <a:cubicBezTo>
                  <a:pt x="4116448" y="4295802"/>
                  <a:pt x="4097004" y="4320008"/>
                  <a:pt x="4093664" y="4324437"/>
                </a:cubicBezTo>
                <a:cubicBezTo>
                  <a:pt x="4078720" y="4343171"/>
                  <a:pt x="4067706" y="4369223"/>
                  <a:pt x="4061406" y="4399658"/>
                </a:cubicBezTo>
                <a:cubicBezTo>
                  <a:pt x="4053354" y="4400392"/>
                  <a:pt x="4045088" y="4400771"/>
                  <a:pt x="4036727" y="4400794"/>
                </a:cubicBezTo>
                <a:cubicBezTo>
                  <a:pt x="4028319" y="4400794"/>
                  <a:pt x="4020054" y="4400392"/>
                  <a:pt x="4011977" y="4399658"/>
                </a:cubicBezTo>
                <a:cubicBezTo>
                  <a:pt x="4005654" y="4369223"/>
                  <a:pt x="3994641" y="4343171"/>
                  <a:pt x="3979720" y="4324437"/>
                </a:cubicBezTo>
                <a:cubicBezTo>
                  <a:pt x="3976380" y="4320008"/>
                  <a:pt x="3956912" y="4295826"/>
                  <a:pt x="3929201" y="4293694"/>
                </a:cubicBezTo>
                <a:close/>
                <a:moveTo>
                  <a:pt x="2094551" y="0"/>
                </a:moveTo>
                <a:lnTo>
                  <a:pt x="4819650" y="0"/>
                </a:lnTo>
                <a:lnTo>
                  <a:pt x="4819650" y="5143499"/>
                </a:lnTo>
                <a:lnTo>
                  <a:pt x="0" y="5143499"/>
                </a:lnTo>
                <a:lnTo>
                  <a:pt x="0" y="5143498"/>
                </a:lnTo>
                <a:lnTo>
                  <a:pt x="371745" y="5143498"/>
                </a:lnTo>
                <a:lnTo>
                  <a:pt x="1206499" y="1821610"/>
                </a:lnTo>
                <a:cubicBezTo>
                  <a:pt x="1372079" y="1162691"/>
                  <a:pt x="1663360" y="568520"/>
                  <a:pt x="2048326" y="58253"/>
                </a:cubicBezTo>
                <a:close/>
              </a:path>
            </a:pathLst>
          </a:custGeom>
          <a:solidFill>
            <a:schemeClr val="tx1">
              <a:lumMod val="95000"/>
            </a:schemeClr>
          </a:solidFill>
        </p:spPr>
        <p:txBody>
          <a:bodyPr wrap="square">
            <a:noAutofit/>
          </a:bodyPr>
          <a:lstStyle/>
          <a:p>
            <a:r>
              <a:rPr lang="fr-FR"/>
              <a:t>Cliquez sur l'icône pour ajouter une image</a:t>
            </a:r>
            <a:endParaRPr lang="en-US"/>
          </a:p>
        </p:txBody>
      </p:sp>
    </p:spTree>
    <p:extLst>
      <p:ext uri="{BB962C8B-B14F-4D97-AF65-F5344CB8AC3E}">
        <p14:creationId xmlns:p14="http://schemas.microsoft.com/office/powerpoint/2010/main" val="27056412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 colour bg - Subtitle - bullet menu">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tx1"/>
                </a:solidFill>
                <a:latin typeface="Proximus Light" panose="020B0604020202020204" charset="0"/>
              </a:defRPr>
            </a:lvl1pPr>
          </a:lstStyle>
          <a:p>
            <a:pPr lvl="0"/>
            <a:r>
              <a:rPr lang="fr-FR"/>
              <a:t>Cliquez pour modifier les styles du texte du masque</a:t>
            </a:r>
          </a:p>
        </p:txBody>
      </p:sp>
      <p:sp>
        <p:nvSpPr>
          <p:cNvPr id="3" name="Text Placeholder 2">
            <a:extLst>
              <a:ext uri="{FF2B5EF4-FFF2-40B4-BE49-F238E27FC236}">
                <a16:creationId xmlns:a16="http://schemas.microsoft.com/office/drawing/2014/main" id="{BA56E9AC-E3FD-B3FD-6B19-4FD87C1EAE48}"/>
              </a:ext>
            </a:extLst>
          </p:cNvPr>
          <p:cNvSpPr>
            <a:spLocks noGrp="1"/>
          </p:cNvSpPr>
          <p:nvPr>
            <p:ph idx="1" hasCustomPrompt="1"/>
          </p:nvPr>
        </p:nvSpPr>
        <p:spPr>
          <a:xfrm>
            <a:off x="460376" y="1543050"/>
            <a:ext cx="8221662" cy="3011488"/>
          </a:xfrm>
          <a:prstGeom prst="rect">
            <a:avLst/>
          </a:prstGeom>
        </p:spPr>
        <p:txBody>
          <a:bodyPr vert="horz" lIns="0" tIns="0" rIns="0" bIns="0" numCol="1" spcCol="0" rtlCol="0" anchor="t" anchorCtr="0">
            <a:noAutofit/>
          </a:bodyPr>
          <a:lstStyle>
            <a:lvl1pPr>
              <a:buClr>
                <a:schemeClr val="tx1"/>
              </a:buClr>
              <a:defRPr>
                <a:solidFill>
                  <a:schemeClr val="tx1"/>
                </a:solidFill>
              </a:defRPr>
            </a:lvl1pPr>
            <a:lvl2pPr marL="360000" indent="-176400">
              <a:spcBef>
                <a:spcPts val="600"/>
              </a:spcBef>
              <a:buClr>
                <a:schemeClr val="tx1"/>
              </a:buClr>
              <a:defRPr>
                <a:solidFill>
                  <a:schemeClr val="tx1"/>
                </a:solidFill>
              </a:defRPr>
            </a:lvl2pPr>
            <a:lvl3pPr>
              <a:spcBef>
                <a:spcPts val="600"/>
              </a:spcBef>
              <a:buClr>
                <a:schemeClr val="tx1"/>
              </a:buClr>
              <a:defRPr>
                <a:solidFill>
                  <a:schemeClr val="tx1"/>
                </a:solidFill>
              </a:defRPr>
            </a:lvl3pPr>
            <a:lvl4pPr>
              <a:spcBef>
                <a:spcPts val="1200"/>
              </a:spcBef>
              <a:buClr>
                <a:schemeClr val="tx1"/>
              </a:buClr>
              <a:defRPr>
                <a:solidFill>
                  <a:schemeClr val="tx1"/>
                </a:solidFill>
              </a:defRPr>
            </a:lvl4pPr>
            <a:lvl5pPr>
              <a:spcBef>
                <a:spcPts val="1800"/>
              </a:spcBef>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Tree>
    <p:extLst>
      <p:ext uri="{BB962C8B-B14F-4D97-AF65-F5344CB8AC3E}">
        <p14:creationId xmlns:p14="http://schemas.microsoft.com/office/powerpoint/2010/main" val="3879377284"/>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 colour bg - 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b="1">
                <a:solidFill>
                  <a:schemeClr val="tx1"/>
                </a:solidFill>
              </a:defRPr>
            </a:lvl1pPr>
          </a:lstStyle>
          <a:p>
            <a:r>
              <a:rPr lang="en-US"/>
              <a:t>Click to edit slide title</a:t>
            </a:r>
            <a:endParaRPr lang="nl-BE"/>
          </a:p>
        </p:txBody>
      </p:sp>
    </p:spTree>
    <p:extLst>
      <p:ext uri="{BB962C8B-B14F-4D97-AF65-F5344CB8AC3E}">
        <p14:creationId xmlns:p14="http://schemas.microsoft.com/office/powerpoint/2010/main" val="5720429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colour bg - Title and sub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8221663" cy="400049"/>
          </a:xfrm>
        </p:spPr>
        <p:txBody>
          <a:bodyPr anchor="t"/>
          <a:lstStyle>
            <a:lvl1pPr>
              <a:defRPr b="1">
                <a:solidFill>
                  <a:schemeClr val="tx1"/>
                </a:solidFill>
              </a:defRPr>
            </a:lvl1pPr>
          </a:lstStyle>
          <a:p>
            <a:r>
              <a:rPr lang="en-US"/>
              <a:t>Click to edit slide title</a:t>
            </a:r>
            <a:endParaRPr lang="nl-BE"/>
          </a:p>
        </p:txBody>
      </p:sp>
      <p:sp>
        <p:nvSpPr>
          <p:cNvPr id="6" name="Text Placeholder 5">
            <a:extLst>
              <a:ext uri="{FF2B5EF4-FFF2-40B4-BE49-F238E27FC236}">
                <a16:creationId xmlns:a16="http://schemas.microsoft.com/office/drawing/2014/main" id="{3CFA2924-4BFC-CB4A-33EA-AFA2F3E1085E}"/>
              </a:ext>
            </a:extLst>
          </p:cNvPr>
          <p:cNvSpPr>
            <a:spLocks noGrp="1"/>
          </p:cNvSpPr>
          <p:nvPr>
            <p:ph type="body" sz="quarter" idx="12"/>
          </p:nvPr>
        </p:nvSpPr>
        <p:spPr>
          <a:xfrm>
            <a:off x="468313" y="853875"/>
            <a:ext cx="8221662" cy="295475"/>
          </a:xfrm>
        </p:spPr>
        <p:txBody>
          <a:bodyPr/>
          <a:lstStyle>
            <a:lvl1pPr marL="0" indent="0">
              <a:buNone/>
              <a:defRPr sz="1600">
                <a:solidFill>
                  <a:schemeClr val="tx1"/>
                </a:solidFill>
                <a:latin typeface="Proximus Light" panose="020B0604020202020204" charset="0"/>
              </a:defRPr>
            </a:lvl1pPr>
          </a:lstStyle>
          <a:p>
            <a:pPr lvl="0"/>
            <a:r>
              <a:rPr lang="fr-FR"/>
              <a:t>Cliquez pour modifier les styles du texte du masque</a:t>
            </a:r>
          </a:p>
        </p:txBody>
      </p:sp>
    </p:spTree>
    <p:extLst>
      <p:ext uri="{BB962C8B-B14F-4D97-AF65-F5344CB8AC3E}">
        <p14:creationId xmlns:p14="http://schemas.microsoft.com/office/powerpoint/2010/main" val="668912523"/>
      </p:ext>
    </p:extLst>
  </p:cSld>
  <p:clrMapOvr>
    <a:masterClrMapping/>
  </p:clrMapOvr>
  <p:extLst>
    <p:ext uri="{DCECCB84-F9BA-43D5-87BE-67443E8EF086}">
      <p15:sldGuideLst xmlns:p15="http://schemas.microsoft.com/office/powerpoint/2012/main">
        <p15:guide id="1" orient="horz" pos="96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0377" y="377826"/>
            <a:ext cx="2008503" cy="917574"/>
          </a:xfrm>
        </p:spPr>
        <p:txBody>
          <a:bodyPr anchor="t"/>
          <a:lstStyle>
            <a:lvl1pPr>
              <a:defRPr b="1">
                <a:solidFill>
                  <a:schemeClr val="tx1"/>
                </a:solidFill>
              </a:defRPr>
            </a:lvl1pPr>
          </a:lstStyle>
          <a:p>
            <a:r>
              <a:rPr lang="en-US"/>
              <a:t>Click to edit slide title</a:t>
            </a:r>
            <a:endParaRPr lang="nl-BE"/>
          </a:p>
        </p:txBody>
      </p:sp>
      <p:sp>
        <p:nvSpPr>
          <p:cNvPr id="3" name="Freeform: Shape 2">
            <a:extLst>
              <a:ext uri="{FF2B5EF4-FFF2-40B4-BE49-F238E27FC236}">
                <a16:creationId xmlns:a16="http://schemas.microsoft.com/office/drawing/2014/main" id="{719802DA-9C6B-5019-6934-ED9FA37D31CC}"/>
              </a:ext>
            </a:extLst>
          </p:cNvPr>
          <p:cNvSpPr/>
          <p:nvPr userDrawn="1"/>
        </p:nvSpPr>
        <p:spPr>
          <a:xfrm>
            <a:off x="1685015" y="-8961"/>
            <a:ext cx="7458985" cy="5152461"/>
          </a:xfrm>
          <a:custGeom>
            <a:avLst/>
            <a:gdLst>
              <a:gd name="connsiteX0" fmla="*/ 2302546 w 9928016"/>
              <a:gd name="connsiteY0" fmla="*/ 0 h 6857999"/>
              <a:gd name="connsiteX1" fmla="*/ 9928016 w 9928016"/>
              <a:gd name="connsiteY1" fmla="*/ 0 h 6857999"/>
              <a:gd name="connsiteX2" fmla="*/ 9928016 w 9928016"/>
              <a:gd name="connsiteY2" fmla="*/ 6857999 h 6857999"/>
              <a:gd name="connsiteX3" fmla="*/ 0 w 9928016"/>
              <a:gd name="connsiteY3" fmla="*/ 6857999 h 6857999"/>
              <a:gd name="connsiteX4" fmla="*/ 1111071 w 9928016"/>
              <a:gd name="connsiteY4" fmla="*/ 2436517 h 6857999"/>
              <a:gd name="connsiteX5" fmla="*/ 2231554 w 9928016"/>
              <a:gd name="connsiteY5" fmla="*/ 8946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016" h="6857999">
                <a:moveTo>
                  <a:pt x="2302546" y="0"/>
                </a:moveTo>
                <a:lnTo>
                  <a:pt x="9928016" y="0"/>
                </a:lnTo>
                <a:lnTo>
                  <a:pt x="9928016" y="6857999"/>
                </a:lnTo>
                <a:lnTo>
                  <a:pt x="0" y="6857999"/>
                </a:lnTo>
                <a:lnTo>
                  <a:pt x="1111071" y="2436517"/>
                </a:lnTo>
                <a:cubicBezTo>
                  <a:pt x="1331459" y="1559487"/>
                  <a:pt x="1719159" y="768637"/>
                  <a:pt x="2231554" y="89464"/>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108000" tIns="108000" rIns="108000" bIns="108000" rtlCol="0" anchor="t" anchorCtr="0">
            <a:noAutofit/>
          </a:bodyPr>
          <a:lstStyle/>
          <a:p>
            <a:pPr algn="ctr" defTabSz="1218418"/>
            <a:r>
              <a:rPr lang="en-BE" sz="1200" b="1">
                <a:solidFill>
                  <a:schemeClr val="tx1"/>
                </a:solidFill>
                <a:latin typeface="Proximus Bold" panose="00000500000000000000" pitchFamily="2" charset="0"/>
                <a:cs typeface="Proximus Bold"/>
              </a:rPr>
              <a:t>  </a:t>
            </a:r>
            <a:endParaRPr lang="en-GB" sz="1200" b="1" err="1">
              <a:solidFill>
                <a:schemeClr val="tx1"/>
              </a:solidFill>
              <a:latin typeface="Proximus Bold" panose="00000500000000000000" pitchFamily="2" charset="0"/>
              <a:cs typeface="Proximus Bold"/>
            </a:endParaRPr>
          </a:p>
        </p:txBody>
      </p:sp>
      <p:sp>
        <p:nvSpPr>
          <p:cNvPr id="6" name="Table Placeholder 5">
            <a:extLst>
              <a:ext uri="{FF2B5EF4-FFF2-40B4-BE49-F238E27FC236}">
                <a16:creationId xmlns:a16="http://schemas.microsoft.com/office/drawing/2014/main" id="{50937FAA-8D57-3878-00AC-49FA9EB8DC1C}"/>
              </a:ext>
            </a:extLst>
          </p:cNvPr>
          <p:cNvSpPr>
            <a:spLocks noGrp="1"/>
          </p:cNvSpPr>
          <p:nvPr>
            <p:ph type="tbl" sz="quarter" idx="10"/>
          </p:nvPr>
        </p:nvSpPr>
        <p:spPr>
          <a:xfrm>
            <a:off x="3413760" y="1037917"/>
            <a:ext cx="5261928" cy="3516621"/>
          </a:xfrm>
        </p:spPr>
        <p:txBody>
          <a:bodyPr/>
          <a:lstStyle/>
          <a:p>
            <a:r>
              <a:rPr lang="fr-FR"/>
              <a:t>Cliquez sur l'icône pour ajouter un tableau</a:t>
            </a:r>
            <a:endParaRPr lang="en-US"/>
          </a:p>
        </p:txBody>
      </p:sp>
    </p:spTree>
    <p:extLst>
      <p:ext uri="{BB962C8B-B14F-4D97-AF65-F5344CB8AC3E}">
        <p14:creationId xmlns:p14="http://schemas.microsoft.com/office/powerpoint/2010/main" val="37225730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ock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3675592"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A4859FEF-708C-918C-2188-2D7CFCDD42BE}"/>
              </a:ext>
            </a:extLst>
          </p:cNvPr>
          <p:cNvSpPr>
            <a:spLocks noGrp="1"/>
          </p:cNvSpPr>
          <p:nvPr>
            <p:ph type="body" sz="quarter" idx="14"/>
          </p:nvPr>
        </p:nvSpPr>
        <p:spPr>
          <a:xfrm>
            <a:off x="5000721" y="1257300"/>
            <a:ext cx="3675592"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42389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ocks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3308344"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6156313"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438750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ocks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93504BEB-25CC-71C6-94D9-4580B88D8874}"/>
              </a:ext>
            </a:extLst>
          </p:cNvPr>
          <p:cNvSpPr>
            <a:spLocks noGrp="1"/>
          </p:cNvSpPr>
          <p:nvPr>
            <p:ph type="body" sz="quarter" idx="14"/>
          </p:nvPr>
        </p:nvSpPr>
        <p:spPr>
          <a:xfrm>
            <a:off x="2587021"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7">
            <a:extLst>
              <a:ext uri="{FF2B5EF4-FFF2-40B4-BE49-F238E27FC236}">
                <a16:creationId xmlns:a16="http://schemas.microsoft.com/office/drawing/2014/main" id="{4F206338-EBF6-8CB9-F01A-867DA14F0351}"/>
              </a:ext>
            </a:extLst>
          </p:cNvPr>
          <p:cNvSpPr>
            <a:spLocks noGrp="1"/>
          </p:cNvSpPr>
          <p:nvPr>
            <p:ph type="body" sz="quarter" idx="15"/>
          </p:nvPr>
        </p:nvSpPr>
        <p:spPr>
          <a:xfrm>
            <a:off x="4713667"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361180D9-7334-AE50-3E49-BCC9D03B5E35}"/>
              </a:ext>
            </a:extLst>
          </p:cNvPr>
          <p:cNvSpPr>
            <a:spLocks noGrp="1"/>
          </p:cNvSpPr>
          <p:nvPr>
            <p:ph type="body" sz="quarter" idx="16"/>
          </p:nvPr>
        </p:nvSpPr>
        <p:spPr>
          <a:xfrm>
            <a:off x="6840313" y="1257300"/>
            <a:ext cx="1836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Aft>
                <a:spcPts val="600"/>
              </a:spcAft>
              <a:buNone/>
              <a:defRPr sz="1600">
                <a:solidFill>
                  <a:schemeClr val="bg1"/>
                </a:solidFill>
                <a:latin typeface="Proximus Light" panose="020B0604020202020204" charset="0"/>
              </a:defRPr>
            </a:lvl1pPr>
            <a:lvl2pPr marL="176400" indent="-176192">
              <a:defRPr sz="1200"/>
            </a:lvl2pPr>
            <a:lvl3pPr marL="360000">
              <a:defRPr sz="1100">
                <a:latin typeface="+mn-lt"/>
              </a:defRPr>
            </a:lvl3pPr>
            <a:lvl4pPr marL="536400" indent="-176400">
              <a:spcBef>
                <a:spcPts val="600"/>
              </a:spcBef>
              <a:buFont typeface="Arial" panose="020B0604020202020204" pitchFamily="34" charset="0"/>
              <a:buChar char="•"/>
              <a:defRPr sz="1100">
                <a:latin typeface="Proximus Light" panose="00000400000000000000" pitchFamily="50" charset="0"/>
              </a:defRPr>
            </a:lvl4pPr>
            <a:lvl5pPr>
              <a:spcBef>
                <a:spcPts val="600"/>
              </a:spcBef>
              <a:defRPr sz="12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603199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ocks -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4" y="1257300"/>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7" name="Text Placeholder 7">
            <a:extLst>
              <a:ext uri="{FF2B5EF4-FFF2-40B4-BE49-F238E27FC236}">
                <a16:creationId xmlns:a16="http://schemas.microsoft.com/office/drawing/2014/main" id="{3A3B5652-B85B-757E-9330-B39C45EFD833}"/>
              </a:ext>
            </a:extLst>
          </p:cNvPr>
          <p:cNvSpPr>
            <a:spLocks noGrp="1"/>
          </p:cNvSpPr>
          <p:nvPr>
            <p:ph type="body" sz="quarter" idx="14"/>
          </p:nvPr>
        </p:nvSpPr>
        <p:spPr>
          <a:xfrm>
            <a:off x="3254344" y="1257300"/>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8" name="Text Placeholder 7">
            <a:extLst>
              <a:ext uri="{FF2B5EF4-FFF2-40B4-BE49-F238E27FC236}">
                <a16:creationId xmlns:a16="http://schemas.microsoft.com/office/drawing/2014/main" id="{53F67889-29D2-56A1-49EE-EC1B0F73688E}"/>
              </a:ext>
            </a:extLst>
          </p:cNvPr>
          <p:cNvSpPr>
            <a:spLocks noGrp="1"/>
          </p:cNvSpPr>
          <p:nvPr>
            <p:ph type="body" sz="quarter" idx="15"/>
          </p:nvPr>
        </p:nvSpPr>
        <p:spPr>
          <a:xfrm>
            <a:off x="6048313" y="1257300"/>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7">
            <a:extLst>
              <a:ext uri="{FF2B5EF4-FFF2-40B4-BE49-F238E27FC236}">
                <a16:creationId xmlns:a16="http://schemas.microsoft.com/office/drawing/2014/main" id="{CAE41158-A608-39EA-5CF4-2BE0BBB08300}"/>
              </a:ext>
            </a:extLst>
          </p:cNvPr>
          <p:cNvSpPr>
            <a:spLocks noGrp="1"/>
          </p:cNvSpPr>
          <p:nvPr>
            <p:ph type="body" sz="quarter" idx="16"/>
          </p:nvPr>
        </p:nvSpPr>
        <p:spPr>
          <a:xfrm>
            <a:off x="460374" y="3039825"/>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0" name="Text Placeholder 7">
            <a:extLst>
              <a:ext uri="{FF2B5EF4-FFF2-40B4-BE49-F238E27FC236}">
                <a16:creationId xmlns:a16="http://schemas.microsoft.com/office/drawing/2014/main" id="{627C1256-05EF-332A-1823-7C684DE76AAE}"/>
              </a:ext>
            </a:extLst>
          </p:cNvPr>
          <p:cNvSpPr>
            <a:spLocks noGrp="1"/>
          </p:cNvSpPr>
          <p:nvPr>
            <p:ph type="body" sz="quarter" idx="17"/>
          </p:nvPr>
        </p:nvSpPr>
        <p:spPr>
          <a:xfrm>
            <a:off x="3254344" y="3039825"/>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7">
            <a:extLst>
              <a:ext uri="{FF2B5EF4-FFF2-40B4-BE49-F238E27FC236}">
                <a16:creationId xmlns:a16="http://schemas.microsoft.com/office/drawing/2014/main" id="{E2D9A6BC-8C8F-88D8-5A9A-B16C1057CAF1}"/>
              </a:ext>
            </a:extLst>
          </p:cNvPr>
          <p:cNvSpPr>
            <a:spLocks noGrp="1"/>
          </p:cNvSpPr>
          <p:nvPr>
            <p:ph type="body" sz="quarter" idx="18"/>
          </p:nvPr>
        </p:nvSpPr>
        <p:spPr>
          <a:xfrm>
            <a:off x="6048313" y="3039825"/>
            <a:ext cx="2628000" cy="1656000"/>
          </a:xfrm>
          <a:prstGeom prst="roundRect">
            <a:avLst>
              <a:gd name="adj" fmla="val 4957"/>
            </a:avLst>
          </a:prstGeom>
          <a:solidFill>
            <a:schemeClr val="tx1"/>
          </a:solidFill>
          <a:effectLst>
            <a:outerShdw blurRad="317500" dist="114300" dir="5400000" sx="95000" sy="95000" algn="ctr" rotWithShape="0">
              <a:prstClr val="black">
                <a:alpha val="25000"/>
              </a:prstClr>
            </a:outerShdw>
          </a:effectLst>
        </p:spPr>
        <p:txBody>
          <a:bodyPr lIns="144000" tIns="144000" rIns="144000" bIns="144000"/>
          <a:lstStyle>
            <a:lvl1pPr marL="0" indent="0">
              <a:spcBef>
                <a:spcPts val="800"/>
              </a:spcBef>
              <a:spcAft>
                <a:spcPts val="200"/>
              </a:spcAft>
              <a:buNone/>
              <a:defRPr sz="1400">
                <a:solidFill>
                  <a:schemeClr val="bg1"/>
                </a:solidFill>
                <a:latin typeface="Proximus Light" panose="020B0604020202020204" charset="0"/>
              </a:defRPr>
            </a:lvl1pPr>
            <a:lvl2pPr marL="176400" indent="-176192">
              <a:spcBef>
                <a:spcPts val="200"/>
              </a:spcBef>
              <a:defRPr sz="1100"/>
            </a:lvl2pPr>
            <a:lvl3pPr marL="360000">
              <a:spcBef>
                <a:spcPts val="200"/>
              </a:spcBef>
              <a:defRPr sz="1050">
                <a:latin typeface="+mn-lt"/>
              </a:defRPr>
            </a:lvl3pPr>
            <a:lvl4pPr marL="536400" indent="-176400">
              <a:spcBef>
                <a:spcPts val="200"/>
              </a:spcBef>
              <a:buFont typeface="Arial" panose="020B0604020202020204" pitchFamily="34" charset="0"/>
              <a:buChar char="•"/>
              <a:defRPr sz="1050">
                <a:latin typeface="Proximus Light" panose="00000400000000000000" pitchFamily="50" charset="0"/>
              </a:defRPr>
            </a:lvl4pPr>
            <a:lvl5pPr>
              <a:spcBef>
                <a:spcPts val="200"/>
              </a:spcBef>
              <a:defRPr sz="11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950503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ocks - 6">
    <p:bg>
      <p:bgPr>
        <a:solidFill>
          <a:srgbClr val="F3F4F9"/>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09E74C-9CAD-4B8A-2025-332FBD366C7C}"/>
              </a:ext>
            </a:extLst>
          </p:cNvPr>
          <p:cNvSpPr>
            <a:spLocks noGrp="1"/>
          </p:cNvSpPr>
          <p:nvPr>
            <p:ph type="title"/>
          </p:nvPr>
        </p:nvSpPr>
        <p:spPr/>
        <p:txBody>
          <a:bodyPr anchor="ctr"/>
          <a:lstStyle>
            <a:lvl1pPr>
              <a:defRPr>
                <a:solidFill>
                  <a:srgbClr val="141C24"/>
                </a:solidFill>
              </a:defRPr>
            </a:lvl1pPr>
          </a:lstStyle>
          <a:p>
            <a:r>
              <a:rPr lang="en-GB"/>
              <a:t>Click to edit Master title style</a:t>
            </a:r>
            <a:endParaRPr lang="en-BE"/>
          </a:p>
        </p:txBody>
      </p:sp>
    </p:spTree>
    <p:extLst>
      <p:ext uri="{BB962C8B-B14F-4D97-AF65-F5344CB8AC3E}">
        <p14:creationId xmlns:p14="http://schemas.microsoft.com/office/powerpoint/2010/main" val="3598981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ocks - 3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2520000" cy="3438524"/>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tx1"/>
                </a:solidFill>
                <a:latin typeface="Proximus Light" panose="020B0604020202020204" charset="0"/>
              </a:defRPr>
            </a:lvl1pPr>
            <a:lvl2pPr marL="176400" indent="-176192">
              <a:buClr>
                <a:schemeClr val="tx1"/>
              </a:buClr>
              <a:defRPr sz="1400">
                <a:solidFill>
                  <a:schemeClr val="tx1"/>
                </a:solidFill>
              </a:defRPr>
            </a:lvl2pPr>
            <a:lvl3pPr marL="360000">
              <a:buClr>
                <a:schemeClr val="tx1"/>
              </a:buClr>
              <a:defRPr>
                <a:solidFill>
                  <a:schemeClr val="tx1"/>
                </a:solidFill>
                <a:latin typeface="+mn-lt"/>
              </a:defRPr>
            </a:lvl3pPr>
            <a:lvl4pPr marL="536400" indent="-176400">
              <a:spcBef>
                <a:spcPts val="600"/>
              </a:spcBef>
              <a:buClr>
                <a:schemeClr val="tx1"/>
              </a:buClr>
              <a:buFont typeface="Arial" panose="020B0604020202020204" pitchFamily="34" charset="0"/>
              <a:buChar char="•"/>
              <a:defRPr sz="1200">
                <a:solidFill>
                  <a:schemeClr val="tx1"/>
                </a:solidFill>
                <a:latin typeface="Proximus Light" panose="00000400000000000000" pitchFamily="50" charset="0"/>
              </a:defRPr>
            </a:lvl4pPr>
            <a:lvl5pPr>
              <a:spcBef>
                <a:spcPts val="600"/>
              </a:spcBef>
              <a:defRPr sz="1400">
                <a:solidFill>
                  <a:schemeClr val="tx1"/>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3308344" y="1257300"/>
            <a:ext cx="2520000" cy="3438524"/>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tx1"/>
                </a:solidFill>
                <a:latin typeface="Proximus Light" panose="020B0604020202020204" charset="0"/>
              </a:defRPr>
            </a:lvl1pPr>
            <a:lvl2pPr marL="176400" indent="-176192">
              <a:buClr>
                <a:schemeClr val="tx1"/>
              </a:buClr>
              <a:defRPr sz="1400">
                <a:solidFill>
                  <a:schemeClr val="tx1"/>
                </a:solidFill>
              </a:defRPr>
            </a:lvl2pPr>
            <a:lvl3pPr marL="360000">
              <a:buClr>
                <a:schemeClr val="tx1"/>
              </a:buClr>
              <a:defRPr>
                <a:solidFill>
                  <a:schemeClr val="tx1"/>
                </a:solidFill>
                <a:latin typeface="+mn-lt"/>
              </a:defRPr>
            </a:lvl3pPr>
            <a:lvl4pPr marL="536400" indent="-176400">
              <a:spcBef>
                <a:spcPts val="600"/>
              </a:spcBef>
              <a:buClr>
                <a:schemeClr val="tx1"/>
              </a:buClr>
              <a:buFont typeface="Arial" panose="020B0604020202020204" pitchFamily="34" charset="0"/>
              <a:buChar char="•"/>
              <a:defRPr sz="1200">
                <a:solidFill>
                  <a:schemeClr val="tx1"/>
                </a:solidFill>
                <a:latin typeface="Proximus Light" panose="00000400000000000000" pitchFamily="50" charset="0"/>
              </a:defRPr>
            </a:lvl4pPr>
            <a:lvl5pPr>
              <a:spcBef>
                <a:spcPts val="600"/>
              </a:spcBef>
              <a:defRPr sz="1400">
                <a:solidFill>
                  <a:schemeClr val="tx1"/>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6156313" y="1257300"/>
            <a:ext cx="2520000" cy="3438524"/>
          </a:xfrm>
          <a:prstGeom prst="roundRect">
            <a:avLst>
              <a:gd name="adj" fmla="val 3679"/>
            </a:avLst>
          </a:prstGeom>
          <a:gradFill>
            <a:gsLst>
              <a:gs pos="69000">
                <a:schemeClr val="bg1"/>
              </a:gs>
              <a:gs pos="0">
                <a:srgbClr val="A82E76"/>
              </a:gs>
            </a:gsLst>
            <a:lin ang="16200000" scaled="1"/>
          </a:gra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tx1"/>
                </a:solidFill>
                <a:latin typeface="Proximus Light" panose="020B0604020202020204" charset="0"/>
              </a:defRPr>
            </a:lvl1pPr>
            <a:lvl2pPr marL="176400" indent="-176192">
              <a:buClr>
                <a:schemeClr val="tx1"/>
              </a:buClr>
              <a:defRPr sz="1400">
                <a:solidFill>
                  <a:schemeClr val="tx1"/>
                </a:solidFill>
              </a:defRPr>
            </a:lvl2pPr>
            <a:lvl3pPr marL="360000">
              <a:buClr>
                <a:schemeClr val="tx1"/>
              </a:buClr>
              <a:defRPr>
                <a:solidFill>
                  <a:schemeClr val="tx1"/>
                </a:solidFill>
                <a:latin typeface="+mn-lt"/>
              </a:defRPr>
            </a:lvl3pPr>
            <a:lvl4pPr marL="536400" indent="-176400">
              <a:spcBef>
                <a:spcPts val="600"/>
              </a:spcBef>
              <a:buClr>
                <a:schemeClr val="tx1"/>
              </a:buClr>
              <a:buFont typeface="Arial" panose="020B0604020202020204" pitchFamily="34" charset="0"/>
              <a:buChar char="•"/>
              <a:defRPr sz="1200">
                <a:solidFill>
                  <a:schemeClr val="tx1"/>
                </a:solidFill>
                <a:latin typeface="Proximus Light" panose="00000400000000000000" pitchFamily="50" charset="0"/>
              </a:defRPr>
            </a:lvl4pPr>
            <a:lvl5pPr>
              <a:spcBef>
                <a:spcPts val="600"/>
              </a:spcBef>
              <a:defRPr sz="1400">
                <a:solidFill>
                  <a:schemeClr val="tx1"/>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930610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 Shape">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3F3C82D-0141-4635-A4B4-A76F2FD5DEFE}"/>
              </a:ext>
            </a:extLst>
          </p:cNvPr>
          <p:cNvSpPr/>
          <p:nvPr userDrawn="1"/>
        </p:nvSpPr>
        <p:spPr>
          <a:xfrm rot="19718639">
            <a:off x="-1374110" y="-1298424"/>
            <a:ext cx="8676656" cy="5938450"/>
          </a:xfrm>
          <a:custGeom>
            <a:avLst/>
            <a:gdLst>
              <a:gd name="connsiteX0" fmla="*/ 2676442 w 8676656"/>
              <a:gd name="connsiteY0" fmla="*/ 0 h 5938450"/>
              <a:gd name="connsiteX1" fmla="*/ 8676656 w 8676656"/>
              <a:gd name="connsiteY1" fmla="*/ 3656228 h 5938450"/>
              <a:gd name="connsiteX2" fmla="*/ 8640882 w 8676656"/>
              <a:gd name="connsiteY2" fmla="*/ 3795361 h 5938450"/>
              <a:gd name="connsiteX3" fmla="*/ 5727914 w 8676656"/>
              <a:gd name="connsiteY3" fmla="*/ 5938450 h 5938450"/>
              <a:gd name="connsiteX4" fmla="*/ 2537385 w 8676656"/>
              <a:gd name="connsiteY4" fmla="*/ 5938450 h 5938450"/>
              <a:gd name="connsiteX5" fmla="*/ 0 w 8676656"/>
              <a:gd name="connsiteY5" fmla="*/ 4392296 h 593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656" h="5938450">
                <a:moveTo>
                  <a:pt x="2676442" y="0"/>
                </a:moveTo>
                <a:lnTo>
                  <a:pt x="8676656" y="3656228"/>
                </a:lnTo>
                <a:lnTo>
                  <a:pt x="8640882" y="3795361"/>
                </a:lnTo>
                <a:cubicBezTo>
                  <a:pt x="8254705" y="5036958"/>
                  <a:pt x="7096587" y="5938450"/>
                  <a:pt x="5727914" y="5938450"/>
                </a:cubicBezTo>
                <a:lnTo>
                  <a:pt x="2537385" y="5938450"/>
                </a:lnTo>
                <a:lnTo>
                  <a:pt x="0" y="4392296"/>
                </a:lnTo>
                <a:close/>
              </a:path>
            </a:pathLst>
          </a:custGeom>
          <a:gradFill flip="none" rotWithShape="1">
            <a:gsLst>
              <a:gs pos="15000">
                <a:schemeClr val="bg1"/>
              </a:gs>
              <a:gs pos="100000">
                <a:schemeClr val="tx2"/>
              </a:gs>
            </a:gsLst>
            <a:lin ang="20400000" scaled="0"/>
            <a:tileRect/>
          </a:gradFill>
          <a:ln>
            <a:noFill/>
          </a:ln>
          <a:effectLst/>
        </p:spPr>
        <p:style>
          <a:lnRef idx="1">
            <a:schemeClr val="accent1"/>
          </a:lnRef>
          <a:fillRef idx="3">
            <a:schemeClr val="accent1"/>
          </a:fillRef>
          <a:effectRef idx="2">
            <a:schemeClr val="accent1"/>
          </a:effectRef>
          <a:fontRef idx="minor">
            <a:schemeClr val="lt1"/>
          </a:fontRef>
        </p:style>
        <p:txBody>
          <a:bodyPr vert="horz" wrap="square" lIns="108000" tIns="108000" rIns="108000" bIns="108000" rtlCol="0" anchor="t" anchorCtr="0">
            <a:noAutofit/>
          </a:bodyPr>
          <a:lstStyle/>
          <a:p>
            <a:pPr algn="ctr" defTabSz="1218418"/>
            <a:endParaRPr lang="en-US" sz="1200" b="1" err="1">
              <a:solidFill>
                <a:schemeClr val="tx1"/>
              </a:solidFill>
              <a:latin typeface="Proximus Bold" panose="00000500000000000000" pitchFamily="2" charset="0"/>
              <a:cs typeface="Proximus Bold"/>
            </a:endParaRPr>
          </a:p>
        </p:txBody>
      </p:sp>
      <p:sp>
        <p:nvSpPr>
          <p:cNvPr id="19" name="Subtitle 2">
            <a:extLst>
              <a:ext uri="{FF2B5EF4-FFF2-40B4-BE49-F238E27FC236}">
                <a16:creationId xmlns:a16="http://schemas.microsoft.com/office/drawing/2014/main" id="{452492B6-602B-45B8-BAD5-0E7699BEEADC}"/>
              </a:ext>
            </a:extLst>
          </p:cNvPr>
          <p:cNvSpPr>
            <a:spLocks noGrp="1"/>
          </p:cNvSpPr>
          <p:nvPr>
            <p:ph type="subTitle" idx="1" hasCustomPrompt="1"/>
          </p:nvPr>
        </p:nvSpPr>
        <p:spPr>
          <a:xfrm>
            <a:off x="460375" y="1968649"/>
            <a:ext cx="8221663" cy="1001806"/>
          </a:xfrm>
        </p:spPr>
        <p:txBody>
          <a:bodyPr/>
          <a:lstStyle>
            <a:lvl1pPr marL="0" indent="0" algn="l">
              <a:lnSpc>
                <a:spcPct val="100000"/>
              </a:lnSpc>
              <a:buNone/>
              <a:defRPr sz="26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20" name="Title 1">
            <a:extLst>
              <a:ext uri="{FF2B5EF4-FFF2-40B4-BE49-F238E27FC236}">
                <a16:creationId xmlns:a16="http://schemas.microsoft.com/office/drawing/2014/main" id="{73425EBE-5738-4E71-AC4D-14C0269C8B84}"/>
              </a:ext>
            </a:extLst>
          </p:cNvPr>
          <p:cNvSpPr>
            <a:spLocks noGrp="1"/>
          </p:cNvSpPr>
          <p:nvPr>
            <p:ph type="title" hasCustomPrompt="1"/>
          </p:nvPr>
        </p:nvSpPr>
        <p:spPr>
          <a:xfrm>
            <a:off x="460375" y="378000"/>
            <a:ext cx="8221663" cy="1311300"/>
          </a:xfrm>
        </p:spPr>
        <p:txBody>
          <a:bodyPr anchor="b">
            <a:noAutofit/>
          </a:bodyPr>
          <a:lstStyle>
            <a:lvl1pPr>
              <a:defRPr sz="4200" b="0">
                <a:solidFill>
                  <a:srgbClr val="FFFFFF"/>
                </a:solidFill>
                <a:latin typeface="Proximus ExtraBold" panose="00000900000000000000" pitchFamily="2" charset="0"/>
              </a:defRPr>
            </a:lvl1pPr>
          </a:lstStyle>
          <a:p>
            <a:r>
              <a:rPr lang="en-US"/>
              <a:t>Click to edit </a:t>
            </a:r>
            <a:br>
              <a:rPr lang="en-US"/>
            </a:br>
            <a:r>
              <a:rPr lang="en-US"/>
              <a:t>presentation title</a:t>
            </a:r>
            <a:endParaRPr lang="nl-BE"/>
          </a:p>
        </p:txBody>
      </p:sp>
      <p:pic>
        <p:nvPicPr>
          <p:cNvPr id="8" name="Graphic 7">
            <a:extLst>
              <a:ext uri="{FF2B5EF4-FFF2-40B4-BE49-F238E27FC236}">
                <a16:creationId xmlns:a16="http://schemas.microsoft.com/office/drawing/2014/main" id="{9CCBAF77-BF9E-4AFF-9B5C-97B4B25ECCE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2" name="Date Placeholder 8">
            <a:extLst>
              <a:ext uri="{FF2B5EF4-FFF2-40B4-BE49-F238E27FC236}">
                <a16:creationId xmlns:a16="http://schemas.microsoft.com/office/drawing/2014/main" id="{3B209494-A5CA-210D-6B64-8DDF378F201E}"/>
              </a:ext>
            </a:extLst>
          </p:cNvPr>
          <p:cNvSpPr>
            <a:spLocks noGrp="1"/>
          </p:cNvSpPr>
          <p:nvPr>
            <p:ph type="dt" sz="half" idx="2"/>
          </p:nvPr>
        </p:nvSpPr>
        <p:spPr>
          <a:xfrm>
            <a:off x="460375" y="4320114"/>
            <a:ext cx="1545007" cy="375711"/>
          </a:xfrm>
          <a:prstGeom prst="roundRect">
            <a:avLst>
              <a:gd name="adj" fmla="val 50000"/>
            </a:avLst>
          </a:prstGeom>
          <a:solidFill>
            <a:schemeClr val="tx1"/>
          </a:solidFill>
        </p:spPr>
        <p:txBody>
          <a:bodyPr vert="horz" wrap="none" lIns="72000" tIns="36000" rIns="72000" bIns="36000" rtlCol="0" anchor="ctr">
            <a:spAutoFit/>
          </a:bodyPr>
          <a:lstStyle>
            <a:lvl1pPr algn="l">
              <a:defRPr sz="1200">
                <a:solidFill>
                  <a:schemeClr val="bg1"/>
                </a:solidFill>
              </a:defRPr>
            </a:lvl1pPr>
          </a:lstStyle>
          <a:p>
            <a:endParaRPr lang="en-US"/>
          </a:p>
        </p:txBody>
      </p:sp>
    </p:spTree>
    <p:extLst>
      <p:ext uri="{BB962C8B-B14F-4D97-AF65-F5344CB8AC3E}">
        <p14:creationId xmlns:p14="http://schemas.microsoft.com/office/powerpoint/2010/main" val="31296394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ocks - 3 - Gradient Background">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09174-EAD9-9EC9-6738-B93B96FC8D6B}"/>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8" name="Text Placeholder 7">
            <a:extLst>
              <a:ext uri="{FF2B5EF4-FFF2-40B4-BE49-F238E27FC236}">
                <a16:creationId xmlns:a16="http://schemas.microsoft.com/office/drawing/2014/main" id="{893DF79C-F794-BBAA-174A-D8ABD9FC8EC1}"/>
              </a:ext>
            </a:extLst>
          </p:cNvPr>
          <p:cNvSpPr>
            <a:spLocks noGrp="1"/>
          </p:cNvSpPr>
          <p:nvPr>
            <p:ph type="body" sz="quarter" idx="13"/>
          </p:nvPr>
        </p:nvSpPr>
        <p:spPr>
          <a:xfrm>
            <a:off x="460375"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ext Placeholder 7">
            <a:extLst>
              <a:ext uri="{FF2B5EF4-FFF2-40B4-BE49-F238E27FC236}">
                <a16:creationId xmlns:a16="http://schemas.microsoft.com/office/drawing/2014/main" id="{26366419-4CB1-22C2-BFEF-A47ACEC91643}"/>
              </a:ext>
            </a:extLst>
          </p:cNvPr>
          <p:cNvSpPr>
            <a:spLocks noGrp="1"/>
          </p:cNvSpPr>
          <p:nvPr>
            <p:ph type="body" sz="quarter" idx="14"/>
          </p:nvPr>
        </p:nvSpPr>
        <p:spPr>
          <a:xfrm>
            <a:off x="3308344"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ext Placeholder 7">
            <a:extLst>
              <a:ext uri="{FF2B5EF4-FFF2-40B4-BE49-F238E27FC236}">
                <a16:creationId xmlns:a16="http://schemas.microsoft.com/office/drawing/2014/main" id="{2498A6E2-70E0-E343-408B-2BDF74C11E13}"/>
              </a:ext>
            </a:extLst>
          </p:cNvPr>
          <p:cNvSpPr>
            <a:spLocks noGrp="1"/>
          </p:cNvSpPr>
          <p:nvPr>
            <p:ph type="body" sz="quarter" idx="15"/>
          </p:nvPr>
        </p:nvSpPr>
        <p:spPr>
          <a:xfrm>
            <a:off x="6156313" y="1257300"/>
            <a:ext cx="2520000" cy="3438524"/>
          </a:xfrm>
          <a:prstGeom prst="roundRect">
            <a:avLst>
              <a:gd name="adj" fmla="val 3679"/>
            </a:avLst>
          </a:prstGeom>
          <a:solidFill>
            <a:schemeClr val="tx1"/>
          </a:solidFill>
          <a:effectLst>
            <a:outerShdw blurRad="317500" dist="114300" dir="5400000" sx="95000" sy="95000" algn="ctr" rotWithShape="0">
              <a:prstClr val="black">
                <a:alpha val="25000"/>
              </a:prstClr>
            </a:outerShdw>
          </a:effectLst>
        </p:spPr>
        <p:txBody>
          <a:bodyPr lIns="216000" tIns="216000" rIns="216000" bIns="216000"/>
          <a:lstStyle>
            <a:lvl1pPr marL="0" indent="0">
              <a:spcAft>
                <a:spcPts val="600"/>
              </a:spcAft>
              <a:buNone/>
              <a:defRPr sz="1800">
                <a:solidFill>
                  <a:schemeClr val="bg1"/>
                </a:solidFill>
                <a:latin typeface="Proximus Light" panose="020B0604020202020204" charset="0"/>
              </a:defRPr>
            </a:lvl1pPr>
            <a:lvl2pPr marL="176400" indent="-176192">
              <a:defRPr sz="1400"/>
            </a:lvl2pPr>
            <a:lvl3pPr marL="360000">
              <a:defRPr>
                <a:latin typeface="+mn-lt"/>
              </a:defRPr>
            </a:lvl3pPr>
            <a:lvl4pPr marL="536400" indent="-176400">
              <a:spcBef>
                <a:spcPts val="600"/>
              </a:spcBef>
              <a:buFont typeface="Arial" panose="020B0604020202020204" pitchFamily="34" charset="0"/>
              <a:buChar char="•"/>
              <a:defRPr sz="1200">
                <a:latin typeface="Proximus Light" panose="00000400000000000000" pitchFamily="50" charset="0"/>
              </a:defRPr>
            </a:lvl4pPr>
            <a:lvl5pPr>
              <a:spcBef>
                <a:spcPts val="600"/>
              </a:spcBef>
              <a:defRPr sz="1400">
                <a:solidFill>
                  <a:srgbClr val="000000"/>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76518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right">
    <p:spTree>
      <p:nvGrpSpPr>
        <p:cNvPr id="1" name=""/>
        <p:cNvGrpSpPr/>
        <p:nvPr/>
      </p:nvGrpSpPr>
      <p:grpSpPr>
        <a:xfrm>
          <a:off x="0" y="0"/>
          <a:ext cx="0" cy="0"/>
          <a:chOff x="0" y="0"/>
          <a:chExt cx="0" cy="0"/>
        </a:xfrm>
      </p:grpSpPr>
      <p:sp>
        <p:nvSpPr>
          <p:cNvPr id="10" name="Picture Placeholder 4"/>
          <p:cNvSpPr>
            <a:spLocks noGrp="1"/>
          </p:cNvSpPr>
          <p:nvPr>
            <p:ph type="pic" sz="quarter" idx="15" hasCustomPrompt="1"/>
          </p:nvPr>
        </p:nvSpPr>
        <p:spPr>
          <a:xfrm>
            <a:off x="4940007" y="0"/>
            <a:ext cx="4212000" cy="5143500"/>
          </a:xfrm>
          <a:blipFill>
            <a:blip r:embed="rId2"/>
            <a:tile tx="0" ty="69850" sx="100000" sy="100000" flip="none" algn="ctr"/>
          </a:blipFill>
        </p:spPr>
        <p:txBody>
          <a:bodyPr anchor="ctr"/>
          <a:lstStyle>
            <a:lvl1pPr marL="0" indent="0" algn="ctr">
              <a:lnSpc>
                <a:spcPct val="100000"/>
              </a:lnSpc>
              <a:buNone/>
              <a:defRPr baseline="0">
                <a:latin typeface="Proximus Bold"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460378" y="377826"/>
            <a:ext cx="3948592" cy="1058400"/>
          </a:xfrm>
        </p:spPr>
        <p:txBody>
          <a:bodyPr/>
          <a:lstStyle>
            <a:lvl1pPr>
              <a:defRPr b="1">
                <a:solidFill>
                  <a:schemeClr val="bg1"/>
                </a:solidFill>
                <a:latin typeface="Proximus Bold"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460375" y="1601999"/>
            <a:ext cx="3948113" cy="3093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4771256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 Image lef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0BDA83C3-91B0-900B-BC21-475B0DD60759}"/>
              </a:ext>
            </a:extLst>
          </p:cNvPr>
          <p:cNvSpPr>
            <a:spLocks noGrp="1"/>
          </p:cNvSpPr>
          <p:nvPr>
            <p:ph type="pic" sz="quarter" idx="19" hasCustomPrompt="1"/>
          </p:nvPr>
        </p:nvSpPr>
        <p:spPr>
          <a:xfrm>
            <a:off x="0" y="0"/>
            <a:ext cx="4941321" cy="5143500"/>
          </a:xfrm>
          <a:blipFill>
            <a:blip r:embed="rId2"/>
            <a:tile tx="0" ty="69850" sx="100000" sy="100000" flip="none" algn="ctr"/>
          </a:blipFill>
        </p:spPr>
        <p:txBody>
          <a:bodyPr anchor="ctr"/>
          <a:lstStyle>
            <a:lvl1pPr marL="0" indent="0" algn="ctr">
              <a:lnSpc>
                <a:spcPct val="100000"/>
              </a:lnSpc>
              <a:buNone/>
              <a:defRPr baseline="0">
                <a:latin typeface="Proximus Bold" panose="00000500000000000000" pitchFamily="2" charset="0"/>
              </a:defRPr>
            </a:lvl1pPr>
          </a:lstStyle>
          <a:p>
            <a:r>
              <a:rPr lang="en-GB"/>
              <a:t>Click icon to change picture</a:t>
            </a:r>
          </a:p>
        </p:txBody>
      </p:sp>
      <p:sp>
        <p:nvSpPr>
          <p:cNvPr id="2" name="Title 1"/>
          <p:cNvSpPr>
            <a:spLocks noGrp="1"/>
          </p:cNvSpPr>
          <p:nvPr>
            <p:ph type="title" hasCustomPrompt="1"/>
          </p:nvPr>
        </p:nvSpPr>
        <p:spPr>
          <a:xfrm>
            <a:off x="5435617" y="377825"/>
            <a:ext cx="3240696" cy="1057307"/>
          </a:xfrm>
        </p:spPr>
        <p:txBody>
          <a:bodyPr/>
          <a:lstStyle>
            <a:lvl1pPr>
              <a:defRPr b="1">
                <a:solidFill>
                  <a:schemeClr val="bg1"/>
                </a:solidFill>
                <a:latin typeface="Proximus Bold" panose="00000500000000000000" pitchFamily="2" charset="0"/>
              </a:defRPr>
            </a:lvl1pPr>
          </a:lstStyle>
          <a:p>
            <a:r>
              <a:rPr lang="en-US"/>
              <a:t>Click to edit slide title</a:t>
            </a:r>
            <a:endParaRPr lang="nl-BE"/>
          </a:p>
        </p:txBody>
      </p:sp>
      <p:sp>
        <p:nvSpPr>
          <p:cNvPr id="5" name="Text Placeholder 4">
            <a:extLst>
              <a:ext uri="{FF2B5EF4-FFF2-40B4-BE49-F238E27FC236}">
                <a16:creationId xmlns:a16="http://schemas.microsoft.com/office/drawing/2014/main" id="{92B82360-6E03-CB5A-DE23-8C03DE7AFF22}"/>
              </a:ext>
            </a:extLst>
          </p:cNvPr>
          <p:cNvSpPr>
            <a:spLocks noGrp="1"/>
          </p:cNvSpPr>
          <p:nvPr>
            <p:ph type="body" sz="quarter" idx="18"/>
          </p:nvPr>
        </p:nvSpPr>
        <p:spPr>
          <a:xfrm>
            <a:off x="5435600" y="1600199"/>
            <a:ext cx="3240303" cy="30956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765937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 Full image">
    <p:bg>
      <p:bgPr>
        <a:solidFill>
          <a:schemeClr val="tx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15" hasCustomPrompt="1"/>
          </p:nvPr>
        </p:nvSpPr>
        <p:spPr>
          <a:xfrm>
            <a:off x="0" y="0"/>
            <a:ext cx="9144000" cy="5148469"/>
          </a:xfrm>
          <a:blipFill dpi="0" rotWithShape="1">
            <a:blip r:embed="rId2"/>
            <a:srcRect/>
            <a:tile tx="0" ty="69850" sx="100000" sy="100000" flip="none" algn="ctr"/>
          </a:blipFill>
        </p:spPr>
        <p:txBody>
          <a:bodyPr anchor="ctr"/>
          <a:lstStyle>
            <a:lvl1pPr marL="0" indent="0" algn="ctr">
              <a:lnSpc>
                <a:spcPct val="100000"/>
              </a:lnSpc>
              <a:buNone/>
              <a:defRPr baseline="0">
                <a:noFill/>
                <a:latin typeface="Proximus Bold" panose="00000500000000000000" pitchFamily="2" charset="0"/>
              </a:defRPr>
            </a:lvl1pPr>
          </a:lstStyle>
          <a:p>
            <a:r>
              <a:rPr lang="en-GB"/>
              <a:t>Click icon to change picture</a:t>
            </a:r>
          </a:p>
        </p:txBody>
      </p:sp>
      <p:sp>
        <p:nvSpPr>
          <p:cNvPr id="2" name="Title 1"/>
          <p:cNvSpPr>
            <a:spLocks noGrp="1"/>
          </p:cNvSpPr>
          <p:nvPr>
            <p:ph type="title" hasCustomPrompt="1"/>
          </p:nvPr>
        </p:nvSpPr>
        <p:spPr/>
        <p:txBody>
          <a:bodyPr/>
          <a:lstStyle>
            <a:lvl1pPr>
              <a:defRPr b="1">
                <a:solidFill>
                  <a:schemeClr val="bg1"/>
                </a:solidFill>
                <a:latin typeface="Proximus Bold" panose="00000500000000000000" pitchFamily="2" charset="0"/>
              </a:defRPr>
            </a:lvl1pPr>
          </a:lstStyle>
          <a:p>
            <a:r>
              <a:rPr lang="en-US"/>
              <a:t>Click to edit slide title</a:t>
            </a:r>
            <a:endParaRPr lang="nl-BE"/>
          </a:p>
        </p:txBody>
      </p:sp>
    </p:spTree>
    <p:extLst>
      <p:ext uri="{BB962C8B-B14F-4D97-AF65-F5344CB8AC3E}">
        <p14:creationId xmlns:p14="http://schemas.microsoft.com/office/powerpoint/2010/main" val="26809765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4627669-EBE6-429E-B1FA-C8D75FC5EB99}"/>
              </a:ext>
            </a:extLst>
          </p:cNvPr>
          <p:cNvSpPr txBox="1"/>
          <p:nvPr userDrawn="1"/>
        </p:nvSpPr>
        <p:spPr>
          <a:xfrm>
            <a:off x="460375" y="1037768"/>
            <a:ext cx="8242842" cy="646331"/>
          </a:xfrm>
          <a:prstGeom prst="rect">
            <a:avLst/>
          </a:prstGeom>
        </p:spPr>
        <p:txBody>
          <a:bodyPr vert="horz" lIns="0" tIns="0" rIns="0" bIns="0" rtlCol="0" anchor="b" anchorCtr="0">
            <a:normAutofit/>
          </a:bodyPr>
          <a:lstStyle>
            <a:lvl1pPr defTabSz="914287">
              <a:spcBef>
                <a:spcPct val="0"/>
              </a:spcBef>
              <a:buNone/>
              <a:defRPr sz="4200" b="0" i="0">
                <a:solidFill>
                  <a:srgbClr val="FFFFFF"/>
                </a:solidFill>
                <a:latin typeface="Proximus ExtraBold" panose="00000900000000000000" pitchFamily="2" charset="0"/>
                <a:ea typeface="+mj-ea"/>
                <a:cs typeface="Proximus Bold"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BE"/>
              <a:t>T</a:t>
            </a:r>
            <a:r>
              <a:rPr lang="en-US"/>
              <a:t>h</a:t>
            </a:r>
            <a:r>
              <a:rPr lang="en-BE"/>
              <a:t>a</a:t>
            </a:r>
            <a:r>
              <a:rPr lang="en-US"/>
              <a:t>n</a:t>
            </a:r>
            <a:r>
              <a:rPr lang="en-BE"/>
              <a:t>k </a:t>
            </a:r>
            <a:r>
              <a:rPr lang="en-US"/>
              <a:t>Y</a:t>
            </a:r>
            <a:r>
              <a:rPr lang="en-BE"/>
              <a:t>o</a:t>
            </a:r>
            <a:r>
              <a:rPr lang="en-US"/>
              <a:t>u</a:t>
            </a:r>
          </a:p>
        </p:txBody>
      </p:sp>
      <p:sp>
        <p:nvSpPr>
          <p:cNvPr id="9" name="TextBox 8">
            <a:extLst>
              <a:ext uri="{FF2B5EF4-FFF2-40B4-BE49-F238E27FC236}">
                <a16:creationId xmlns:a16="http://schemas.microsoft.com/office/drawing/2014/main" id="{C1327079-BB69-4AA7-AE65-44FE269F5EF2}"/>
              </a:ext>
            </a:extLst>
          </p:cNvPr>
          <p:cNvSpPr txBox="1"/>
          <p:nvPr userDrawn="1"/>
        </p:nvSpPr>
        <p:spPr>
          <a:xfrm>
            <a:off x="460375" y="3775452"/>
            <a:ext cx="8221664" cy="267922"/>
          </a:xfrm>
          <a:prstGeom prst="rect">
            <a:avLst/>
          </a:prstGeom>
        </p:spPr>
        <p:txBody>
          <a:bodyPr vert="horz" lIns="0" tIns="0" rIns="0" bIns="0" numCol="1" spcCol="0" rtlCol="0" anchor="t" anchorCtr="0">
            <a:noAutofit/>
          </a:bodyPr>
          <a:lstStyle>
            <a:lvl1pPr lvl="0" indent="0" defTabSz="914287">
              <a:lnSpc>
                <a:spcPts val="2200"/>
              </a:lnSpc>
              <a:spcBef>
                <a:spcPts val="0"/>
              </a:spcBef>
              <a:spcAft>
                <a:spcPts val="1100"/>
              </a:spcAft>
              <a:buClr>
                <a:schemeClr val="tx2"/>
              </a:buClr>
              <a:buSzPct val="100000"/>
              <a:buFont typeface="Arial" panose="020B0604020202020204" pitchFamily="34" charset="0"/>
              <a:buNone/>
              <a:tabLst/>
              <a:defRPr sz="1800">
                <a:latin typeface="Proximus Bold" panose="00000500000000000000" pitchFamily="2" charset="0"/>
              </a:defRPr>
            </a:lvl1pPr>
            <a:lvl2pPr marL="358730" indent="-176192" defTabSz="914287">
              <a:spcBef>
                <a:spcPts val="0"/>
              </a:spcBef>
              <a:spcAft>
                <a:spcPts val="1100"/>
              </a:spcAft>
              <a:buClr>
                <a:schemeClr val="bg1"/>
              </a:buClr>
              <a:buSzPct val="100000"/>
              <a:buFont typeface="Arial" panose="020B0604020202020204" pitchFamily="34" charset="0"/>
              <a:buChar char="•"/>
              <a:tabLst/>
              <a:defRPr sz="1800">
                <a:solidFill>
                  <a:schemeClr val="bg1"/>
                </a:solidFill>
                <a:latin typeface="Proximus Bold" panose="00000500000000000000" pitchFamily="2" charset="0"/>
              </a:defRPr>
            </a:lvl2pPr>
            <a:lvl3pPr marL="536507" indent="-177779" defTabSz="914287">
              <a:spcBef>
                <a:spcPts val="0"/>
              </a:spcBef>
              <a:spcAft>
                <a:spcPts val="1100"/>
              </a:spcAft>
              <a:buClr>
                <a:schemeClr val="bg1"/>
              </a:buClr>
              <a:buSzPct val="100000"/>
              <a:buFont typeface="Arial" panose="020B0604020202020204" pitchFamily="34" charset="0"/>
              <a:buChar char="•"/>
              <a:tabLst/>
              <a:defRPr sz="1600">
                <a:solidFill>
                  <a:schemeClr val="bg1"/>
                </a:solidFill>
                <a:latin typeface="Proximus Bold" panose="00000500000000000000" pitchFamily="2" charset="0"/>
              </a:defRPr>
            </a:lvl3pPr>
            <a:lvl4pPr marL="712699" indent="-176192" defTabSz="914287">
              <a:spcBef>
                <a:spcPts val="0"/>
              </a:spcBef>
              <a:spcAft>
                <a:spcPts val="1100"/>
              </a:spcAft>
              <a:buClr>
                <a:schemeClr val="bg1"/>
              </a:buClr>
              <a:buSzPct val="100000"/>
              <a:buFont typeface="Arial" panose="020B0604020202020204" pitchFamily="34" charset="0"/>
              <a:buChar char="•"/>
              <a:tabLst/>
              <a:defRPr sz="1400">
                <a:solidFill>
                  <a:schemeClr val="bg1"/>
                </a:solidFill>
                <a:latin typeface="Proximus Bold" panose="00000500000000000000" pitchFamily="2" charset="0"/>
              </a:defRPr>
            </a:lvl4pPr>
            <a:lvl5pPr marL="888889" indent="-176192" defTabSz="914287">
              <a:spcBef>
                <a:spcPts val="0"/>
              </a:spcBef>
              <a:spcAft>
                <a:spcPts val="1100"/>
              </a:spcAft>
              <a:buClr>
                <a:schemeClr val="bg1"/>
              </a:buClr>
              <a:buSzPct val="100000"/>
              <a:buFont typeface="Arial" panose="020B0604020202020204" pitchFamily="34" charset="0"/>
              <a:buChar char="•"/>
              <a:tabLst/>
              <a:defRPr sz="1200">
                <a:solidFill>
                  <a:schemeClr val="bg1"/>
                </a:solidFill>
                <a:latin typeface="Proximus Bold" panose="00000500000000000000" pitchFamily="2" charset="0"/>
              </a:defRPr>
            </a:lvl5pPr>
            <a:lvl6pPr marL="2514286" indent="-228572" defTabSz="914287">
              <a:spcBef>
                <a:spcPct val="20000"/>
              </a:spcBef>
              <a:buFont typeface="Arial" panose="020B0604020202020204" pitchFamily="34" charset="0"/>
              <a:buChar char="•"/>
              <a:defRPr sz="2000"/>
            </a:lvl6pPr>
            <a:lvl7pPr marL="2971429" indent="-228572" defTabSz="914287">
              <a:spcBef>
                <a:spcPct val="20000"/>
              </a:spcBef>
              <a:buFont typeface="Arial" panose="020B0604020202020204" pitchFamily="34" charset="0"/>
              <a:buChar char="•"/>
              <a:defRPr sz="2000"/>
            </a:lvl7pPr>
            <a:lvl8pPr marL="3428572" indent="-228572" defTabSz="914287">
              <a:spcBef>
                <a:spcPct val="20000"/>
              </a:spcBef>
              <a:buFont typeface="Arial" panose="020B0604020202020204" pitchFamily="34" charset="0"/>
              <a:buChar char="•"/>
              <a:defRPr sz="2000"/>
            </a:lvl8pPr>
            <a:lvl9pPr marL="3885715" indent="-228572" defTabSz="914287">
              <a:spcBef>
                <a:spcPct val="20000"/>
              </a:spcBef>
              <a:buFont typeface="Arial" panose="020B0604020202020204" pitchFamily="34" charset="0"/>
              <a:buChar char="•"/>
              <a:defRPr sz="2000"/>
            </a:lvl9pPr>
          </a:lstStyle>
          <a:p>
            <a:pPr lvl="0"/>
            <a:r>
              <a:rPr lang="en-US"/>
              <a:t>More info?</a:t>
            </a:r>
          </a:p>
        </p:txBody>
      </p:sp>
      <p:sp>
        <p:nvSpPr>
          <p:cNvPr id="10" name="Text Placeholder 13">
            <a:extLst>
              <a:ext uri="{FF2B5EF4-FFF2-40B4-BE49-F238E27FC236}">
                <a16:creationId xmlns:a16="http://schemas.microsoft.com/office/drawing/2014/main" id="{8372C999-9A28-4AA4-991B-7FBAC93D34FF}"/>
              </a:ext>
            </a:extLst>
          </p:cNvPr>
          <p:cNvSpPr>
            <a:spLocks noGrp="1"/>
          </p:cNvSpPr>
          <p:nvPr>
            <p:ph type="body" sz="quarter" idx="10" hasCustomPrompt="1"/>
          </p:nvPr>
        </p:nvSpPr>
        <p:spPr>
          <a:xfrm>
            <a:off x="439738" y="4105275"/>
            <a:ext cx="8262937" cy="268288"/>
          </a:xfrm>
          <a:noFill/>
        </p:spPr>
        <p:txBody>
          <a:bodyPr/>
          <a:lstStyle>
            <a:lvl1pPr marL="0" indent="0">
              <a:buNone/>
              <a:defRPr>
                <a:solidFill>
                  <a:schemeClr val="tx1"/>
                </a:solidFill>
              </a:defRPr>
            </a:lvl1pPr>
          </a:lstStyle>
          <a:p>
            <a:pPr lvl="0"/>
            <a:r>
              <a:rPr lang="en-US"/>
              <a:t>firstname.lastname@proximus.com</a:t>
            </a:r>
          </a:p>
        </p:txBody>
      </p:sp>
      <p:pic>
        <p:nvPicPr>
          <p:cNvPr id="11" name="Graphic 10">
            <a:extLst>
              <a:ext uri="{FF2B5EF4-FFF2-40B4-BE49-F238E27FC236}">
                <a16:creationId xmlns:a16="http://schemas.microsoft.com/office/drawing/2014/main" id="{6DE3DAB3-B0CE-47F8-80EF-9E05EC59DA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4175131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6625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Custom Layout">
    <p:bg>
      <p:bgPr>
        <a:solidFill>
          <a:srgbClr val="F3F6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680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720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 Dark bg">
    <p:bg>
      <p:bgPr>
        <a:blipFill>
          <a:blip r:embed="rId2"/>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3D3065A-4C50-7720-70A9-DE4226DCCDFB}"/>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7200">
                <a:gradFill>
                  <a:gsLst>
                    <a:gs pos="25000">
                      <a:schemeClr val="bg1"/>
                    </a:gs>
                    <a:gs pos="100000">
                      <a:srgbClr val="D22E67"/>
                    </a:gs>
                  </a:gsLst>
                  <a:lin ang="3000000" scaled="0"/>
                </a:gradFill>
                <a:latin typeface="Proximus ExtraBold" panose="020B0604020202020204" charset="0"/>
              </a:defRPr>
            </a:lvl1pPr>
          </a:lstStyle>
          <a:p>
            <a:pPr lvl="0"/>
            <a:r>
              <a:rPr lang="en-US"/>
              <a:t>xx</a:t>
            </a:r>
          </a:p>
        </p:txBody>
      </p:sp>
      <p:sp>
        <p:nvSpPr>
          <p:cNvPr id="11" name="Title 1">
            <a:extLst>
              <a:ext uri="{FF2B5EF4-FFF2-40B4-BE49-F238E27FC236}">
                <a16:creationId xmlns:a16="http://schemas.microsoft.com/office/drawing/2014/main" id="{A4CB2253-770B-4753-A69C-382181C58DC6}"/>
              </a:ext>
            </a:extLst>
          </p:cNvPr>
          <p:cNvSpPr>
            <a:spLocks noGrp="1"/>
          </p:cNvSpPr>
          <p:nvPr>
            <p:ph type="title" hasCustomPrompt="1"/>
          </p:nvPr>
        </p:nvSpPr>
        <p:spPr>
          <a:xfrm>
            <a:off x="460375" y="378000"/>
            <a:ext cx="5580000" cy="1311300"/>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6" name="Subtitle 2">
            <a:extLst>
              <a:ext uri="{FF2B5EF4-FFF2-40B4-BE49-F238E27FC236}">
                <a16:creationId xmlns:a16="http://schemas.microsoft.com/office/drawing/2014/main" id="{4FF70604-92E8-4B07-AC0F-3DB475239311}"/>
              </a:ext>
            </a:extLst>
          </p:cNvPr>
          <p:cNvSpPr>
            <a:spLocks noGrp="1"/>
          </p:cNvSpPr>
          <p:nvPr>
            <p:ph type="subTitle" idx="1" hasCustomPrompt="1"/>
          </p:nvPr>
        </p:nvSpPr>
        <p:spPr>
          <a:xfrm>
            <a:off x="460375" y="1968649"/>
            <a:ext cx="5580000" cy="1001806"/>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pic>
        <p:nvPicPr>
          <p:cNvPr id="6" name="Graphic 5">
            <a:extLst>
              <a:ext uri="{FF2B5EF4-FFF2-40B4-BE49-F238E27FC236}">
                <a16:creationId xmlns:a16="http://schemas.microsoft.com/office/drawing/2014/main" id="{F1D4CE6D-DB6A-415E-9EC1-FDF12573AFE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2123533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 Light bg">
    <p:bg>
      <p:bgPr>
        <a:blipFill>
          <a:blip r:embed="rId2"/>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D1C1F15-39D8-412D-8A63-32C1FD0C45E2}"/>
              </a:ext>
            </a:extLst>
          </p:cNvPr>
          <p:cNvSpPr>
            <a:spLocks noGrp="1"/>
          </p:cNvSpPr>
          <p:nvPr>
            <p:ph type="title" hasCustomPrompt="1"/>
          </p:nvPr>
        </p:nvSpPr>
        <p:spPr>
          <a:xfrm>
            <a:off x="460375" y="372535"/>
            <a:ext cx="5580000" cy="1311300"/>
          </a:xfrm>
        </p:spPr>
        <p:txBody>
          <a:bodyPr anchor="b">
            <a:noAutofit/>
          </a:bodyPr>
          <a:lstStyle>
            <a:lvl1pPr>
              <a:defRPr sz="3600" b="0">
                <a:solidFill>
                  <a:schemeClr val="bg1"/>
                </a:solidFill>
                <a:latin typeface="Proximus ExtraBold" panose="00000900000000000000" pitchFamily="2" charset="0"/>
              </a:defRPr>
            </a:lvl1pPr>
          </a:lstStyle>
          <a:p>
            <a:r>
              <a:rPr lang="en-US"/>
              <a:t>Click to edit </a:t>
            </a:r>
            <a:br>
              <a:rPr lang="en-US"/>
            </a:br>
            <a:r>
              <a:rPr lang="en-US"/>
              <a:t>chapter title</a:t>
            </a:r>
            <a:endParaRPr lang="nl-BE"/>
          </a:p>
        </p:txBody>
      </p:sp>
      <p:sp>
        <p:nvSpPr>
          <p:cNvPr id="13" name="Subtitle 2">
            <a:extLst>
              <a:ext uri="{FF2B5EF4-FFF2-40B4-BE49-F238E27FC236}">
                <a16:creationId xmlns:a16="http://schemas.microsoft.com/office/drawing/2014/main" id="{97531072-EECB-42CB-876A-D2C8B26FB265}"/>
              </a:ext>
            </a:extLst>
          </p:cNvPr>
          <p:cNvSpPr>
            <a:spLocks noGrp="1"/>
          </p:cNvSpPr>
          <p:nvPr>
            <p:ph type="subTitle" idx="1" hasCustomPrompt="1"/>
          </p:nvPr>
        </p:nvSpPr>
        <p:spPr>
          <a:xfrm>
            <a:off x="460375" y="1968649"/>
            <a:ext cx="5580000" cy="1001806"/>
          </a:xfrm>
        </p:spPr>
        <p:txBody>
          <a:bodyPr/>
          <a:lstStyle>
            <a:lvl1pPr marL="0" indent="0" algn="l">
              <a:lnSpc>
                <a:spcPct val="100000"/>
              </a:lnSpc>
              <a:buNone/>
              <a:defRPr sz="2200">
                <a:solidFill>
                  <a:schemeClr val="bg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pic>
        <p:nvPicPr>
          <p:cNvPr id="4" name="Graphic 3">
            <a:extLst>
              <a:ext uri="{FF2B5EF4-FFF2-40B4-BE49-F238E27FC236}">
                <a16:creationId xmlns:a16="http://schemas.microsoft.com/office/drawing/2014/main" id="{744C608D-DD01-42D2-828F-3F3AD9E9B4D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18936" y="4279105"/>
            <a:ext cx="684532" cy="554831"/>
          </a:xfrm>
          <a:prstGeom prst="rect">
            <a:avLst/>
          </a:prstGeom>
        </p:spPr>
      </p:pic>
      <p:sp>
        <p:nvSpPr>
          <p:cNvPr id="2" name="Text Placeholder 1">
            <a:extLst>
              <a:ext uri="{FF2B5EF4-FFF2-40B4-BE49-F238E27FC236}">
                <a16:creationId xmlns:a16="http://schemas.microsoft.com/office/drawing/2014/main" id="{2A73750A-6229-3EF4-AA8A-016FC0154B02}"/>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72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2356422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 Purple">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5204"/>
            <a:ext cx="5580000" cy="1001806"/>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8000"/>
            <a:ext cx="5580000" cy="1209062"/>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gradFill>
            <a:gsLst>
              <a:gs pos="20000">
                <a:schemeClr val="bg1"/>
              </a:gs>
              <a:gs pos="100000">
                <a:srgbClr val="D22E67"/>
              </a:gs>
            </a:gsLst>
            <a:lin ang="7200000" scaled="0"/>
          </a:gradFill>
        </p:spPr>
        <p:txBody>
          <a:bodyPr wrap="square" anchor="ctr">
            <a:noAutofit/>
          </a:bodyPr>
          <a:lstStyle>
            <a:lvl1pPr marL="0" indent="0" algn="ctr">
              <a:buNone/>
              <a:defRPr sz="7200">
                <a:solidFill>
                  <a:schemeClr val="tx1"/>
                </a:soli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2419946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 Gradient">
    <p:bg>
      <p:bgPr>
        <a:gradFill>
          <a:gsLst>
            <a:gs pos="25000">
              <a:schemeClr val="bg1"/>
            </a:gs>
            <a:gs pos="100000">
              <a:srgbClr val="D22E67"/>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1845204"/>
            <a:ext cx="5580000" cy="1001806"/>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5" y="378000"/>
            <a:ext cx="5580000" cy="1209062"/>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sp>
        <p:nvSpPr>
          <p:cNvPr id="2" name="Text Placeholder 1">
            <a:extLst>
              <a:ext uri="{FF2B5EF4-FFF2-40B4-BE49-F238E27FC236}">
                <a16:creationId xmlns:a16="http://schemas.microsoft.com/office/drawing/2014/main" id="{A13ED057-FB00-C414-4716-D43E229D0A38}"/>
              </a:ext>
            </a:extLst>
          </p:cNvPr>
          <p:cNvSpPr>
            <a:spLocks noGrp="1"/>
          </p:cNvSpPr>
          <p:nvPr>
            <p:ph type="body" sz="quarter" idx="10" hasCustomPrompt="1"/>
          </p:nvPr>
        </p:nvSpPr>
        <p:spPr>
          <a:xfrm>
            <a:off x="6590680" y="1"/>
            <a:ext cx="2553320" cy="2598221"/>
          </a:xfrm>
          <a:custGeom>
            <a:avLst/>
            <a:gdLst>
              <a:gd name="connsiteX0" fmla="*/ 974239 w 2553320"/>
              <a:gd name="connsiteY0" fmla="*/ 0 h 2598221"/>
              <a:gd name="connsiteX1" fmla="*/ 2553320 w 2553320"/>
              <a:gd name="connsiteY1" fmla="*/ 0 h 2598221"/>
              <a:gd name="connsiteX2" fmla="*/ 2553320 w 2553320"/>
              <a:gd name="connsiteY2" fmla="*/ 1668884 h 2598221"/>
              <a:gd name="connsiteX3" fmla="*/ 1960321 w 2553320"/>
              <a:gd name="connsiteY3" fmla="*/ 2261883 h 2598221"/>
              <a:gd name="connsiteX4" fmla="*/ 336338 w 2553320"/>
              <a:gd name="connsiteY4" fmla="*/ 2261883 h 2598221"/>
              <a:gd name="connsiteX5" fmla="*/ 336338 w 2553320"/>
              <a:gd name="connsiteY5" fmla="*/ 637901 h 259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3320" h="2598221">
                <a:moveTo>
                  <a:pt x="974239" y="0"/>
                </a:moveTo>
                <a:lnTo>
                  <a:pt x="2553320" y="0"/>
                </a:lnTo>
                <a:lnTo>
                  <a:pt x="2553320" y="1668884"/>
                </a:lnTo>
                <a:lnTo>
                  <a:pt x="1960321" y="2261883"/>
                </a:lnTo>
                <a:cubicBezTo>
                  <a:pt x="1511870" y="2710334"/>
                  <a:pt x="784789" y="2710334"/>
                  <a:pt x="336338" y="2261883"/>
                </a:cubicBezTo>
                <a:cubicBezTo>
                  <a:pt x="-112112" y="1813433"/>
                  <a:pt x="-112112" y="1086352"/>
                  <a:pt x="336338" y="637901"/>
                </a:cubicBezTo>
                <a:close/>
              </a:path>
            </a:pathLst>
          </a:custGeom>
          <a:solidFill>
            <a:schemeClr val="tx1"/>
          </a:solidFill>
        </p:spPr>
        <p:txBody>
          <a:bodyPr wrap="square" anchor="ctr">
            <a:noAutofit/>
          </a:bodyPr>
          <a:lstStyle>
            <a:lvl1pPr marL="0" indent="0" algn="ctr">
              <a:buNone/>
              <a:defRPr sz="7200">
                <a:gradFill>
                  <a:gsLst>
                    <a:gs pos="20000">
                      <a:schemeClr val="bg1"/>
                    </a:gs>
                    <a:gs pos="100000">
                      <a:srgbClr val="D22E67"/>
                    </a:gs>
                  </a:gsLst>
                  <a:lin ang="3000000" scaled="0"/>
                </a:gradFill>
                <a:latin typeface="Proximus ExtraBold" panose="020B0604020202020204" charset="0"/>
              </a:defRPr>
            </a:lvl1pPr>
          </a:lstStyle>
          <a:p>
            <a:pPr lvl="0"/>
            <a:r>
              <a:rPr lang="en-US"/>
              <a:t>xx</a:t>
            </a:r>
          </a:p>
        </p:txBody>
      </p:sp>
    </p:spTree>
    <p:extLst>
      <p:ext uri="{BB962C8B-B14F-4D97-AF65-F5344CB8AC3E}">
        <p14:creationId xmlns:p14="http://schemas.microsoft.com/office/powerpoint/2010/main" val="1287056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1">
    <p:bg>
      <p:bgPr>
        <a:gradFill>
          <a:gsLst>
            <a:gs pos="25000">
              <a:schemeClr val="bg1"/>
            </a:gs>
            <a:gs pos="100000">
              <a:schemeClr val="bg2"/>
            </a:gs>
          </a:gsLst>
          <a:lin ang="3000000" scaled="0"/>
        </a:gra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3504776"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4636558"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7173" y="4293396"/>
            <a:ext cx="666905" cy="540544"/>
          </a:xfrm>
          <a:prstGeom prst="rect">
            <a:avLst/>
          </a:prstGeom>
        </p:spPr>
      </p:pic>
      <p:pic>
        <p:nvPicPr>
          <p:cNvPr id="2" name="Graphic 1">
            <a:extLst>
              <a:ext uri="{FF2B5EF4-FFF2-40B4-BE49-F238E27FC236}">
                <a16:creationId xmlns:a16="http://schemas.microsoft.com/office/drawing/2014/main" id="{46333D4F-5D02-DCDE-F7B0-2ECA272BB48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 t="-1139" r="5844"/>
          <a:stretch/>
        </p:blipFill>
        <p:spPr>
          <a:xfrm>
            <a:off x="3965151" y="250431"/>
            <a:ext cx="5178850" cy="4313237"/>
          </a:xfrm>
          <a:prstGeom prst="rect">
            <a:avLst/>
          </a:prstGeom>
        </p:spPr>
      </p:pic>
    </p:spTree>
    <p:extLst>
      <p:ext uri="{BB962C8B-B14F-4D97-AF65-F5344CB8AC3E}">
        <p14:creationId xmlns:p14="http://schemas.microsoft.com/office/powerpoint/2010/main" val="2055008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 Illustration 2">
    <p:bg>
      <p:bgPr>
        <a:gradFill>
          <a:gsLst>
            <a:gs pos="25000">
              <a:schemeClr val="bg1"/>
            </a:gs>
            <a:gs pos="100000">
              <a:srgbClr val="D12E67"/>
            </a:gs>
          </a:gsLst>
          <a:lin ang="3000000" scaled="0"/>
        </a:gradFill>
        <a:effectLst/>
      </p:bgPr>
    </p:bg>
    <p:spTree>
      <p:nvGrpSpPr>
        <p:cNvPr id="1" name=""/>
        <p:cNvGrpSpPr/>
        <p:nvPr/>
      </p:nvGrpSpPr>
      <p:grpSpPr>
        <a:xfrm>
          <a:off x="0" y="0"/>
          <a:ext cx="0" cy="0"/>
          <a:chOff x="0" y="0"/>
          <a:chExt cx="0" cy="0"/>
        </a:xfrm>
      </p:grpSpPr>
      <p:pic>
        <p:nvPicPr>
          <p:cNvPr id="70" name="Graphic 69">
            <a:extLst>
              <a:ext uri="{FF2B5EF4-FFF2-40B4-BE49-F238E27FC236}">
                <a16:creationId xmlns:a16="http://schemas.microsoft.com/office/drawing/2014/main" id="{ADBF8575-D13C-292D-662F-9F9FA797F7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39144" b="15694"/>
          <a:stretch/>
        </p:blipFill>
        <p:spPr>
          <a:xfrm>
            <a:off x="2193925" y="1184275"/>
            <a:ext cx="6950075" cy="3959225"/>
          </a:xfrm>
          <a:prstGeom prst="rect">
            <a:avLst/>
          </a:prstGeom>
        </p:spPr>
      </p:pic>
      <p:sp>
        <p:nvSpPr>
          <p:cNvPr id="11" name="Subtitle 2">
            <a:extLst>
              <a:ext uri="{FF2B5EF4-FFF2-40B4-BE49-F238E27FC236}">
                <a16:creationId xmlns:a16="http://schemas.microsoft.com/office/drawing/2014/main" id="{54624A9C-854F-40A2-99B9-039188C411C2}"/>
              </a:ext>
            </a:extLst>
          </p:cNvPr>
          <p:cNvSpPr>
            <a:spLocks noGrp="1"/>
          </p:cNvSpPr>
          <p:nvPr>
            <p:ph type="subTitle" idx="1" hasCustomPrompt="1"/>
          </p:nvPr>
        </p:nvSpPr>
        <p:spPr>
          <a:xfrm>
            <a:off x="460375" y="2298257"/>
            <a:ext cx="3504776" cy="1147675"/>
          </a:xfrm>
        </p:spPr>
        <p:txBody>
          <a:bodyPr/>
          <a:lstStyle>
            <a:lvl1pPr marL="0" indent="0" algn="l">
              <a:lnSpc>
                <a:spcPct val="100000"/>
              </a:lnSpc>
              <a:buNone/>
              <a:defRPr sz="2200">
                <a:solidFill>
                  <a:schemeClr val="tx1"/>
                </a:solidFill>
                <a:latin typeface="Proximus Light"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nl-BE"/>
          </a:p>
        </p:txBody>
      </p:sp>
      <p:sp>
        <p:nvSpPr>
          <p:cNvPr id="12" name="Title 1">
            <a:extLst>
              <a:ext uri="{FF2B5EF4-FFF2-40B4-BE49-F238E27FC236}">
                <a16:creationId xmlns:a16="http://schemas.microsoft.com/office/drawing/2014/main" id="{0F09366F-88D8-4483-A090-F7A61C91C28B}"/>
              </a:ext>
            </a:extLst>
          </p:cNvPr>
          <p:cNvSpPr>
            <a:spLocks noGrp="1"/>
          </p:cNvSpPr>
          <p:nvPr>
            <p:ph type="title" hasCustomPrompt="1"/>
          </p:nvPr>
        </p:nvSpPr>
        <p:spPr>
          <a:xfrm>
            <a:off x="460376" y="379413"/>
            <a:ext cx="4636558" cy="1660703"/>
          </a:xfrm>
        </p:spPr>
        <p:txBody>
          <a:bodyPr anchor="b">
            <a:noAutofit/>
          </a:bodyPr>
          <a:lstStyle>
            <a:lvl1pPr>
              <a:defRPr sz="3600" b="0">
                <a:solidFill>
                  <a:srgbClr val="FFFFFF"/>
                </a:solidFill>
                <a:latin typeface="Proximus ExtraBold" panose="00000900000000000000" pitchFamily="2" charset="0"/>
              </a:defRPr>
            </a:lvl1pPr>
          </a:lstStyle>
          <a:p>
            <a:r>
              <a:rPr lang="en-US"/>
              <a:t>Click to edit </a:t>
            </a:r>
            <a:br>
              <a:rPr lang="en-US"/>
            </a:br>
            <a:r>
              <a:rPr lang="en-US"/>
              <a:t>chapter title</a:t>
            </a:r>
            <a:endParaRPr lang="nl-BE"/>
          </a:p>
        </p:txBody>
      </p:sp>
      <p:pic>
        <p:nvPicPr>
          <p:cNvPr id="5" name="Graphic 4">
            <a:extLst>
              <a:ext uri="{FF2B5EF4-FFF2-40B4-BE49-F238E27FC236}">
                <a16:creationId xmlns:a16="http://schemas.microsoft.com/office/drawing/2014/main" id="{CD35E110-DB14-4A13-AA72-FF0193C1B3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7173" y="4293396"/>
            <a:ext cx="666905" cy="540544"/>
          </a:xfrm>
          <a:prstGeom prst="rect">
            <a:avLst/>
          </a:prstGeom>
        </p:spPr>
      </p:pic>
    </p:spTree>
    <p:extLst>
      <p:ext uri="{BB962C8B-B14F-4D97-AF65-F5344CB8AC3E}">
        <p14:creationId xmlns:p14="http://schemas.microsoft.com/office/powerpoint/2010/main" val="380824408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0377" y="377826"/>
            <a:ext cx="8221663" cy="660092"/>
          </a:xfrm>
          <a:prstGeom prst="rect">
            <a:avLst/>
          </a:prstGeom>
        </p:spPr>
        <p:txBody>
          <a:bodyPr vert="horz" lIns="0" tIns="0" rIns="0" bIns="0" rtlCol="0" anchor="t" anchorCtr="0">
            <a:noAutofit/>
          </a:bodyPr>
          <a:lstStyle/>
          <a:p>
            <a:r>
              <a:rPr lang="fr-FR"/>
              <a:t>Modifiez le style du titre</a:t>
            </a:r>
            <a:endParaRPr lang="nl-BE"/>
          </a:p>
        </p:txBody>
      </p:sp>
      <p:sp>
        <p:nvSpPr>
          <p:cNvPr id="3" name="Text Placeholder 2"/>
          <p:cNvSpPr>
            <a:spLocks noGrp="1"/>
          </p:cNvSpPr>
          <p:nvPr>
            <p:ph type="body" idx="1"/>
          </p:nvPr>
        </p:nvSpPr>
        <p:spPr>
          <a:xfrm>
            <a:off x="460376" y="1038227"/>
            <a:ext cx="8221662" cy="3513138"/>
          </a:xfrm>
          <a:prstGeom prst="rect">
            <a:avLst/>
          </a:prstGeom>
        </p:spPr>
        <p:txBody>
          <a:bodyPr vert="horz" lIns="0" tIns="0" rIns="0" bIns="0" numCol="1" spcCol="0" rtlCol="0" anchor="t" anchorCtr="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BE"/>
          </a:p>
        </p:txBody>
      </p:sp>
    </p:spTree>
    <p:extLst>
      <p:ext uri="{BB962C8B-B14F-4D97-AF65-F5344CB8AC3E}">
        <p14:creationId xmlns:p14="http://schemas.microsoft.com/office/powerpoint/2010/main" val="3654186370"/>
      </p:ext>
    </p:extLst>
  </p:cSld>
  <p:clrMap bg1="dk1" tx1="lt1" bg2="dk2" tx2="lt2" accent1="accent1" accent2="accent2" accent3="accent3" accent4="accent4" accent5="accent5" accent6="accent6" hlink="hlink" folHlink="folHlink"/>
  <p:sldLayoutIdLst>
    <p:sldLayoutId id="2147484373" r:id="rId1"/>
    <p:sldLayoutId id="2147484392" r:id="rId2"/>
    <p:sldLayoutId id="2147484374" r:id="rId3"/>
    <p:sldLayoutId id="2147484375" r:id="rId4"/>
    <p:sldLayoutId id="2147484376" r:id="rId5"/>
    <p:sldLayoutId id="2147484377" r:id="rId6"/>
    <p:sldLayoutId id="2147484401" r:id="rId7"/>
    <p:sldLayoutId id="2147484395" r:id="rId8"/>
    <p:sldLayoutId id="2147484399" r:id="rId9"/>
    <p:sldLayoutId id="2147484400" r:id="rId10"/>
    <p:sldLayoutId id="2147484396" r:id="rId11"/>
    <p:sldLayoutId id="2147484397" r:id="rId12"/>
    <p:sldLayoutId id="2147484398" r:id="rId13"/>
    <p:sldLayoutId id="2147484379" r:id="rId14"/>
    <p:sldLayoutId id="2147484184" r:id="rId15"/>
    <p:sldLayoutId id="2147484381" r:id="rId16"/>
    <p:sldLayoutId id="2147484382" r:id="rId17"/>
    <p:sldLayoutId id="2147484383" r:id="rId18"/>
    <p:sldLayoutId id="2147484186" r:id="rId19"/>
    <p:sldLayoutId id="2147484394" r:id="rId20"/>
    <p:sldLayoutId id="2147484402" r:id="rId21"/>
    <p:sldLayoutId id="2147484403" r:id="rId22"/>
    <p:sldLayoutId id="2147484393" r:id="rId23"/>
    <p:sldLayoutId id="2147484384" r:id="rId24"/>
    <p:sldLayoutId id="2147484385" r:id="rId25"/>
    <p:sldLayoutId id="2147484386" r:id="rId26"/>
    <p:sldLayoutId id="2147484387" r:id="rId27"/>
    <p:sldLayoutId id="2147484406" r:id="rId28"/>
    <p:sldLayoutId id="2147484388" r:id="rId29"/>
    <p:sldLayoutId id="2147484389" r:id="rId30"/>
    <p:sldLayoutId id="2147484195" r:id="rId31"/>
    <p:sldLayoutId id="2147484391" r:id="rId32"/>
    <p:sldLayoutId id="2147484199" r:id="rId33"/>
    <p:sldLayoutId id="2147484378" r:id="rId34"/>
    <p:sldLayoutId id="2147484390" r:id="rId35"/>
    <p:sldLayoutId id="2147484405" r:id="rId36"/>
    <p:sldLayoutId id="2147484407" r:id="rId37"/>
  </p:sldLayoutIdLst>
  <p:hf sldNum="0" hdr="0" ftr="0" dt="0"/>
  <p:txStyles>
    <p:titleStyle>
      <a:lvl1pPr algn="l" defTabSz="914287" rtl="0" eaLnBrk="1" latinLnBrk="0" hangingPunct="1">
        <a:spcBef>
          <a:spcPct val="0"/>
        </a:spcBef>
        <a:buNone/>
        <a:defRPr sz="2599" b="1" i="0" kern="1200">
          <a:solidFill>
            <a:schemeClr val="bg1"/>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BE"/>
      </a:defPPr>
      <a:lvl1pPr marL="0" algn="l" defTabSz="914287" rtl="0" eaLnBrk="1" latinLnBrk="0" hangingPunct="1">
        <a:defRPr sz="1800" kern="1200">
          <a:solidFill>
            <a:schemeClr val="tx1"/>
          </a:solidFill>
          <a:latin typeface="+mn-lt"/>
          <a:ea typeface="+mn-ea"/>
          <a:cs typeface="+mn-cs"/>
        </a:defRPr>
      </a:lvl1pPr>
      <a:lvl2pPr marL="457143" algn="l" defTabSz="914287" rtl="0" eaLnBrk="1" latinLnBrk="0" hangingPunct="1">
        <a:defRPr sz="1800" kern="1200">
          <a:solidFill>
            <a:schemeClr val="tx1"/>
          </a:solidFill>
          <a:latin typeface="+mn-lt"/>
          <a:ea typeface="+mn-ea"/>
          <a:cs typeface="+mn-cs"/>
        </a:defRPr>
      </a:lvl2pPr>
      <a:lvl3pPr marL="914287" algn="l" defTabSz="914287" rtl="0" eaLnBrk="1" latinLnBrk="0" hangingPunct="1">
        <a:defRPr sz="1800" kern="1200">
          <a:solidFill>
            <a:schemeClr val="tx1"/>
          </a:solidFill>
          <a:latin typeface="+mn-lt"/>
          <a:ea typeface="+mn-ea"/>
          <a:cs typeface="+mn-cs"/>
        </a:defRPr>
      </a:lvl3pPr>
      <a:lvl4pPr marL="1371429" algn="l" defTabSz="914287" rtl="0" eaLnBrk="1" latinLnBrk="0" hangingPunct="1">
        <a:defRPr sz="1800" kern="1200">
          <a:solidFill>
            <a:schemeClr val="tx1"/>
          </a:solidFill>
          <a:latin typeface="+mn-lt"/>
          <a:ea typeface="+mn-ea"/>
          <a:cs typeface="+mn-cs"/>
        </a:defRPr>
      </a:lvl4pPr>
      <a:lvl5pPr marL="1828571" algn="l" defTabSz="914287" rtl="0" eaLnBrk="1" latinLnBrk="0" hangingPunct="1">
        <a:defRPr sz="1800" kern="1200">
          <a:solidFill>
            <a:schemeClr val="tx1"/>
          </a:solidFill>
          <a:latin typeface="+mn-lt"/>
          <a:ea typeface="+mn-ea"/>
          <a:cs typeface="+mn-cs"/>
        </a:defRPr>
      </a:lvl5pPr>
      <a:lvl6pPr marL="2285714" algn="l" defTabSz="914287" rtl="0" eaLnBrk="1" latinLnBrk="0" hangingPunct="1">
        <a:defRPr sz="1800" kern="1200">
          <a:solidFill>
            <a:schemeClr val="tx1"/>
          </a:solidFill>
          <a:latin typeface="+mn-lt"/>
          <a:ea typeface="+mn-ea"/>
          <a:cs typeface="+mn-cs"/>
        </a:defRPr>
      </a:lvl6pPr>
      <a:lvl7pPr marL="2742857" algn="l" defTabSz="914287" rtl="0" eaLnBrk="1" latinLnBrk="0" hangingPunct="1">
        <a:defRPr sz="1800" kern="1200">
          <a:solidFill>
            <a:schemeClr val="tx1"/>
          </a:solidFill>
          <a:latin typeface="+mn-lt"/>
          <a:ea typeface="+mn-ea"/>
          <a:cs typeface="+mn-cs"/>
        </a:defRPr>
      </a:lvl7pPr>
      <a:lvl8pPr marL="3200000" algn="l" defTabSz="914287" rtl="0" eaLnBrk="1" latinLnBrk="0" hangingPunct="1">
        <a:defRPr sz="1800" kern="1200">
          <a:solidFill>
            <a:schemeClr val="tx1"/>
          </a:solidFill>
          <a:latin typeface="+mn-lt"/>
          <a:ea typeface="+mn-ea"/>
          <a:cs typeface="+mn-cs"/>
        </a:defRPr>
      </a:lvl8pPr>
      <a:lvl9pPr marL="3657143" algn="l" defTabSz="91428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468">
          <p15:clr>
            <a:srgbClr val="F26B43"/>
          </p15:clr>
        </p15:guide>
        <p15:guide id="3" pos="2880">
          <p15:clr>
            <a:srgbClr val="F26B43"/>
          </p15:clr>
        </p15:guide>
        <p15:guide id="4" pos="290">
          <p15:clr>
            <a:srgbClr val="F26B43"/>
          </p15:clr>
        </p15:guide>
        <p15:guide id="5" orient="horz" pos="2958" userDrawn="1">
          <p15:clr>
            <a:srgbClr val="F26B43"/>
          </p15:clr>
        </p15:guide>
        <p15:guide id="6" orient="horz" pos="2869">
          <p15:clr>
            <a:srgbClr val="F26B43"/>
          </p15:clr>
        </p15:guide>
        <p15:guide id="7" orient="horz" pos="1620">
          <p15:clr>
            <a:srgbClr val="F26B43"/>
          </p15:clr>
        </p15:guide>
        <p15:guide id="8" orient="horz" pos="284">
          <p15:clr>
            <a:srgbClr val="F26B43"/>
          </p15:clr>
        </p15:guide>
        <p15:guide id="9" orient="horz" pos="239">
          <p15:clr>
            <a:srgbClr val="F26B43"/>
          </p15:clr>
        </p15:guide>
        <p15:guide id="10" orient="horz" pos="6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69.svg"/></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27.xml"/><Relationship Id="rId4" Type="http://schemas.openxmlformats.org/officeDocument/2006/relationships/image" Target="../media/image69.svg"/></Relationships>
</file>

<file path=ppt/slides/_rels/slide14.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76.jpeg"/><Relationship Id="rId4" Type="http://schemas.openxmlformats.org/officeDocument/2006/relationships/image" Target="../media/image73.svg"/></Relationships>
</file>

<file path=ppt/slides/_rels/slide1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2.png"/><Relationship Id="rId7"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28.xml"/><Relationship Id="rId6" Type="http://schemas.openxmlformats.org/officeDocument/2006/relationships/image" Target="../media/image78.jpeg"/><Relationship Id="rId11" Type="http://schemas.openxmlformats.org/officeDocument/2006/relationships/image" Target="../media/image6.svg"/><Relationship Id="rId5" Type="http://schemas.openxmlformats.org/officeDocument/2006/relationships/image" Target="../media/image77.png"/><Relationship Id="rId10" Type="http://schemas.openxmlformats.org/officeDocument/2006/relationships/image" Target="../media/image5.png"/><Relationship Id="rId4" Type="http://schemas.openxmlformats.org/officeDocument/2006/relationships/image" Target="../media/image73.svg"/><Relationship Id="rId9" Type="http://schemas.openxmlformats.org/officeDocument/2006/relationships/image" Target="../media/image81.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8.xml"/><Relationship Id="rId4" Type="http://schemas.openxmlformats.org/officeDocument/2006/relationships/image" Target="../media/image25.svg"/></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26.jpeg"/><Relationship Id="rId2" Type="http://schemas.openxmlformats.org/officeDocument/2006/relationships/notesSlide" Target="../notesSlides/notesSlide18.xml"/><Relationship Id="rId1" Type="http://schemas.openxmlformats.org/officeDocument/2006/relationships/slideLayout" Target="../slideLayouts/slideLayout28.xml"/><Relationship Id="rId6" Type="http://schemas.openxmlformats.org/officeDocument/2006/relationships/image" Target="../media/image82.jpeg"/><Relationship Id="rId5" Type="http://schemas.openxmlformats.org/officeDocument/2006/relationships/image" Target="../media/image80.png"/><Relationship Id="rId4" Type="http://schemas.openxmlformats.org/officeDocument/2006/relationships/image" Target="../media/image73.svg"/></Relationships>
</file>

<file path=ppt/slides/_rels/slide1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84.svg"/><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87.svg"/><Relationship Id="rId2" Type="http://schemas.openxmlformats.org/officeDocument/2006/relationships/notesSlide" Target="../notesSlides/notesSlide20.xml"/><Relationship Id="rId1" Type="http://schemas.openxmlformats.org/officeDocument/2006/relationships/slideLayout" Target="../slideLayouts/slideLayout2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sv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1.xml"/><Relationship Id="rId1" Type="http://schemas.openxmlformats.org/officeDocument/2006/relationships/slideLayout" Target="../slideLayouts/slideLayout28.xml"/><Relationship Id="rId6" Type="http://schemas.openxmlformats.org/officeDocument/2006/relationships/image" Target="../media/image88.jpeg"/><Relationship Id="rId5" Type="http://schemas.openxmlformats.org/officeDocument/2006/relationships/image" Target="../media/image41.jpeg"/><Relationship Id="rId4" Type="http://schemas.openxmlformats.org/officeDocument/2006/relationships/image" Target="../media/image84.svg"/></Relationships>
</file>

<file path=ppt/slides/_rels/slide22.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22.xml"/><Relationship Id="rId1" Type="http://schemas.openxmlformats.org/officeDocument/2006/relationships/slideLayout" Target="../slideLayouts/slideLayout28.xml"/><Relationship Id="rId5" Type="http://schemas.openxmlformats.org/officeDocument/2006/relationships/image" Target="../media/image91.svg"/><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8.xml"/><Relationship Id="rId6" Type="http://schemas.openxmlformats.org/officeDocument/2006/relationships/image" Target="../media/image92.png"/><Relationship Id="rId11" Type="http://schemas.openxmlformats.org/officeDocument/2006/relationships/image" Target="../media/image93.svg"/><Relationship Id="rId5" Type="http://schemas.openxmlformats.org/officeDocument/2006/relationships/image" Target="../media/image80.png"/><Relationship Id="rId10" Type="http://schemas.openxmlformats.org/officeDocument/2006/relationships/image" Target="../media/image74.png"/><Relationship Id="rId4" Type="http://schemas.openxmlformats.org/officeDocument/2006/relationships/image" Target="../media/image73.svg"/><Relationship Id="rId9" Type="http://schemas.openxmlformats.org/officeDocument/2006/relationships/image" Target="../media/image81.png"/></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7" Type="http://schemas.microsoft.com/office/2007/relationships/hdphoto" Target="../media/hdphoto1.wdp"/><Relationship Id="rId2" Type="http://schemas.openxmlformats.org/officeDocument/2006/relationships/notesSlide" Target="../notesSlides/notesSlide24.xml"/><Relationship Id="rId1" Type="http://schemas.openxmlformats.org/officeDocument/2006/relationships/slideLayout" Target="../slideLayouts/slideLayout28.xml"/><Relationship Id="rId6" Type="http://schemas.openxmlformats.org/officeDocument/2006/relationships/image" Target="../media/image94.png"/><Relationship Id="rId5" Type="http://schemas.openxmlformats.org/officeDocument/2006/relationships/image" Target="../media/image80.png"/><Relationship Id="rId4" Type="http://schemas.openxmlformats.org/officeDocument/2006/relationships/image" Target="../media/image75.svg"/></Relationships>
</file>

<file path=ppt/slides/_rels/slide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27.xml"/><Relationship Id="rId4" Type="http://schemas.openxmlformats.org/officeDocument/2006/relationships/image" Target="../media/image95.svg"/></Relationships>
</file>

<file path=ppt/slides/_rels/slide26.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74.png"/><Relationship Id="rId12" Type="http://schemas.openxmlformats.org/officeDocument/2006/relationships/image" Target="../media/image63.svg"/><Relationship Id="rId2" Type="http://schemas.openxmlformats.org/officeDocument/2006/relationships/notesSlide" Target="../notesSlides/notesSlide26.xml"/><Relationship Id="rId1" Type="http://schemas.openxmlformats.org/officeDocument/2006/relationships/slideLayout" Target="../slideLayouts/slideLayout28.xml"/><Relationship Id="rId6" Type="http://schemas.openxmlformats.org/officeDocument/2006/relationships/image" Target="../media/image69.svg"/><Relationship Id="rId11" Type="http://schemas.openxmlformats.org/officeDocument/2006/relationships/image" Target="../media/image62.png"/><Relationship Id="rId5" Type="http://schemas.openxmlformats.org/officeDocument/2006/relationships/image" Target="../media/image68.png"/><Relationship Id="rId10" Type="http://schemas.openxmlformats.org/officeDocument/2006/relationships/image" Target="../media/image100.svg"/><Relationship Id="rId4" Type="http://schemas.openxmlformats.org/officeDocument/2006/relationships/image" Target="../media/image97.svg"/><Relationship Id="rId9" Type="http://schemas.openxmlformats.org/officeDocument/2006/relationships/image" Target="../media/image99.png"/><Relationship Id="rId14" Type="http://schemas.openxmlformats.org/officeDocument/2006/relationships/image" Target="../media/image102.svg"/></Relationships>
</file>

<file path=ppt/slides/_rels/slide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105.jpeg"/><Relationship Id="rId5" Type="http://schemas.openxmlformats.org/officeDocument/2006/relationships/image" Target="../media/image104.jpeg"/><Relationship Id="rId4" Type="http://schemas.openxmlformats.org/officeDocument/2006/relationships/image" Target="../media/image103.svg"/></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103.svg"/></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28.xml"/><Relationship Id="rId4" Type="http://schemas.openxmlformats.org/officeDocument/2006/relationships/image" Target="../media/image25.sv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0.xml"/><Relationship Id="rId1" Type="http://schemas.openxmlformats.org/officeDocument/2006/relationships/slideLayout" Target="../slideLayouts/slideLayout28.xml"/><Relationship Id="rId4" Type="http://schemas.openxmlformats.org/officeDocument/2006/relationships/image" Target="../media/image55.svg"/></Relationships>
</file>

<file path=ppt/slides/_rels/slide31.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112.png"/><Relationship Id="rId3" Type="http://schemas.openxmlformats.org/officeDocument/2006/relationships/image" Target="../media/image74.png"/><Relationship Id="rId7" Type="http://schemas.openxmlformats.org/officeDocument/2006/relationships/image" Target="../media/image108.png"/><Relationship Id="rId12" Type="http://schemas.openxmlformats.org/officeDocument/2006/relationships/image" Target="../media/image47.svg"/><Relationship Id="rId17" Type="http://schemas.openxmlformats.org/officeDocument/2006/relationships/image" Target="../media/image116.jpeg"/><Relationship Id="rId2" Type="http://schemas.openxmlformats.org/officeDocument/2006/relationships/notesSlide" Target="../notesSlides/notesSlide31.xml"/><Relationship Id="rId16" Type="http://schemas.openxmlformats.org/officeDocument/2006/relationships/image" Target="../media/image115.jpeg"/><Relationship Id="rId1" Type="http://schemas.openxmlformats.org/officeDocument/2006/relationships/slideLayout" Target="../slideLayouts/slideLayout28.xml"/><Relationship Id="rId6" Type="http://schemas.openxmlformats.org/officeDocument/2006/relationships/image" Target="../media/image107.svg"/><Relationship Id="rId11" Type="http://schemas.openxmlformats.org/officeDocument/2006/relationships/image" Target="../media/image46.png"/><Relationship Id="rId5" Type="http://schemas.openxmlformats.org/officeDocument/2006/relationships/image" Target="../media/image106.png"/><Relationship Id="rId15" Type="http://schemas.openxmlformats.org/officeDocument/2006/relationships/image" Target="../media/image114.jpeg"/><Relationship Id="rId10" Type="http://schemas.openxmlformats.org/officeDocument/2006/relationships/image" Target="../media/image111.svg"/><Relationship Id="rId4" Type="http://schemas.openxmlformats.org/officeDocument/2006/relationships/image" Target="../media/image98.svg"/><Relationship Id="rId9" Type="http://schemas.openxmlformats.org/officeDocument/2006/relationships/image" Target="../media/image110.png"/><Relationship Id="rId14" Type="http://schemas.openxmlformats.org/officeDocument/2006/relationships/image" Target="../media/image113.svg"/></Relationships>
</file>

<file path=ppt/slides/_rels/slide32.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17.jpg"/><Relationship Id="rId7" Type="http://schemas.openxmlformats.org/officeDocument/2006/relationships/image" Target="../media/image119.jpg"/><Relationship Id="rId2" Type="http://schemas.openxmlformats.org/officeDocument/2006/relationships/notesSlide" Target="../notesSlides/notesSlide32.xml"/><Relationship Id="rId1" Type="http://schemas.openxmlformats.org/officeDocument/2006/relationships/slideLayout" Target="../slideLayouts/slideLayout28.xml"/><Relationship Id="rId6" Type="http://schemas.openxmlformats.org/officeDocument/2006/relationships/image" Target="../media/image93.svg"/><Relationship Id="rId11" Type="http://schemas.openxmlformats.org/officeDocument/2006/relationships/image" Target="../media/image121.svg"/><Relationship Id="rId5" Type="http://schemas.openxmlformats.org/officeDocument/2006/relationships/image" Target="../media/image74.png"/><Relationship Id="rId10" Type="http://schemas.openxmlformats.org/officeDocument/2006/relationships/image" Target="../media/image120.png"/><Relationship Id="rId4" Type="http://schemas.openxmlformats.org/officeDocument/2006/relationships/image" Target="../media/image118.jpg"/><Relationship Id="rId9" Type="http://schemas.openxmlformats.org/officeDocument/2006/relationships/image" Target="../media/image109.svg"/></Relationships>
</file>

<file path=ppt/slides/_rels/slide33.xml.rels><?xml version="1.0" encoding="UTF-8" standalone="yes"?>
<Relationships xmlns="http://schemas.openxmlformats.org/package/2006/relationships"><Relationship Id="rId8" Type="http://schemas.openxmlformats.org/officeDocument/2006/relationships/chart" Target="../charts/chart1.xml"/><Relationship Id="rId13" Type="http://schemas.openxmlformats.org/officeDocument/2006/relationships/image" Target="../media/image108.png"/><Relationship Id="rId18" Type="http://schemas.openxmlformats.org/officeDocument/2006/relationships/image" Target="../media/image125.png"/><Relationship Id="rId3" Type="http://schemas.openxmlformats.org/officeDocument/2006/relationships/tags" Target="../tags/tag4.xml"/><Relationship Id="rId21" Type="http://schemas.openxmlformats.org/officeDocument/2006/relationships/image" Target="../media/image128.jpeg"/><Relationship Id="rId7" Type="http://schemas.openxmlformats.org/officeDocument/2006/relationships/image" Target="../media/image98.svg"/><Relationship Id="rId12" Type="http://schemas.openxmlformats.org/officeDocument/2006/relationships/image" Target="../media/image107.svg"/><Relationship Id="rId17" Type="http://schemas.openxmlformats.org/officeDocument/2006/relationships/image" Target="../media/image124.jpeg"/><Relationship Id="rId2" Type="http://schemas.openxmlformats.org/officeDocument/2006/relationships/tags" Target="../tags/tag3.xml"/><Relationship Id="rId16" Type="http://schemas.openxmlformats.org/officeDocument/2006/relationships/image" Target="../media/image123.svg"/><Relationship Id="rId20" Type="http://schemas.openxmlformats.org/officeDocument/2006/relationships/image" Target="../media/image127.png"/><Relationship Id="rId1" Type="http://schemas.openxmlformats.org/officeDocument/2006/relationships/tags" Target="../tags/tag2.xml"/><Relationship Id="rId6" Type="http://schemas.openxmlformats.org/officeDocument/2006/relationships/image" Target="../media/image74.png"/><Relationship Id="rId11" Type="http://schemas.openxmlformats.org/officeDocument/2006/relationships/image" Target="../media/image106.png"/><Relationship Id="rId5" Type="http://schemas.openxmlformats.org/officeDocument/2006/relationships/notesSlide" Target="../notesSlides/notesSlide33.xml"/><Relationship Id="rId15" Type="http://schemas.openxmlformats.org/officeDocument/2006/relationships/image" Target="../media/image122.png"/><Relationship Id="rId10" Type="http://schemas.openxmlformats.org/officeDocument/2006/relationships/chart" Target="../charts/chart3.xml"/><Relationship Id="rId19" Type="http://schemas.openxmlformats.org/officeDocument/2006/relationships/image" Target="../media/image126.svg"/><Relationship Id="rId4" Type="http://schemas.openxmlformats.org/officeDocument/2006/relationships/slideLayout" Target="../slideLayouts/slideLayout28.xml"/><Relationship Id="rId9" Type="http://schemas.openxmlformats.org/officeDocument/2006/relationships/chart" Target="../charts/chart2.xml"/><Relationship Id="rId14" Type="http://schemas.openxmlformats.org/officeDocument/2006/relationships/image" Target="../media/image109.svg"/><Relationship Id="rId22" Type="http://schemas.openxmlformats.org/officeDocument/2006/relationships/image" Target="../media/image129.png"/></Relationships>
</file>

<file path=ppt/slides/_rels/slide34.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74.png"/><Relationship Id="rId7" Type="http://schemas.openxmlformats.org/officeDocument/2006/relationships/image" Target="../media/image126.svg"/><Relationship Id="rId12" Type="http://schemas.openxmlformats.org/officeDocument/2006/relationships/image" Target="../media/image135.png"/><Relationship Id="rId2" Type="http://schemas.openxmlformats.org/officeDocument/2006/relationships/notesSlide" Target="../notesSlides/notesSlide34.xml"/><Relationship Id="rId1" Type="http://schemas.openxmlformats.org/officeDocument/2006/relationships/slideLayout" Target="../slideLayouts/slideLayout28.xml"/><Relationship Id="rId6" Type="http://schemas.openxmlformats.org/officeDocument/2006/relationships/image" Target="../media/image125.png"/><Relationship Id="rId11" Type="http://schemas.openxmlformats.org/officeDocument/2006/relationships/image" Target="../media/image134.jpeg"/><Relationship Id="rId5" Type="http://schemas.openxmlformats.org/officeDocument/2006/relationships/image" Target="../media/image130.png"/><Relationship Id="rId10" Type="http://schemas.openxmlformats.org/officeDocument/2006/relationships/image" Target="../media/image133.png"/><Relationship Id="rId4" Type="http://schemas.openxmlformats.org/officeDocument/2006/relationships/image" Target="../media/image98.svg"/><Relationship Id="rId9" Type="http://schemas.openxmlformats.org/officeDocument/2006/relationships/image" Target="../media/image132.png"/></Relationships>
</file>

<file path=ppt/slides/_rels/slide35.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138.jpg"/><Relationship Id="rId2" Type="http://schemas.openxmlformats.org/officeDocument/2006/relationships/notesSlide" Target="../notesSlides/notesSlide35.xml"/><Relationship Id="rId1" Type="http://schemas.openxmlformats.org/officeDocument/2006/relationships/slideLayout" Target="../slideLayouts/slideLayout28.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98.svg"/></Relationships>
</file>

<file path=ppt/slides/_rels/slide36.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62.png"/><Relationship Id="rId7" Type="http://schemas.openxmlformats.org/officeDocument/2006/relationships/image" Target="../media/image141.png"/><Relationship Id="rId2" Type="http://schemas.openxmlformats.org/officeDocument/2006/relationships/notesSlide" Target="../notesSlides/notesSlide36.xml"/><Relationship Id="rId1" Type="http://schemas.openxmlformats.org/officeDocument/2006/relationships/slideLayout" Target="../slideLayouts/slideLayout28.xml"/><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63.svg"/></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7.xml"/><Relationship Id="rId1" Type="http://schemas.openxmlformats.org/officeDocument/2006/relationships/slideLayout" Target="../slideLayouts/slideLayout28.xml"/><Relationship Id="rId4" Type="http://schemas.openxmlformats.org/officeDocument/2006/relationships/image" Target="../media/image25.svg"/></Relationships>
</file>

<file path=ppt/slides/_rels/slide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28.xml"/><Relationship Id="rId5" Type="http://schemas.openxmlformats.org/officeDocument/2006/relationships/image" Target="../media/image143.jpeg"/><Relationship Id="rId4" Type="http://schemas.openxmlformats.org/officeDocument/2006/relationships/image" Target="../media/image63.sv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25.sv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2.xml"/><Relationship Id="rId1" Type="http://schemas.openxmlformats.org/officeDocument/2006/relationships/slideLayout" Target="../slideLayouts/slideLayout27.xml"/><Relationship Id="rId4" Type="http://schemas.openxmlformats.org/officeDocument/2006/relationships/image" Target="../media/image69.svg"/></Relationships>
</file>

<file path=ppt/slides/_rels/slide43.xml.rels><?xml version="1.0" encoding="UTF-8" standalone="yes"?>
<Relationships xmlns="http://schemas.openxmlformats.org/package/2006/relationships"><Relationship Id="rId8" Type="http://schemas.openxmlformats.org/officeDocument/2006/relationships/image" Target="../media/image149.svg"/><Relationship Id="rId3" Type="http://schemas.openxmlformats.org/officeDocument/2006/relationships/image" Target="../media/image144.png"/><Relationship Id="rId7" Type="http://schemas.openxmlformats.org/officeDocument/2006/relationships/image" Target="../media/image148.png"/><Relationship Id="rId2" Type="http://schemas.openxmlformats.org/officeDocument/2006/relationships/notesSlide" Target="../notesSlides/notesSlide43.xml"/><Relationship Id="rId1" Type="http://schemas.openxmlformats.org/officeDocument/2006/relationships/slideLayout" Target="../slideLayouts/slideLayout28.xml"/><Relationship Id="rId6" Type="http://schemas.openxmlformats.org/officeDocument/2006/relationships/image" Target="../media/image147.svg"/><Relationship Id="rId5" Type="http://schemas.openxmlformats.org/officeDocument/2006/relationships/image" Target="../media/image146.png"/><Relationship Id="rId10" Type="http://schemas.openxmlformats.org/officeDocument/2006/relationships/image" Target="../media/image151.svg"/><Relationship Id="rId4" Type="http://schemas.openxmlformats.org/officeDocument/2006/relationships/image" Target="../media/image145.svg"/><Relationship Id="rId9" Type="http://schemas.openxmlformats.org/officeDocument/2006/relationships/image" Target="../media/image150.png"/></Relationships>
</file>

<file path=ppt/slides/_rels/slide44.xml.rels><?xml version="1.0" encoding="UTF-8" standalone="yes"?>
<Relationships xmlns="http://schemas.openxmlformats.org/package/2006/relationships"><Relationship Id="rId8" Type="http://schemas.openxmlformats.org/officeDocument/2006/relationships/image" Target="../media/image156.svg"/><Relationship Id="rId3" Type="http://schemas.openxmlformats.org/officeDocument/2006/relationships/image" Target="../media/image152.png"/><Relationship Id="rId7" Type="http://schemas.openxmlformats.org/officeDocument/2006/relationships/image" Target="../media/image155.png"/><Relationship Id="rId12" Type="http://schemas.openxmlformats.org/officeDocument/2006/relationships/image" Target="../media/image160.svg"/><Relationship Id="rId2" Type="http://schemas.openxmlformats.org/officeDocument/2006/relationships/notesSlide" Target="../notesSlides/notesSlide44.xml"/><Relationship Id="rId1" Type="http://schemas.openxmlformats.org/officeDocument/2006/relationships/slideLayout" Target="../slideLayouts/slideLayout28.xml"/><Relationship Id="rId6" Type="http://schemas.openxmlformats.org/officeDocument/2006/relationships/image" Target="../media/image154.svg"/><Relationship Id="rId11" Type="http://schemas.openxmlformats.org/officeDocument/2006/relationships/image" Target="../media/image159.png"/><Relationship Id="rId5" Type="http://schemas.openxmlformats.org/officeDocument/2006/relationships/image" Target="../media/image144.png"/><Relationship Id="rId10" Type="http://schemas.openxmlformats.org/officeDocument/2006/relationships/image" Target="../media/image158.svg"/><Relationship Id="rId4" Type="http://schemas.openxmlformats.org/officeDocument/2006/relationships/image" Target="../media/image153.svg"/><Relationship Id="rId9" Type="http://schemas.openxmlformats.org/officeDocument/2006/relationships/image" Target="../media/image157.png"/></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5.xml"/><Relationship Id="rId1" Type="http://schemas.openxmlformats.org/officeDocument/2006/relationships/slideLayout" Target="../slideLayouts/slideLayout28.xml"/><Relationship Id="rId4" Type="http://schemas.openxmlformats.org/officeDocument/2006/relationships/image" Target="../media/image25.svg"/></Relationships>
</file>

<file path=ppt/slides/_rels/slide46.xml.rels><?xml version="1.0" encoding="UTF-8" standalone="yes"?>
<Relationships xmlns="http://schemas.openxmlformats.org/package/2006/relationships"><Relationship Id="rId3" Type="http://schemas.openxmlformats.org/officeDocument/2006/relationships/image" Target="../media/image161.jpg"/><Relationship Id="rId7" Type="http://schemas.openxmlformats.org/officeDocument/2006/relationships/image" Target="../media/image163.png"/><Relationship Id="rId2" Type="http://schemas.openxmlformats.org/officeDocument/2006/relationships/notesSlide" Target="../notesSlides/notesSlide46.xml"/><Relationship Id="rId1" Type="http://schemas.openxmlformats.org/officeDocument/2006/relationships/slideLayout" Target="../slideLayouts/slideLayout28.xml"/><Relationship Id="rId6" Type="http://schemas.openxmlformats.org/officeDocument/2006/relationships/image" Target="../media/image162.jpeg"/><Relationship Id="rId5" Type="http://schemas.openxmlformats.org/officeDocument/2006/relationships/image" Target="../media/image154.svg"/><Relationship Id="rId4" Type="http://schemas.openxmlformats.org/officeDocument/2006/relationships/image" Target="../media/image144.png"/></Relationships>
</file>

<file path=ppt/slides/_rels/slide47.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71.svg"/><Relationship Id="rId3" Type="http://schemas.openxmlformats.org/officeDocument/2006/relationships/image" Target="../media/image146.png"/><Relationship Id="rId7" Type="http://schemas.openxmlformats.org/officeDocument/2006/relationships/image" Target="../media/image165.png"/><Relationship Id="rId12" Type="http://schemas.openxmlformats.org/officeDocument/2006/relationships/image" Target="../media/image170.png"/><Relationship Id="rId17" Type="http://schemas.openxmlformats.org/officeDocument/2006/relationships/image" Target="../media/image175.png"/><Relationship Id="rId2" Type="http://schemas.openxmlformats.org/officeDocument/2006/relationships/notesSlide" Target="../notesSlides/notesSlide47.xml"/><Relationship Id="rId16" Type="http://schemas.openxmlformats.org/officeDocument/2006/relationships/image" Target="../media/image174.png"/><Relationship Id="rId1" Type="http://schemas.openxmlformats.org/officeDocument/2006/relationships/slideLayout" Target="../slideLayouts/slideLayout28.xml"/><Relationship Id="rId6" Type="http://schemas.openxmlformats.org/officeDocument/2006/relationships/image" Target="../media/image47.svg"/><Relationship Id="rId11" Type="http://schemas.openxmlformats.org/officeDocument/2006/relationships/image" Target="../media/image169.png"/><Relationship Id="rId5" Type="http://schemas.openxmlformats.org/officeDocument/2006/relationships/image" Target="../media/image46.png"/><Relationship Id="rId15" Type="http://schemas.openxmlformats.org/officeDocument/2006/relationships/image" Target="../media/image173.svg"/><Relationship Id="rId10" Type="http://schemas.openxmlformats.org/officeDocument/2006/relationships/image" Target="../media/image168.svg"/><Relationship Id="rId4" Type="http://schemas.openxmlformats.org/officeDocument/2006/relationships/image" Target="../media/image164.svg"/><Relationship Id="rId9" Type="http://schemas.openxmlformats.org/officeDocument/2006/relationships/image" Target="../media/image167.png"/><Relationship Id="rId14" Type="http://schemas.openxmlformats.org/officeDocument/2006/relationships/image" Target="../media/image172.png"/></Relationships>
</file>

<file path=ppt/slides/_rels/slide4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8.xml"/><Relationship Id="rId1" Type="http://schemas.openxmlformats.org/officeDocument/2006/relationships/slideLayout" Target="../slideLayouts/slideLayout28.xml"/><Relationship Id="rId4" Type="http://schemas.openxmlformats.org/officeDocument/2006/relationships/image" Target="../media/image25.svg"/></Relationships>
</file>

<file path=ppt/slides/_rels/slide4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9.xml"/><Relationship Id="rId1" Type="http://schemas.openxmlformats.org/officeDocument/2006/relationships/slideLayout" Target="../slideLayouts/slideLayout28.xml"/><Relationship Id="rId5" Type="http://schemas.openxmlformats.org/officeDocument/2006/relationships/image" Target="../media/image176.jpeg"/><Relationship Id="rId4" Type="http://schemas.openxmlformats.org/officeDocument/2006/relationships/image" Target="../media/image164.svg"/></Relationships>
</file>

<file path=ppt/slides/_rels/slide5.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jpeg"/><Relationship Id="rId18" Type="http://schemas.openxmlformats.org/officeDocument/2006/relationships/image" Target="../media/image41.jpeg"/><Relationship Id="rId3" Type="http://schemas.openxmlformats.org/officeDocument/2006/relationships/image" Target="../media/image26.jpeg"/><Relationship Id="rId21" Type="http://schemas.openxmlformats.org/officeDocument/2006/relationships/image" Target="../media/image44.jpeg"/><Relationship Id="rId7" Type="http://schemas.openxmlformats.org/officeDocument/2006/relationships/image" Target="../media/image30.jpeg"/><Relationship Id="rId12" Type="http://schemas.openxmlformats.org/officeDocument/2006/relationships/image" Target="../media/image35.jpeg"/><Relationship Id="rId17" Type="http://schemas.openxmlformats.org/officeDocument/2006/relationships/image" Target="../media/image40.jpeg"/><Relationship Id="rId2" Type="http://schemas.openxmlformats.org/officeDocument/2006/relationships/notesSlide" Target="../notesSlides/notesSlide5.xml"/><Relationship Id="rId16" Type="http://schemas.openxmlformats.org/officeDocument/2006/relationships/image" Target="../media/image39.jpeg"/><Relationship Id="rId20" Type="http://schemas.openxmlformats.org/officeDocument/2006/relationships/image" Target="../media/image43.jpeg"/><Relationship Id="rId1" Type="http://schemas.openxmlformats.org/officeDocument/2006/relationships/slideLayout" Target="../slideLayouts/slideLayout28.xml"/><Relationship Id="rId6" Type="http://schemas.openxmlformats.org/officeDocument/2006/relationships/image" Target="../media/image29.jpeg"/><Relationship Id="rId11" Type="http://schemas.openxmlformats.org/officeDocument/2006/relationships/image" Target="../media/image34.jpeg"/><Relationship Id="rId5" Type="http://schemas.openxmlformats.org/officeDocument/2006/relationships/image" Target="../media/image28.jpeg"/><Relationship Id="rId15" Type="http://schemas.openxmlformats.org/officeDocument/2006/relationships/image" Target="../media/image38.jpeg"/><Relationship Id="rId10" Type="http://schemas.openxmlformats.org/officeDocument/2006/relationships/image" Target="../media/image33.jpeg"/><Relationship Id="rId19" Type="http://schemas.openxmlformats.org/officeDocument/2006/relationships/image" Target="../media/image42.jpeg"/><Relationship Id="rId4" Type="http://schemas.openxmlformats.org/officeDocument/2006/relationships/image" Target="../media/image27.jpeg"/><Relationship Id="rId9" Type="http://schemas.openxmlformats.org/officeDocument/2006/relationships/image" Target="../media/image32.jpeg"/><Relationship Id="rId14" Type="http://schemas.openxmlformats.org/officeDocument/2006/relationships/image" Target="../media/image37.jpeg"/><Relationship Id="rId22" Type="http://schemas.openxmlformats.org/officeDocument/2006/relationships/image" Target="../media/image45.jpeg"/></Relationships>
</file>

<file path=ppt/slides/_rels/slide50.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7.jpeg"/><Relationship Id="rId7" Type="http://schemas.openxmlformats.org/officeDocument/2006/relationships/image" Target="../media/image47.svg"/><Relationship Id="rId2" Type="http://schemas.openxmlformats.org/officeDocument/2006/relationships/notesSlide" Target="../notesSlides/notesSlide50.xml"/><Relationship Id="rId1" Type="http://schemas.openxmlformats.org/officeDocument/2006/relationships/slideLayout" Target="../slideLayouts/slideLayout28.xml"/><Relationship Id="rId6" Type="http://schemas.openxmlformats.org/officeDocument/2006/relationships/image" Target="../media/image46.png"/><Relationship Id="rId11" Type="http://schemas.openxmlformats.org/officeDocument/2006/relationships/image" Target="../media/image182.svg"/><Relationship Id="rId5" Type="http://schemas.openxmlformats.org/officeDocument/2006/relationships/image" Target="../media/image178.svg"/><Relationship Id="rId10" Type="http://schemas.openxmlformats.org/officeDocument/2006/relationships/image" Target="../media/image181.png"/><Relationship Id="rId4" Type="http://schemas.openxmlformats.org/officeDocument/2006/relationships/image" Target="../media/image148.png"/><Relationship Id="rId9" Type="http://schemas.openxmlformats.org/officeDocument/2006/relationships/image" Target="../media/image180.svg"/></Relationships>
</file>

<file path=ppt/slides/_rels/slide51.xml.rels><?xml version="1.0" encoding="UTF-8" standalone="yes"?>
<Relationships xmlns="http://schemas.openxmlformats.org/package/2006/relationships"><Relationship Id="rId8" Type="http://schemas.openxmlformats.org/officeDocument/2006/relationships/image" Target="../media/image187.svg"/><Relationship Id="rId3" Type="http://schemas.openxmlformats.org/officeDocument/2006/relationships/image" Target="../media/image148.png"/><Relationship Id="rId7" Type="http://schemas.openxmlformats.org/officeDocument/2006/relationships/image" Target="../media/image186.png"/><Relationship Id="rId2" Type="http://schemas.openxmlformats.org/officeDocument/2006/relationships/notesSlide" Target="../notesSlides/notesSlide51.xml"/><Relationship Id="rId1" Type="http://schemas.openxmlformats.org/officeDocument/2006/relationships/slideLayout" Target="../slideLayouts/slideLayout28.xml"/><Relationship Id="rId6" Type="http://schemas.openxmlformats.org/officeDocument/2006/relationships/image" Target="../media/image185.png"/><Relationship Id="rId5" Type="http://schemas.openxmlformats.org/officeDocument/2006/relationships/image" Target="../media/image184.jpeg"/><Relationship Id="rId4" Type="http://schemas.openxmlformats.org/officeDocument/2006/relationships/image" Target="../media/image183.svg"/><Relationship Id="rId9" Type="http://schemas.openxmlformats.org/officeDocument/2006/relationships/image" Target="../media/image188.png"/></Relationships>
</file>

<file path=ppt/slides/_rels/slide52.xml.rels><?xml version="1.0" encoding="UTF-8" standalone="yes"?>
<Relationships xmlns="http://schemas.openxmlformats.org/package/2006/relationships"><Relationship Id="rId3" Type="http://schemas.openxmlformats.org/officeDocument/2006/relationships/image" Target="../media/image189.jpg"/><Relationship Id="rId2" Type="http://schemas.openxmlformats.org/officeDocument/2006/relationships/notesSlide" Target="../notesSlides/notesSlide52.xml"/><Relationship Id="rId1" Type="http://schemas.openxmlformats.org/officeDocument/2006/relationships/slideLayout" Target="../slideLayouts/slideLayout28.xml"/><Relationship Id="rId5" Type="http://schemas.openxmlformats.org/officeDocument/2006/relationships/image" Target="../media/image91.svg"/><Relationship Id="rId4" Type="http://schemas.openxmlformats.org/officeDocument/2006/relationships/image" Target="../media/image90.png"/></Relationships>
</file>

<file path=ppt/slides/_rels/slide5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3.xml"/><Relationship Id="rId1" Type="http://schemas.openxmlformats.org/officeDocument/2006/relationships/slideLayout" Target="../slideLayouts/slideLayout28.xml"/><Relationship Id="rId5" Type="http://schemas.openxmlformats.org/officeDocument/2006/relationships/image" Target="../media/image192.jpeg"/><Relationship Id="rId4" Type="http://schemas.openxmlformats.org/officeDocument/2006/relationships/image" Target="../media/image191.svg"/></Relationships>
</file>

<file path=ppt/slides/_rels/slide54.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4.xml"/><Relationship Id="rId1" Type="http://schemas.openxmlformats.org/officeDocument/2006/relationships/slideLayout" Target="../slideLayouts/slideLayout28.xml"/><Relationship Id="rId5" Type="http://schemas.openxmlformats.org/officeDocument/2006/relationships/image" Target="../media/image194.png"/><Relationship Id="rId4" Type="http://schemas.openxmlformats.org/officeDocument/2006/relationships/image" Target="../media/image193.svg"/></Relationships>
</file>

<file path=ppt/slides/_rels/slide5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5.xml"/><Relationship Id="rId1" Type="http://schemas.openxmlformats.org/officeDocument/2006/relationships/slideLayout" Target="../slideLayouts/slideLayout27.xml"/><Relationship Id="rId4" Type="http://schemas.openxmlformats.org/officeDocument/2006/relationships/image" Target="../media/image69.svg"/></Relationships>
</file>

<file path=ppt/slides/_rels/slide56.xml.rels><?xml version="1.0" encoding="UTF-8" standalone="yes"?>
<Relationships xmlns="http://schemas.openxmlformats.org/package/2006/relationships"><Relationship Id="rId8" Type="http://schemas.openxmlformats.org/officeDocument/2006/relationships/image" Target="../media/image197.svg"/><Relationship Id="rId3" Type="http://schemas.microsoft.com/office/2018/10/relationships/comments" Target="../comments/modernComment_144_C3B4110F.xml"/><Relationship Id="rId7" Type="http://schemas.openxmlformats.org/officeDocument/2006/relationships/image" Target="../media/image196.png"/><Relationship Id="rId2" Type="http://schemas.openxmlformats.org/officeDocument/2006/relationships/notesSlide" Target="../notesSlides/notesSlide56.xml"/><Relationship Id="rId1" Type="http://schemas.openxmlformats.org/officeDocument/2006/relationships/slideLayout" Target="../slideLayouts/slideLayout28.xml"/><Relationship Id="rId6" Type="http://schemas.openxmlformats.org/officeDocument/2006/relationships/image" Target="../media/image195.emf"/><Relationship Id="rId5" Type="http://schemas.openxmlformats.org/officeDocument/2006/relationships/image" Target="../media/image47.svg"/><Relationship Id="rId4" Type="http://schemas.openxmlformats.org/officeDocument/2006/relationships/image" Target="../media/image46.png"/></Relationships>
</file>

<file path=ppt/slides/_rels/slide5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7.xml"/><Relationship Id="rId1" Type="http://schemas.openxmlformats.org/officeDocument/2006/relationships/slideLayout" Target="../slideLayouts/slideLayout28.xml"/><Relationship Id="rId6" Type="http://schemas.openxmlformats.org/officeDocument/2006/relationships/image" Target="../media/image197.svg"/><Relationship Id="rId5" Type="http://schemas.openxmlformats.org/officeDocument/2006/relationships/image" Target="../media/image196.png"/><Relationship Id="rId4" Type="http://schemas.openxmlformats.org/officeDocument/2006/relationships/image" Target="../media/image37.jpeg"/></Relationships>
</file>

<file path=ppt/slides/_rels/slide58.xml.rels><?xml version="1.0" encoding="UTF-8" standalone="yes"?>
<Relationships xmlns="http://schemas.openxmlformats.org/package/2006/relationships"><Relationship Id="rId3" Type="http://schemas.openxmlformats.org/officeDocument/2006/relationships/image" Target="../media/image198.jpg"/><Relationship Id="rId2" Type="http://schemas.openxmlformats.org/officeDocument/2006/relationships/notesSlide" Target="../notesSlides/notesSlide58.xml"/><Relationship Id="rId1" Type="http://schemas.openxmlformats.org/officeDocument/2006/relationships/slideLayout" Target="../slideLayouts/slideLayout28.xml"/><Relationship Id="rId5" Type="http://schemas.openxmlformats.org/officeDocument/2006/relationships/image" Target="../media/image91.svg"/><Relationship Id="rId4" Type="http://schemas.openxmlformats.org/officeDocument/2006/relationships/image" Target="../media/image90.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23.png"/><Relationship Id="rId7" Type="http://schemas.openxmlformats.org/officeDocument/2006/relationships/image" Target="../media/image49.svg"/><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s>
</file>

<file path=ppt/slides/_rels/slide6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60.xml"/><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61.xml"/><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2.xml"/><Relationship Id="rId1" Type="http://schemas.openxmlformats.org/officeDocument/2006/relationships/slideLayout" Target="../slideLayouts/slideLayout28.xml"/><Relationship Id="rId4" Type="http://schemas.openxmlformats.org/officeDocument/2006/relationships/image" Target="../media/image55.svg"/></Relationships>
</file>

<file path=ppt/slides/_rels/slide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3.xml"/><Relationship Id="rId1" Type="http://schemas.openxmlformats.org/officeDocument/2006/relationships/slideLayout" Target="../slideLayouts/slideLayout15.xml"/><Relationship Id="rId4" Type="http://schemas.openxmlformats.org/officeDocument/2006/relationships/image" Target="../media/image25.sv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5.xml"/><Relationship Id="rId1" Type="http://schemas.openxmlformats.org/officeDocument/2006/relationships/slideLayout" Target="../slideLayouts/slideLayout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6.svg"/></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28.xml"/><Relationship Id="rId4" Type="http://schemas.openxmlformats.org/officeDocument/2006/relationships/image" Target="../media/image55.svg"/></Relationships>
</file>

<file path=ppt/slides/_rels/slide8.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18" Type="http://schemas.openxmlformats.org/officeDocument/2006/relationships/image" Target="../media/image6.sv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svg"/><Relationship Id="rId17" Type="http://schemas.openxmlformats.org/officeDocument/2006/relationships/image" Target="../media/image5.png"/><Relationship Id="rId2" Type="http://schemas.openxmlformats.org/officeDocument/2006/relationships/notesSlide" Target="../notesSlides/notesSlide8.xml"/><Relationship Id="rId16" Type="http://schemas.openxmlformats.org/officeDocument/2006/relationships/image" Target="../media/image22.svg"/><Relationship Id="rId1" Type="http://schemas.openxmlformats.org/officeDocument/2006/relationships/slideLayout" Target="../slideLayouts/slideLayout36.xml"/><Relationship Id="rId6" Type="http://schemas.openxmlformats.org/officeDocument/2006/relationships/image" Target="../media/image59.sv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21.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0461E146-B8A4-3B1B-CA67-C77EE72F0B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23591F-A7B4-1D43-A8FA-117BA6609345}"/>
              </a:ext>
            </a:extLst>
          </p:cNvPr>
          <p:cNvSpPr>
            <a:spLocks noGrp="1"/>
          </p:cNvSpPr>
          <p:nvPr>
            <p:ph type="title"/>
          </p:nvPr>
        </p:nvSpPr>
        <p:spPr>
          <a:xfrm>
            <a:off x="451379" y="1243750"/>
            <a:ext cx="8221663" cy="2656001"/>
          </a:xfrm>
        </p:spPr>
        <p:txBody>
          <a:bodyPr anchor="ctr"/>
          <a:lstStyle/>
          <a:p>
            <a:pPr>
              <a:lnSpc>
                <a:spcPct val="90000"/>
              </a:lnSpc>
            </a:pPr>
            <a:r>
              <a:rPr lang="en-US" sz="5800">
                <a:solidFill>
                  <a:srgbClr val="2A2234"/>
                </a:solidFill>
              </a:rPr>
              <a:t>All NBU</a:t>
            </a:r>
            <a:r>
              <a:rPr lang="en-BE" sz="5800">
                <a:solidFill>
                  <a:srgbClr val="2A2234"/>
                </a:solidFill>
              </a:rPr>
              <a:t> </a:t>
            </a:r>
            <a:br>
              <a:rPr lang="en-BE" sz="5800">
                <a:solidFill>
                  <a:srgbClr val="2A2234"/>
                </a:solidFill>
              </a:rPr>
            </a:br>
            <a:r>
              <a:rPr lang="en-BE" sz="5800">
                <a:solidFill>
                  <a:srgbClr val="2A2234"/>
                </a:solidFill>
              </a:rPr>
              <a:t>Strategy </a:t>
            </a:r>
            <a:br>
              <a:rPr lang="en-BE" sz="5800">
                <a:solidFill>
                  <a:srgbClr val="2A2234"/>
                </a:solidFill>
              </a:rPr>
            </a:br>
            <a:r>
              <a:rPr lang="en-BE" sz="5800">
                <a:solidFill>
                  <a:srgbClr val="2A2234"/>
                </a:solidFill>
              </a:rPr>
              <a:t>Cascade</a:t>
            </a:r>
            <a:br>
              <a:rPr lang="en-BE" sz="5800">
                <a:solidFill>
                  <a:srgbClr val="2A2234"/>
                </a:solidFill>
              </a:rPr>
            </a:br>
            <a:endParaRPr lang="en-BE" sz="5800">
              <a:solidFill>
                <a:srgbClr val="2A2234"/>
              </a:solidFill>
            </a:endParaRPr>
          </a:p>
        </p:txBody>
      </p:sp>
      <p:sp>
        <p:nvSpPr>
          <p:cNvPr id="3" name="!!Subtitle 2">
            <a:extLst>
              <a:ext uri="{FF2B5EF4-FFF2-40B4-BE49-F238E27FC236}">
                <a16:creationId xmlns:a16="http://schemas.microsoft.com/office/drawing/2014/main" id="{3BC23792-4E22-8642-813C-5DE89161A001}"/>
              </a:ext>
            </a:extLst>
          </p:cNvPr>
          <p:cNvSpPr>
            <a:spLocks noGrp="1"/>
          </p:cNvSpPr>
          <p:nvPr>
            <p:ph type="subTitle" idx="1"/>
          </p:nvPr>
        </p:nvSpPr>
        <p:spPr>
          <a:xfrm>
            <a:off x="469308" y="3672590"/>
            <a:ext cx="8221663" cy="735037"/>
          </a:xfrm>
        </p:spPr>
        <p:txBody>
          <a:bodyPr/>
          <a:lstStyle/>
          <a:p>
            <a:r>
              <a:rPr lang="en-BE" sz="1600">
                <a:solidFill>
                  <a:srgbClr val="2A2234"/>
                </a:solidFill>
              </a:rPr>
              <a:t>04.02.2025</a:t>
            </a:r>
          </a:p>
        </p:txBody>
      </p:sp>
      <p:pic>
        <p:nvPicPr>
          <p:cNvPr id="6" name="!!px_logo">
            <a:extLst>
              <a:ext uri="{FF2B5EF4-FFF2-40B4-BE49-F238E27FC236}">
                <a16:creationId xmlns:a16="http://schemas.microsoft.com/office/drawing/2014/main" id="{873EB3D3-1F05-9A04-0BD2-3AACDD71B40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0375" y="4279105"/>
            <a:ext cx="684532" cy="554831"/>
          </a:xfrm>
          <a:prstGeom prst="rect">
            <a:avLst/>
          </a:prstGeom>
        </p:spPr>
      </p:pic>
      <p:pic>
        <p:nvPicPr>
          <p:cNvPr id="8" name="Graphic 7">
            <a:extLst>
              <a:ext uri="{FF2B5EF4-FFF2-40B4-BE49-F238E27FC236}">
                <a16:creationId xmlns:a16="http://schemas.microsoft.com/office/drawing/2014/main" id="{7FC51CF4-09AA-0FB5-9A77-CD178C0567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1403" y="413544"/>
            <a:ext cx="3762474" cy="4316413"/>
          </a:xfrm>
          <a:prstGeom prst="rect">
            <a:avLst/>
          </a:prstGeom>
        </p:spPr>
      </p:pic>
    </p:spTree>
    <p:extLst>
      <p:ext uri="{BB962C8B-B14F-4D97-AF65-F5344CB8AC3E}">
        <p14:creationId xmlns:p14="http://schemas.microsoft.com/office/powerpoint/2010/main" val="2542970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26780ADA-862B-8792-E6F0-701E1B6BD03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47F8D78-3B6C-7F8E-4AAE-5F01B757FEAA}"/>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11500" b="1">
                <a:solidFill>
                  <a:srgbClr val="2A2234"/>
                </a:solidFill>
                <a:latin typeface="Proximus ExtraBold" pitchFamily="2" charset="77"/>
              </a:rPr>
              <a:t>NBU </a:t>
            </a:r>
            <a:r>
              <a:rPr lang="en-GB" sz="11500" b="1">
                <a:gradFill flip="none" rotWithShape="1">
                  <a:gsLst>
                    <a:gs pos="36000">
                      <a:schemeClr val="tx2"/>
                    </a:gs>
                    <a:gs pos="99000">
                      <a:schemeClr val="bg1"/>
                    </a:gs>
                  </a:gsLst>
                  <a:lin ang="18900000" scaled="1"/>
                  <a:tileRect/>
                </a:gradFill>
                <a:latin typeface="Proximus ExtraBold" pitchFamily="2" charset="77"/>
              </a:rPr>
              <a:t>4.0</a:t>
            </a:r>
          </a:p>
        </p:txBody>
      </p:sp>
      <p:sp>
        <p:nvSpPr>
          <p:cNvPr id="2" name="TextBox 1">
            <a:extLst>
              <a:ext uri="{FF2B5EF4-FFF2-40B4-BE49-F238E27FC236}">
                <a16:creationId xmlns:a16="http://schemas.microsoft.com/office/drawing/2014/main" id="{92A6440A-1F50-E43C-F8B0-6F209BF95A78}"/>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1682278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51118A6-7258-A664-077F-F3DC10A3B88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5AB5842-B4FA-B88D-2966-0B347165EB16}"/>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5400" b="1">
                <a:gradFill flip="none" rotWithShape="1">
                  <a:gsLst>
                    <a:gs pos="0">
                      <a:schemeClr val="bg1"/>
                    </a:gs>
                    <a:gs pos="99000">
                      <a:schemeClr val="tx2"/>
                    </a:gs>
                  </a:gsLst>
                  <a:lin ang="10800000" scaled="1"/>
                  <a:tileRect/>
                </a:gradFill>
                <a:latin typeface="Proximus ExtraBold" pitchFamily="2" charset="77"/>
              </a:rPr>
              <a:t>Excellence in delivery</a:t>
            </a:r>
            <a:r>
              <a:rPr lang="en-GB" sz="5400" b="1">
                <a:gradFill>
                  <a:gsLst>
                    <a:gs pos="0">
                      <a:schemeClr val="bg1"/>
                    </a:gs>
                    <a:gs pos="99000">
                      <a:schemeClr val="tx2"/>
                    </a:gs>
                  </a:gsLst>
                  <a:lin ang="18900000" scaled="1"/>
                </a:gradFill>
                <a:latin typeface="Proximus ExtraBold" pitchFamily="2" charset="77"/>
              </a:rPr>
              <a:t> </a:t>
            </a:r>
            <a:br>
              <a:rPr lang="en-GB" sz="5400" b="1">
                <a:gradFill>
                  <a:gsLst>
                    <a:gs pos="0">
                      <a:srgbClr val="E70462"/>
                    </a:gs>
                    <a:gs pos="99000">
                      <a:srgbClr val="EE2E5D"/>
                    </a:gs>
                  </a:gsLst>
                  <a:lin ang="18900000" scaled="1"/>
                </a:gradFill>
                <a:latin typeface="Proximus ExtraBold" pitchFamily="2" charset="77"/>
              </a:rPr>
            </a:br>
            <a:r>
              <a:rPr lang="en-GB" sz="5400">
                <a:solidFill>
                  <a:srgbClr val="2A2234"/>
                </a:solidFill>
                <a:latin typeface="Proximus Light" pitchFamily="2" charset="77"/>
              </a:rPr>
              <a:t>amidst disruption</a:t>
            </a:r>
            <a:endParaRPr lang="en-GB" sz="5400" b="1">
              <a:gradFill flip="none" rotWithShape="1">
                <a:gsLst>
                  <a:gs pos="0">
                    <a:schemeClr val="bg1"/>
                  </a:gs>
                  <a:gs pos="99000">
                    <a:schemeClr val="tx2"/>
                  </a:gs>
                </a:gsLst>
                <a:lin ang="10800000" scaled="1"/>
                <a:tileRect/>
              </a:gradFill>
              <a:latin typeface="Proximus ExtraBold" pitchFamily="2" charset="77"/>
            </a:endParaRPr>
          </a:p>
        </p:txBody>
      </p:sp>
    </p:spTree>
    <p:extLst>
      <p:ext uri="{BB962C8B-B14F-4D97-AF65-F5344CB8AC3E}">
        <p14:creationId xmlns:p14="http://schemas.microsoft.com/office/powerpoint/2010/main" val="1630820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497E8EF7-8E0D-478F-B98D-430782BBD408}"/>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33AC27BF-8F3B-64EF-90C2-D52561A5544F}"/>
              </a:ext>
            </a:extLst>
          </p:cNvPr>
          <p:cNvSpPr>
            <a:spLocks noGrp="1"/>
          </p:cNvSpPr>
          <p:nvPr>
            <p:ph type="body" sz="quarter" idx="13"/>
          </p:nvPr>
        </p:nvSpPr>
        <p:spPr>
          <a:xfrm>
            <a:off x="460369" y="923131"/>
            <a:ext cx="1908000" cy="3297238"/>
          </a:xfrm>
          <a:solidFill>
            <a:schemeClr val="tx1"/>
          </a:solidFill>
        </p:spPr>
        <p:txBody>
          <a:bodyPr tIns="1494000"/>
          <a:lstStyle/>
          <a:p>
            <a:pPr algn="ctr"/>
            <a:r>
              <a:rPr lang="en-BE" sz="1600" b="1">
                <a:solidFill>
                  <a:srgbClr val="2A2234"/>
                </a:solidFill>
                <a:latin typeface="Proximus ExtraBold" pitchFamily="2" charset="77"/>
              </a:rPr>
              <a:t>Bold experiences</a:t>
            </a:r>
          </a:p>
        </p:txBody>
      </p:sp>
      <p:sp>
        <p:nvSpPr>
          <p:cNvPr id="4" name="!!box2">
            <a:extLst>
              <a:ext uri="{FF2B5EF4-FFF2-40B4-BE49-F238E27FC236}">
                <a16:creationId xmlns:a16="http://schemas.microsoft.com/office/drawing/2014/main" id="{6006B7C0-3044-68F4-9631-21CBEA556D31}"/>
              </a:ext>
            </a:extLst>
          </p:cNvPr>
          <p:cNvSpPr>
            <a:spLocks noGrp="1"/>
          </p:cNvSpPr>
          <p:nvPr>
            <p:ph type="body" sz="quarter" idx="14"/>
          </p:nvPr>
        </p:nvSpPr>
        <p:spPr>
          <a:xfrm>
            <a:off x="256239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efficiency</a:t>
            </a:r>
          </a:p>
        </p:txBody>
      </p:sp>
      <p:sp>
        <p:nvSpPr>
          <p:cNvPr id="5" name="!!box3">
            <a:extLst>
              <a:ext uri="{FF2B5EF4-FFF2-40B4-BE49-F238E27FC236}">
                <a16:creationId xmlns:a16="http://schemas.microsoft.com/office/drawing/2014/main" id="{E713361B-368A-2393-7FAE-B2FCAD458A5D}"/>
              </a:ext>
            </a:extLst>
          </p:cNvPr>
          <p:cNvSpPr>
            <a:spLocks noGrp="1"/>
          </p:cNvSpPr>
          <p:nvPr>
            <p:ph type="body" sz="quarter" idx="15"/>
          </p:nvPr>
        </p:nvSpPr>
        <p:spPr>
          <a:xfrm>
            <a:off x="466842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future-proofness</a:t>
            </a:r>
            <a:endParaRPr lang="en-BE" sz="1600" b="1">
              <a:solidFill>
                <a:srgbClr val="2A2234"/>
              </a:solidFill>
              <a:latin typeface="Proximus ExtraBold" pitchFamily="2" charset="77"/>
            </a:endParaRPr>
          </a:p>
        </p:txBody>
      </p:sp>
      <p:sp>
        <p:nvSpPr>
          <p:cNvPr id="7" name="!!box5">
            <a:extLst>
              <a:ext uri="{FF2B5EF4-FFF2-40B4-BE49-F238E27FC236}">
                <a16:creationId xmlns:a16="http://schemas.microsoft.com/office/drawing/2014/main" id="{F2E3615B-6058-5057-B139-FA21D49E9F9B}"/>
              </a:ext>
            </a:extLst>
          </p:cNvPr>
          <p:cNvSpPr>
            <a:spLocks noGrp="1"/>
          </p:cNvSpPr>
          <p:nvPr>
            <p:ph type="body" sz="quarter" idx="17"/>
          </p:nvPr>
        </p:nvSpPr>
        <p:spPr>
          <a:xfrm>
            <a:off x="6772450"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people</a:t>
            </a:r>
          </a:p>
        </p:txBody>
      </p:sp>
      <p:sp>
        <p:nvSpPr>
          <p:cNvPr id="46" name="!!OVAL_network">
            <a:extLst>
              <a:ext uri="{FF2B5EF4-FFF2-40B4-BE49-F238E27FC236}">
                <a16:creationId xmlns:a16="http://schemas.microsoft.com/office/drawing/2014/main" id="{41E285BD-4594-C19C-39AD-48B59C4DCD2A}"/>
              </a:ext>
            </a:extLst>
          </p:cNvPr>
          <p:cNvSpPr>
            <a:spLocks noChangeAspect="1"/>
          </p:cNvSpPr>
          <p:nvPr/>
        </p:nvSpPr>
        <p:spPr>
          <a:xfrm>
            <a:off x="7402449" y="1390436"/>
            <a:ext cx="648000" cy="648000"/>
          </a:xfrm>
          <a:prstGeom prst="ellipse">
            <a:avLst/>
          </a:prstGeom>
          <a:gradFill flip="none" rotWithShape="1">
            <a:gsLst>
              <a:gs pos="0">
                <a:schemeClr val="bg1"/>
              </a:gs>
              <a:gs pos="99000">
                <a:schemeClr val="tx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2" name="Groep 1">
            <a:extLst>
              <a:ext uri="{FF2B5EF4-FFF2-40B4-BE49-F238E27FC236}">
                <a16:creationId xmlns:a16="http://schemas.microsoft.com/office/drawing/2014/main" id="{9F9DDA65-1CBB-6C1B-62CB-420A1AC7C027}"/>
              </a:ext>
            </a:extLst>
          </p:cNvPr>
          <p:cNvGrpSpPr/>
          <p:nvPr/>
        </p:nvGrpSpPr>
        <p:grpSpPr>
          <a:xfrm>
            <a:off x="1093551" y="1390436"/>
            <a:ext cx="648000" cy="648000"/>
            <a:chOff x="1093551" y="1390436"/>
            <a:chExt cx="648000" cy="648000"/>
          </a:xfrm>
        </p:grpSpPr>
        <p:sp>
          <p:nvSpPr>
            <p:cNvPr id="53" name="!!OVAL_technology">
              <a:extLst>
                <a:ext uri="{FF2B5EF4-FFF2-40B4-BE49-F238E27FC236}">
                  <a16:creationId xmlns:a16="http://schemas.microsoft.com/office/drawing/2014/main" id="{46B1A076-A6C1-55FD-234C-F5739F66A2EC}"/>
                </a:ext>
              </a:extLst>
            </p:cNvPr>
            <p:cNvSpPr>
              <a:spLocks noChangeAspect="1"/>
            </p:cNvSpPr>
            <p:nvPr/>
          </p:nvSpPr>
          <p:spPr>
            <a:xfrm>
              <a:off x="1093551" y="1390436"/>
              <a:ext cx="648000" cy="648000"/>
            </a:xfrm>
            <a:prstGeom prst="ellipse">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75" name="medal">
              <a:extLst>
                <a:ext uri="{FF2B5EF4-FFF2-40B4-BE49-F238E27FC236}">
                  <a16:creationId xmlns:a16="http://schemas.microsoft.com/office/drawing/2014/main" id="{CB61A2A3-1C34-E8D5-5B46-081FBD1B1ADF}"/>
                </a:ext>
              </a:extLst>
            </p:cNvPr>
            <p:cNvGrpSpPr/>
            <p:nvPr/>
          </p:nvGrpSpPr>
          <p:grpSpPr>
            <a:xfrm>
              <a:off x="1234542" y="1557547"/>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0F2D8FF9-2034-1060-213A-3AF32AEB4903}"/>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4F06A45B-6A55-75AA-D907-303FC8AECE3F}"/>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grpSp>
        <p:nvGrpSpPr>
          <p:cNvPr id="61" name="Group 60">
            <a:extLst>
              <a:ext uri="{FF2B5EF4-FFF2-40B4-BE49-F238E27FC236}">
                <a16:creationId xmlns:a16="http://schemas.microsoft.com/office/drawing/2014/main" id="{AF870C89-2500-FDF2-BE8D-2018BA8B50F0}"/>
              </a:ext>
            </a:extLst>
          </p:cNvPr>
          <p:cNvGrpSpPr/>
          <p:nvPr/>
        </p:nvGrpSpPr>
        <p:grpSpPr>
          <a:xfrm>
            <a:off x="3192393" y="1390436"/>
            <a:ext cx="648000" cy="648000"/>
            <a:chOff x="2559633" y="1384953"/>
            <a:chExt cx="648000" cy="648000"/>
          </a:xfrm>
        </p:grpSpPr>
        <p:sp>
          <p:nvSpPr>
            <p:cNvPr id="26" name="!!OVAL_brands">
              <a:extLst>
                <a:ext uri="{FF2B5EF4-FFF2-40B4-BE49-F238E27FC236}">
                  <a16:creationId xmlns:a16="http://schemas.microsoft.com/office/drawing/2014/main" id="{FCA1686B-42BE-20D1-335E-15EC6A47252C}"/>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49" name="Graphic 48">
              <a:extLst>
                <a:ext uri="{FF2B5EF4-FFF2-40B4-BE49-F238E27FC236}">
                  <a16:creationId xmlns:a16="http://schemas.microsoft.com/office/drawing/2014/main" id="{5F005963-9A91-2C1C-0B3E-AD29D103B6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
        <p:nvSpPr>
          <p:cNvPr id="50" name="!!OVAL_technology">
            <a:extLst>
              <a:ext uri="{FF2B5EF4-FFF2-40B4-BE49-F238E27FC236}">
                <a16:creationId xmlns:a16="http://schemas.microsoft.com/office/drawing/2014/main" id="{48259302-1ECB-45D6-7FCC-FFA836964C8E}"/>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5CAA07C8-EA73-1D08-29DD-46A786520EE7}"/>
              </a:ext>
            </a:extLst>
          </p:cNvPr>
          <p:cNvGrpSpPr/>
          <p:nvPr/>
        </p:nvGrpSpPr>
        <p:grpSpPr>
          <a:xfrm>
            <a:off x="7545465" y="1533461"/>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536983FE-40BD-86F3-8B75-924AE779576C}"/>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B446AC5D-0A32-8F7A-D3A5-C27E11797A1D}"/>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226ECF65-4E60-8732-160D-5068E0738A0B}"/>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sp>
        <p:nvSpPr>
          <p:cNvPr id="11" name="TextBox 10">
            <a:extLst>
              <a:ext uri="{FF2B5EF4-FFF2-40B4-BE49-F238E27FC236}">
                <a16:creationId xmlns:a16="http://schemas.microsoft.com/office/drawing/2014/main" id="{2EDE9565-FBED-D35B-4263-CBF7CC09CE36}"/>
              </a:ext>
            </a:extLst>
          </p:cNvPr>
          <p:cNvSpPr txBox="1"/>
          <p:nvPr/>
        </p:nvSpPr>
        <p:spPr>
          <a:xfrm>
            <a:off x="460374" y="-3936999"/>
            <a:ext cx="8220075" cy="4316412"/>
          </a:xfrm>
          <a:prstGeom prst="rect">
            <a:avLst/>
          </a:prstGeom>
        </p:spPr>
        <p:txBody>
          <a:bodyPr vert="horz" wrap="square" lIns="0" tIns="0" rIns="0" bIns="0" numCol="1" spcCol="0" rtlCol="0" anchor="ctr" anchorCtr="0">
            <a:noAutofit/>
          </a:bodyPr>
          <a:lstStyle/>
          <a:p>
            <a:pPr algn="ctr"/>
            <a:r>
              <a:rPr lang="en-GB" sz="11500" b="1">
                <a:solidFill>
                  <a:srgbClr val="2A2234"/>
                </a:solidFill>
                <a:latin typeface="Proximus ExtraBold" pitchFamily="2" charset="77"/>
              </a:rPr>
              <a:t>NBU </a:t>
            </a:r>
            <a:r>
              <a:rPr lang="en-GB" sz="11500" b="1">
                <a:gradFill flip="none" rotWithShape="1">
                  <a:gsLst>
                    <a:gs pos="0">
                      <a:srgbClr val="E70462"/>
                    </a:gs>
                    <a:gs pos="99000">
                      <a:srgbClr val="E48413"/>
                    </a:gs>
                  </a:gsLst>
                  <a:lin ang="18900000" scaled="1"/>
                  <a:tileRect/>
                </a:gradFill>
                <a:latin typeface="Proximus ExtraBold" pitchFamily="2" charset="77"/>
              </a:rPr>
              <a:t>4.0</a:t>
            </a:r>
          </a:p>
        </p:txBody>
      </p:sp>
      <p:grpSp>
        <p:nvGrpSpPr>
          <p:cNvPr id="24" name="Group 23">
            <a:extLst>
              <a:ext uri="{FF2B5EF4-FFF2-40B4-BE49-F238E27FC236}">
                <a16:creationId xmlns:a16="http://schemas.microsoft.com/office/drawing/2014/main" id="{3C13397C-EA73-B5E1-B984-25CB9058379D}"/>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000EDE0C-08A7-898C-F842-06E3AAC0F4A7}"/>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76BD2092-F646-E834-05AF-F3E330118E7B}"/>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953224CD-AA2A-DA57-FC95-32F3868C6AEC}"/>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415DBC7F-241C-534A-0B40-9ED2C0B24E7A}"/>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3CB4BEC1-A88F-5CEB-FD04-B5247CF27224}"/>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Tree>
    <p:extLst>
      <p:ext uri="{BB962C8B-B14F-4D97-AF65-F5344CB8AC3E}">
        <p14:creationId xmlns:p14="http://schemas.microsoft.com/office/powerpoint/2010/main" val="3516865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1B41F838-732C-1F6E-2760-1F0D8FE32BC0}"/>
            </a:ext>
          </a:extLst>
        </p:cNvPr>
        <p:cNvGrpSpPr/>
        <p:nvPr/>
      </p:nvGrpSpPr>
      <p:grpSpPr>
        <a:xfrm>
          <a:off x="0" y="0"/>
          <a:ext cx="0" cy="0"/>
          <a:chOff x="0" y="0"/>
          <a:chExt cx="0" cy="0"/>
        </a:xfrm>
      </p:grpSpPr>
      <p:sp>
        <p:nvSpPr>
          <p:cNvPr id="7" name="!!box5">
            <a:extLst>
              <a:ext uri="{FF2B5EF4-FFF2-40B4-BE49-F238E27FC236}">
                <a16:creationId xmlns:a16="http://schemas.microsoft.com/office/drawing/2014/main" id="{4E7BF5D8-0C5C-B3E0-4392-3C54A047498F}"/>
              </a:ext>
            </a:extLst>
          </p:cNvPr>
          <p:cNvSpPr>
            <a:spLocks noGrp="1"/>
          </p:cNvSpPr>
          <p:nvPr>
            <p:ph type="body" sz="quarter" idx="17"/>
          </p:nvPr>
        </p:nvSpPr>
        <p:spPr>
          <a:xfrm>
            <a:off x="6772450"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people</a:t>
            </a:r>
          </a:p>
        </p:txBody>
      </p:sp>
      <p:sp>
        <p:nvSpPr>
          <p:cNvPr id="6" name="!!OVAL_network">
            <a:extLst>
              <a:ext uri="{FF2B5EF4-FFF2-40B4-BE49-F238E27FC236}">
                <a16:creationId xmlns:a16="http://schemas.microsoft.com/office/drawing/2014/main" id="{67383B5B-500B-C1EF-61B9-604A5285AB9D}"/>
              </a:ext>
            </a:extLst>
          </p:cNvPr>
          <p:cNvSpPr>
            <a:spLocks noChangeAspect="1"/>
          </p:cNvSpPr>
          <p:nvPr/>
        </p:nvSpPr>
        <p:spPr>
          <a:xfrm>
            <a:off x="7405631" y="1390436"/>
            <a:ext cx="648000" cy="648000"/>
          </a:xfrm>
          <a:prstGeom prst="ellipse">
            <a:avLst/>
          </a:prstGeom>
          <a:gradFill flip="none" rotWithShape="1">
            <a:gsLst>
              <a:gs pos="0">
                <a:schemeClr val="bg1"/>
              </a:gs>
              <a:gs pos="99000">
                <a:schemeClr val="tx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3" name="!!box1">
            <a:extLst>
              <a:ext uri="{FF2B5EF4-FFF2-40B4-BE49-F238E27FC236}">
                <a16:creationId xmlns:a16="http://schemas.microsoft.com/office/drawing/2014/main" id="{747E0625-3C4B-B2DC-4BC4-245B30ECC11F}"/>
              </a:ext>
            </a:extLst>
          </p:cNvPr>
          <p:cNvSpPr>
            <a:spLocks noGrp="1"/>
          </p:cNvSpPr>
          <p:nvPr>
            <p:ph type="body" sz="quarter" idx="13"/>
          </p:nvPr>
        </p:nvSpPr>
        <p:spPr>
          <a:xfrm>
            <a:off x="460369" y="923131"/>
            <a:ext cx="1908000" cy="3297238"/>
          </a:xfrm>
          <a:gradFill>
            <a:gsLst>
              <a:gs pos="0">
                <a:schemeClr val="bg1"/>
              </a:gs>
              <a:gs pos="99000">
                <a:srgbClr val="41C3FF"/>
              </a:gs>
            </a:gsLst>
            <a:lin ang="2700000" scaled="1"/>
          </a:gradFill>
        </p:spPr>
        <p:txBody>
          <a:bodyPr tIns="1494000"/>
          <a:lstStyle/>
          <a:p>
            <a:pPr algn="ctr"/>
            <a:r>
              <a:rPr lang="en-BE" sz="1600" b="1">
                <a:solidFill>
                  <a:schemeClr val="tx1"/>
                </a:solidFill>
                <a:latin typeface="Proximus ExtraBold" pitchFamily="2" charset="77"/>
              </a:rPr>
              <a:t>Bold experiences</a:t>
            </a:r>
          </a:p>
        </p:txBody>
      </p:sp>
      <p:sp>
        <p:nvSpPr>
          <p:cNvPr id="4" name="!!box2">
            <a:extLst>
              <a:ext uri="{FF2B5EF4-FFF2-40B4-BE49-F238E27FC236}">
                <a16:creationId xmlns:a16="http://schemas.microsoft.com/office/drawing/2014/main" id="{D3D9CD61-1043-5AC0-3921-0D0D6E7CD5C6}"/>
              </a:ext>
            </a:extLst>
          </p:cNvPr>
          <p:cNvSpPr>
            <a:spLocks noGrp="1"/>
          </p:cNvSpPr>
          <p:nvPr>
            <p:ph type="body" sz="quarter" idx="14"/>
          </p:nvPr>
        </p:nvSpPr>
        <p:spPr>
          <a:xfrm>
            <a:off x="256239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efficiency</a:t>
            </a:r>
          </a:p>
        </p:txBody>
      </p:sp>
      <p:sp>
        <p:nvSpPr>
          <p:cNvPr id="5" name="!!box3">
            <a:extLst>
              <a:ext uri="{FF2B5EF4-FFF2-40B4-BE49-F238E27FC236}">
                <a16:creationId xmlns:a16="http://schemas.microsoft.com/office/drawing/2014/main" id="{3A0CAE3A-A2A0-46BC-3206-D7824C092B74}"/>
              </a:ext>
            </a:extLst>
          </p:cNvPr>
          <p:cNvSpPr>
            <a:spLocks noGrp="1"/>
          </p:cNvSpPr>
          <p:nvPr>
            <p:ph type="body" sz="quarter" idx="15"/>
          </p:nvPr>
        </p:nvSpPr>
        <p:spPr>
          <a:xfrm>
            <a:off x="466842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future-proofness</a:t>
            </a:r>
            <a:endParaRPr lang="en-BE" sz="1600" b="1">
              <a:solidFill>
                <a:srgbClr val="2A2234"/>
              </a:solidFill>
              <a:latin typeface="Proximus ExtraBold" pitchFamily="2" charset="77"/>
            </a:endParaRPr>
          </a:p>
        </p:txBody>
      </p:sp>
      <p:grpSp>
        <p:nvGrpSpPr>
          <p:cNvPr id="63" name="Group 62">
            <a:extLst>
              <a:ext uri="{FF2B5EF4-FFF2-40B4-BE49-F238E27FC236}">
                <a16:creationId xmlns:a16="http://schemas.microsoft.com/office/drawing/2014/main" id="{BEE5B64C-80FA-7D91-BA97-4908B3C1AB56}"/>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01D9E804-ABE4-8668-EB9F-1F31C29CC118}"/>
                </a:ext>
              </a:extLst>
            </p:cNvPr>
            <p:cNvSpPr>
              <a:spLocks noChangeAspect="1"/>
            </p:cNvSpPr>
            <p:nvPr/>
          </p:nvSpPr>
          <p:spPr>
            <a:xfrm>
              <a:off x="869838" y="1363153"/>
              <a:ext cx="648000" cy="648000"/>
            </a:xfrm>
            <a:prstGeom prst="ellipse">
              <a:avLst/>
            </a:prstGeom>
            <a:no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82B5F224-7A84-062F-6D3C-EC714A2E6E0C}"/>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0BCD1151-5AD6-DF4C-F563-0096CF223E5D}"/>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E2E70125-3834-F55F-4F98-0F8798471CD2}"/>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grpSp>
        <p:nvGrpSpPr>
          <p:cNvPr id="61" name="Group 60">
            <a:extLst>
              <a:ext uri="{FF2B5EF4-FFF2-40B4-BE49-F238E27FC236}">
                <a16:creationId xmlns:a16="http://schemas.microsoft.com/office/drawing/2014/main" id="{478610A0-3EAE-A3ED-0EF9-5879699453C0}"/>
              </a:ext>
            </a:extLst>
          </p:cNvPr>
          <p:cNvGrpSpPr/>
          <p:nvPr/>
        </p:nvGrpSpPr>
        <p:grpSpPr>
          <a:xfrm>
            <a:off x="3192393" y="1390436"/>
            <a:ext cx="648000" cy="648000"/>
            <a:chOff x="2559633" y="1384953"/>
            <a:chExt cx="648000" cy="648000"/>
          </a:xfrm>
        </p:grpSpPr>
        <p:sp>
          <p:nvSpPr>
            <p:cNvPr id="26" name="!!OVAL_brands">
              <a:extLst>
                <a:ext uri="{FF2B5EF4-FFF2-40B4-BE49-F238E27FC236}">
                  <a16:creationId xmlns:a16="http://schemas.microsoft.com/office/drawing/2014/main" id="{042D319E-EF28-959C-A4B9-235305CDE536}"/>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49" name="Graphic 48">
              <a:extLst>
                <a:ext uri="{FF2B5EF4-FFF2-40B4-BE49-F238E27FC236}">
                  <a16:creationId xmlns:a16="http://schemas.microsoft.com/office/drawing/2014/main" id="{80D4CFBC-BDF1-1ED0-D5DE-7734ACE96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
        <p:nvSpPr>
          <p:cNvPr id="50" name="!!OVAL_technology">
            <a:extLst>
              <a:ext uri="{FF2B5EF4-FFF2-40B4-BE49-F238E27FC236}">
                <a16:creationId xmlns:a16="http://schemas.microsoft.com/office/drawing/2014/main" id="{FB9016D0-4286-3787-9221-60235847FC49}"/>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61694768-92F1-D4DA-48FB-CC200DC4C6DF}"/>
              </a:ext>
            </a:extLst>
          </p:cNvPr>
          <p:cNvGrpSpPr/>
          <p:nvPr/>
        </p:nvGrpSpPr>
        <p:grpSpPr>
          <a:xfrm>
            <a:off x="7545465" y="1533461"/>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D6CB88CC-FF80-B697-166C-9B9E5A8EFA6B}"/>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E050B9D7-6D10-D967-76AF-F74C258393C8}"/>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F016B355-09A3-73C2-82FC-D7F7E171EC22}"/>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nvGrpSpPr>
          <p:cNvPr id="24" name="Group 23">
            <a:extLst>
              <a:ext uri="{FF2B5EF4-FFF2-40B4-BE49-F238E27FC236}">
                <a16:creationId xmlns:a16="http://schemas.microsoft.com/office/drawing/2014/main" id="{08F4A959-2830-9858-6B27-5A810DA08C4B}"/>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44BCCE8A-E5A0-2011-2EB3-F05D0FBBBD70}"/>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F6D85DA1-3BC6-FCB6-6D04-FBC53F6305FA}"/>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5731CEC6-A043-B72D-4AC8-422E5C3A5896}"/>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D1DD68C6-94BE-5D49-B12F-6437BD41A6AE}"/>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D7ADCB34-B47A-A5B3-3589-667709B37BF6}"/>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Tree>
    <p:extLst>
      <p:ext uri="{BB962C8B-B14F-4D97-AF65-F5344CB8AC3E}">
        <p14:creationId xmlns:p14="http://schemas.microsoft.com/office/powerpoint/2010/main" val="2946514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DE67B44-9339-8CC7-5361-B21DFDA8F7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04A1B0-3011-7304-02A5-C983BD055E54}"/>
              </a:ext>
            </a:extLst>
          </p:cNvPr>
          <p:cNvSpPr>
            <a:spLocks noGrp="1"/>
          </p:cNvSpPr>
          <p:nvPr>
            <p:ph type="title"/>
          </p:nvPr>
        </p:nvSpPr>
        <p:spPr>
          <a:xfrm>
            <a:off x="1252548" y="377826"/>
            <a:ext cx="7429492" cy="660092"/>
          </a:xfrm>
        </p:spPr>
        <p:txBody>
          <a:bodyPr anchor="ctr"/>
          <a:lstStyle/>
          <a:p>
            <a:r>
              <a:rPr lang="en-BE">
                <a:solidFill>
                  <a:srgbClr val="2A2234"/>
                </a:solidFill>
              </a:rPr>
              <a:t>Bold experiences</a:t>
            </a:r>
          </a:p>
        </p:txBody>
      </p:sp>
      <p:sp>
        <p:nvSpPr>
          <p:cNvPr id="3" name="Text Placeholder 2">
            <a:extLst>
              <a:ext uri="{FF2B5EF4-FFF2-40B4-BE49-F238E27FC236}">
                <a16:creationId xmlns:a16="http://schemas.microsoft.com/office/drawing/2014/main" id="{7246D3C2-A13A-612F-BE77-4D38BBFD5DEE}"/>
              </a:ext>
            </a:extLst>
          </p:cNvPr>
          <p:cNvSpPr>
            <a:spLocks noGrp="1"/>
          </p:cNvSpPr>
          <p:nvPr>
            <p:ph type="body" sz="quarter" idx="4294967295"/>
          </p:nvPr>
        </p:nvSpPr>
        <p:spPr>
          <a:xfrm>
            <a:off x="460375" y="1408113"/>
            <a:ext cx="2592388" cy="2774950"/>
          </a:xfrm>
          <a:prstGeom prst="roundRect">
            <a:avLst>
              <a:gd name="adj" fmla="val 7348"/>
            </a:avLst>
          </a:prstGeom>
          <a:gradFill flip="none" rotWithShape="1">
            <a:gsLst>
              <a:gs pos="0">
                <a:schemeClr val="bg1"/>
              </a:gs>
              <a:gs pos="99000">
                <a:srgbClr val="41C3FF"/>
              </a:gs>
            </a:gsLst>
            <a:lin ang="10800000" scaled="1"/>
            <a:tileRect/>
          </a:gradFill>
        </p:spPr>
        <p:txBody>
          <a:bodyPr tIns="576000" anchor="ctr"/>
          <a:lstStyle/>
          <a:p>
            <a:pPr marL="0" indent="0" algn="ctr">
              <a:buNone/>
            </a:pPr>
            <a:r>
              <a:rPr lang="en-GB" sz="1600" b="1">
                <a:solidFill>
                  <a:schemeClr val="tx1"/>
                </a:solidFill>
                <a:latin typeface="Proximus ExtraBold" pitchFamily="2" charset="77"/>
              </a:rPr>
              <a:t>Gigabit </a:t>
            </a:r>
            <a:br>
              <a:rPr lang="en-GB" sz="1600" b="1">
                <a:solidFill>
                  <a:schemeClr val="tx1"/>
                </a:solidFill>
                <a:latin typeface="Proximus ExtraBold" pitchFamily="2" charset="77"/>
              </a:rPr>
            </a:br>
            <a:r>
              <a:rPr lang="en-GB" sz="1600" b="1">
                <a:solidFill>
                  <a:schemeClr val="tx1"/>
                </a:solidFill>
                <a:latin typeface="Proximus ExtraBold" pitchFamily="2" charset="77"/>
              </a:rPr>
              <a:t>for all</a:t>
            </a:r>
            <a:endParaRPr lang="en-BE" sz="1600" b="1">
              <a:solidFill>
                <a:schemeClr val="tx1"/>
              </a:solidFill>
              <a:latin typeface="Proximus ExtraBold" pitchFamily="2" charset="77"/>
            </a:endParaRPr>
          </a:p>
        </p:txBody>
      </p:sp>
      <p:sp>
        <p:nvSpPr>
          <p:cNvPr id="4" name="Text Placeholder 3">
            <a:extLst>
              <a:ext uri="{FF2B5EF4-FFF2-40B4-BE49-F238E27FC236}">
                <a16:creationId xmlns:a16="http://schemas.microsoft.com/office/drawing/2014/main" id="{40F16F2E-8094-5490-DF27-DA539DF3D67C}"/>
              </a:ext>
            </a:extLst>
          </p:cNvPr>
          <p:cNvSpPr>
            <a:spLocks noGrp="1"/>
          </p:cNvSpPr>
          <p:nvPr>
            <p:ph type="body" sz="quarter" idx="4294967295"/>
          </p:nvPr>
        </p:nvSpPr>
        <p:spPr>
          <a:xfrm>
            <a:off x="6086897" y="1408113"/>
            <a:ext cx="2592387" cy="2774950"/>
          </a:xfrm>
          <a:prstGeom prst="roundRect">
            <a:avLst>
              <a:gd name="adj" fmla="val 7348"/>
            </a:avLst>
          </a:prstGeom>
          <a:gradFill flip="none" rotWithShape="1">
            <a:gsLst>
              <a:gs pos="0">
                <a:schemeClr val="bg1"/>
              </a:gs>
              <a:gs pos="99000">
                <a:srgbClr val="41C3FF"/>
              </a:gs>
            </a:gsLst>
            <a:lin ang="0" scaled="1"/>
            <a:tileRect/>
          </a:gradFill>
        </p:spPr>
        <p:txBody>
          <a:bodyPr tIns="576000" anchor="ctr"/>
          <a:lstStyle/>
          <a:p>
            <a:pPr marL="0" indent="0" algn="ctr">
              <a:buNone/>
            </a:pPr>
            <a:r>
              <a:rPr lang="en-GB" sz="1600" b="1">
                <a:solidFill>
                  <a:schemeClr val="tx1"/>
                </a:solidFill>
                <a:latin typeface="Proximus ExtraBold" pitchFamily="2" charset="77"/>
              </a:rPr>
              <a:t>Multi-access </a:t>
            </a:r>
            <a:br>
              <a:rPr lang="en-GB" sz="1600" b="1">
                <a:solidFill>
                  <a:schemeClr val="tx1"/>
                </a:solidFill>
                <a:latin typeface="Proximus ExtraBold" pitchFamily="2" charset="77"/>
              </a:rPr>
            </a:br>
            <a:r>
              <a:rPr lang="en-GB" sz="1600" b="1">
                <a:solidFill>
                  <a:schemeClr val="tx1"/>
                </a:solidFill>
                <a:latin typeface="Proximus ExtraBold" pitchFamily="2" charset="77"/>
              </a:rPr>
              <a:t>experience</a:t>
            </a:r>
          </a:p>
        </p:txBody>
      </p:sp>
      <p:sp>
        <p:nvSpPr>
          <p:cNvPr id="8" name="Text Placeholder 7">
            <a:extLst>
              <a:ext uri="{FF2B5EF4-FFF2-40B4-BE49-F238E27FC236}">
                <a16:creationId xmlns:a16="http://schemas.microsoft.com/office/drawing/2014/main" id="{53EAFBDB-8BEC-C505-DAD9-7E30A84A4ABB}"/>
              </a:ext>
            </a:extLst>
          </p:cNvPr>
          <p:cNvSpPr>
            <a:spLocks noGrp="1"/>
          </p:cNvSpPr>
          <p:nvPr>
            <p:ph type="body" sz="quarter" idx="4294967295"/>
          </p:nvPr>
        </p:nvSpPr>
        <p:spPr>
          <a:xfrm>
            <a:off x="3273636" y="1408113"/>
            <a:ext cx="2592388" cy="2774950"/>
          </a:xfrm>
          <a:prstGeom prst="roundRect">
            <a:avLst>
              <a:gd name="adj" fmla="val 7348"/>
            </a:avLst>
          </a:prstGeom>
          <a:solidFill>
            <a:schemeClr val="bg1"/>
          </a:solidFill>
        </p:spPr>
        <p:txBody>
          <a:bodyPr tIns="576000" anchor="ctr"/>
          <a:lstStyle/>
          <a:p>
            <a:pPr marL="0" indent="0" algn="ctr">
              <a:buNone/>
            </a:pPr>
            <a:r>
              <a:rPr lang="en-GB" sz="1600" b="1">
                <a:solidFill>
                  <a:schemeClr val="tx1"/>
                </a:solidFill>
                <a:latin typeface="Proximus ExtraBold" pitchFamily="2" charset="77"/>
              </a:rPr>
              <a:t>Mobile </a:t>
            </a:r>
            <a:br>
              <a:rPr lang="en-GB" sz="1600" b="1">
                <a:solidFill>
                  <a:schemeClr val="tx1"/>
                </a:solidFill>
                <a:latin typeface="Proximus ExtraBold" pitchFamily="2" charset="77"/>
              </a:rPr>
            </a:br>
            <a:r>
              <a:rPr lang="en-GB" sz="1600" b="1">
                <a:solidFill>
                  <a:schemeClr val="tx1"/>
                </a:solidFill>
                <a:latin typeface="Proximus ExtraBold" pitchFamily="2" charset="77"/>
              </a:rPr>
              <a:t>leadership</a:t>
            </a:r>
          </a:p>
        </p:txBody>
      </p:sp>
      <p:pic>
        <p:nvPicPr>
          <p:cNvPr id="25" name="Graphic 24">
            <a:extLst>
              <a:ext uri="{FF2B5EF4-FFF2-40B4-BE49-F238E27FC236}">
                <a16:creationId xmlns:a16="http://schemas.microsoft.com/office/drawing/2014/main" id="{A82C1C2C-3370-9958-FC06-1AC03CF819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93677" y="1965864"/>
            <a:ext cx="285017" cy="386809"/>
          </a:xfrm>
          <a:prstGeom prst="rect">
            <a:avLst/>
          </a:prstGeom>
        </p:spPr>
      </p:pic>
      <p:pic>
        <p:nvPicPr>
          <p:cNvPr id="15" name="Graphic 14">
            <a:extLst>
              <a:ext uri="{FF2B5EF4-FFF2-40B4-BE49-F238E27FC236}">
                <a16:creationId xmlns:a16="http://schemas.microsoft.com/office/drawing/2014/main" id="{3F996C09-7277-0647-28CC-8FB973AF5F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50988" y="1953882"/>
            <a:ext cx="410773" cy="410773"/>
          </a:xfrm>
          <a:prstGeom prst="rect">
            <a:avLst/>
          </a:prstGeom>
        </p:spPr>
      </p:pic>
      <p:pic>
        <p:nvPicPr>
          <p:cNvPr id="43" name="Graphic 42">
            <a:extLst>
              <a:ext uri="{FF2B5EF4-FFF2-40B4-BE49-F238E27FC236}">
                <a16:creationId xmlns:a16="http://schemas.microsoft.com/office/drawing/2014/main" id="{99F7667A-7E2F-A6D7-1AB9-F13BD0395B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3950" y="1968768"/>
            <a:ext cx="381000" cy="381000"/>
          </a:xfrm>
          <a:prstGeom prst="rect">
            <a:avLst/>
          </a:prstGeom>
        </p:spPr>
      </p:pic>
      <p:grpSp>
        <p:nvGrpSpPr>
          <p:cNvPr id="6" name="Groep 5">
            <a:extLst>
              <a:ext uri="{FF2B5EF4-FFF2-40B4-BE49-F238E27FC236}">
                <a16:creationId xmlns:a16="http://schemas.microsoft.com/office/drawing/2014/main" id="{3F39F435-70E2-EEF9-AA3B-7B9C8486F67C}"/>
              </a:ext>
            </a:extLst>
          </p:cNvPr>
          <p:cNvGrpSpPr/>
          <p:nvPr/>
        </p:nvGrpSpPr>
        <p:grpSpPr>
          <a:xfrm>
            <a:off x="460375" y="377826"/>
            <a:ext cx="648000" cy="648000"/>
            <a:chOff x="1093551" y="1390436"/>
            <a:chExt cx="648000" cy="648000"/>
          </a:xfrm>
        </p:grpSpPr>
        <p:sp>
          <p:nvSpPr>
            <p:cNvPr id="7" name="!!OVAL_technology">
              <a:extLst>
                <a:ext uri="{FF2B5EF4-FFF2-40B4-BE49-F238E27FC236}">
                  <a16:creationId xmlns:a16="http://schemas.microsoft.com/office/drawing/2014/main" id="{94CA0B52-CFEE-82A6-9768-05F7158237A7}"/>
                </a:ext>
              </a:extLst>
            </p:cNvPr>
            <p:cNvSpPr>
              <a:spLocks noChangeAspect="1"/>
            </p:cNvSpPr>
            <p:nvPr/>
          </p:nvSpPr>
          <p:spPr>
            <a:xfrm>
              <a:off x="1093551" y="1390436"/>
              <a:ext cx="648000" cy="648000"/>
            </a:xfrm>
            <a:prstGeom prst="ellipse">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9" name="medal">
              <a:extLst>
                <a:ext uri="{FF2B5EF4-FFF2-40B4-BE49-F238E27FC236}">
                  <a16:creationId xmlns:a16="http://schemas.microsoft.com/office/drawing/2014/main" id="{39C2316B-5D82-4429-2AB4-80D4E3B57690}"/>
                </a:ext>
              </a:extLst>
            </p:cNvPr>
            <p:cNvGrpSpPr/>
            <p:nvPr/>
          </p:nvGrpSpPr>
          <p:grpSpPr>
            <a:xfrm>
              <a:off x="1234542" y="1557547"/>
              <a:ext cx="359654" cy="360044"/>
              <a:chOff x="4715967" y="2129134"/>
              <a:chExt cx="359654" cy="360044"/>
            </a:xfrm>
            <a:solidFill>
              <a:schemeClr val="tx1"/>
            </a:solidFill>
          </p:grpSpPr>
          <p:sp>
            <p:nvSpPr>
              <p:cNvPr id="10" name="Freeform: Shape 101">
                <a:extLst>
                  <a:ext uri="{FF2B5EF4-FFF2-40B4-BE49-F238E27FC236}">
                    <a16:creationId xmlns:a16="http://schemas.microsoft.com/office/drawing/2014/main" id="{830FC639-8A22-9673-AB55-AC6008A8CD88}"/>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11" name="Freeform: Shape 102">
                <a:extLst>
                  <a:ext uri="{FF2B5EF4-FFF2-40B4-BE49-F238E27FC236}">
                    <a16:creationId xmlns:a16="http://schemas.microsoft.com/office/drawing/2014/main" id="{C9D3D67C-6D2C-3632-B7B6-9BB77E1B49EA}"/>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6663099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DF451157-4431-63E9-7A5F-625CBE1C85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D0198A-0211-95FD-E76D-EF2C87DD958F}"/>
              </a:ext>
            </a:extLst>
          </p:cNvPr>
          <p:cNvSpPr>
            <a:spLocks noGrp="1"/>
          </p:cNvSpPr>
          <p:nvPr>
            <p:ph type="title"/>
          </p:nvPr>
        </p:nvSpPr>
        <p:spPr>
          <a:xfrm>
            <a:off x="1226989" y="377826"/>
            <a:ext cx="7455051" cy="660092"/>
          </a:xfrm>
        </p:spPr>
        <p:txBody>
          <a:bodyPr anchor="ctr"/>
          <a:lstStyle/>
          <a:p>
            <a:r>
              <a:rPr lang="en-BE">
                <a:solidFill>
                  <a:srgbClr val="2A2234"/>
                </a:solidFill>
              </a:rPr>
              <a:t>Gigabit for all</a:t>
            </a:r>
          </a:p>
        </p:txBody>
      </p:sp>
      <p:sp>
        <p:nvSpPr>
          <p:cNvPr id="39" name="!!OVAL_network">
            <a:extLst>
              <a:ext uri="{FF2B5EF4-FFF2-40B4-BE49-F238E27FC236}">
                <a16:creationId xmlns:a16="http://schemas.microsoft.com/office/drawing/2014/main" id="{5D225961-3FF1-E623-4F00-3C767178D1B2}"/>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5" name="Graphic 4">
            <a:extLst>
              <a:ext uri="{FF2B5EF4-FFF2-40B4-BE49-F238E27FC236}">
                <a16:creationId xmlns:a16="http://schemas.microsoft.com/office/drawing/2014/main" id="{3F4D4F6E-E75A-DB14-54AE-A60A1C5AB8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89" y="502486"/>
            <a:ext cx="410773" cy="410773"/>
          </a:xfrm>
          <a:prstGeom prst="rect">
            <a:avLst/>
          </a:prstGeom>
        </p:spPr>
      </p:pic>
      <p:sp>
        <p:nvSpPr>
          <p:cNvPr id="14" name="TextBox 13">
            <a:extLst>
              <a:ext uri="{FF2B5EF4-FFF2-40B4-BE49-F238E27FC236}">
                <a16:creationId xmlns:a16="http://schemas.microsoft.com/office/drawing/2014/main" id="{652B234D-9410-3379-B7C2-8D1FE1709DA2}"/>
              </a:ext>
            </a:extLst>
          </p:cNvPr>
          <p:cNvSpPr txBox="1"/>
          <p:nvPr/>
        </p:nvSpPr>
        <p:spPr>
          <a:xfrm>
            <a:off x="460375" y="1038225"/>
            <a:ext cx="4111626" cy="3657600"/>
          </a:xfrm>
          <a:prstGeom prst="rect">
            <a:avLst/>
          </a:prstGeom>
        </p:spPr>
        <p:txBody>
          <a:bodyPr vert="horz" wrap="square" lIns="0" tIns="0" rIns="0" bIns="0" numCol="1" spcCol="0" rtlCol="0" anchor="ctr" anchorCtr="0">
            <a:noAutofit/>
          </a:bodyPr>
          <a:lstStyle/>
          <a:p>
            <a:pPr>
              <a:lnSpc>
                <a:spcPct val="90000"/>
              </a:lnSpc>
            </a:pPr>
            <a:r>
              <a:rPr lang="en-GB" sz="3600" b="1">
                <a:gradFill flip="none" rotWithShape="1">
                  <a:gsLst>
                    <a:gs pos="0">
                      <a:schemeClr val="bg1"/>
                    </a:gs>
                    <a:gs pos="99000">
                      <a:srgbClr val="41C3FF"/>
                    </a:gs>
                  </a:gsLst>
                  <a:lin ang="10800000" scaled="1"/>
                  <a:tileRect/>
                </a:gradFill>
                <a:latin typeface="Proximus ExtraBold" pitchFamily="2" charset="77"/>
              </a:rPr>
              <a:t>Collective</a:t>
            </a:r>
            <a:r>
              <a:rPr lang="en-GB" sz="3600" b="1">
                <a:gradFill>
                  <a:gsLst>
                    <a:gs pos="0">
                      <a:srgbClr val="E70462"/>
                    </a:gs>
                    <a:gs pos="99000">
                      <a:srgbClr val="EE2E5D"/>
                    </a:gs>
                  </a:gsLst>
                  <a:lin ang="18900000" scaled="1"/>
                </a:gradFill>
                <a:latin typeface="Proximus ExtraBold" pitchFamily="2" charset="77"/>
              </a:rPr>
              <a:t> </a:t>
            </a:r>
            <a:br>
              <a:rPr lang="en-GB" sz="3600" b="1">
                <a:gradFill>
                  <a:gsLst>
                    <a:gs pos="0">
                      <a:srgbClr val="E70462"/>
                    </a:gs>
                    <a:gs pos="99000">
                      <a:srgbClr val="EE2E5D"/>
                    </a:gs>
                  </a:gsLst>
                  <a:lin ang="18900000" scaled="1"/>
                </a:gradFill>
                <a:latin typeface="Proximus ExtraBold" pitchFamily="2" charset="77"/>
              </a:rPr>
            </a:br>
            <a:r>
              <a:rPr lang="en-GB" sz="3600">
                <a:solidFill>
                  <a:srgbClr val="2A2234"/>
                </a:solidFill>
                <a:latin typeface="Proximus Light" pitchFamily="2" charset="77"/>
              </a:rPr>
              <a:t>effort to build a </a:t>
            </a:r>
            <a:r>
              <a:rPr lang="en-GB" sz="3600" b="1">
                <a:gradFill>
                  <a:gsLst>
                    <a:gs pos="0">
                      <a:schemeClr val="bg1"/>
                    </a:gs>
                    <a:gs pos="99000">
                      <a:srgbClr val="41C3FF"/>
                    </a:gs>
                  </a:gsLst>
                  <a:lin ang="10800000" scaled="1"/>
                </a:gradFill>
                <a:latin typeface="Proximus ExtraBold" pitchFamily="2" charset="77"/>
              </a:rPr>
              <a:t>fast</a:t>
            </a:r>
            <a:r>
              <a:rPr lang="en-GB" sz="3600">
                <a:solidFill>
                  <a:srgbClr val="2A2234"/>
                </a:solidFill>
                <a:latin typeface="Proximus Light" pitchFamily="2" charset="77"/>
              </a:rPr>
              <a:t>, </a:t>
            </a:r>
            <a:r>
              <a:rPr lang="en-GB" sz="3600" b="1">
                <a:gradFill>
                  <a:gsLst>
                    <a:gs pos="0">
                      <a:schemeClr val="bg1"/>
                    </a:gs>
                    <a:gs pos="99000">
                      <a:srgbClr val="41C3FF"/>
                    </a:gs>
                  </a:gsLst>
                  <a:lin ang="10800000" scaled="1"/>
                </a:gradFill>
                <a:latin typeface="Proximus ExtraBold" pitchFamily="2" charset="77"/>
              </a:rPr>
              <a:t>open</a:t>
            </a:r>
            <a:r>
              <a:rPr lang="en-GB" sz="3600">
                <a:solidFill>
                  <a:srgbClr val="2A2234"/>
                </a:solidFill>
                <a:latin typeface="Proximus Light" pitchFamily="2" charset="77"/>
              </a:rPr>
              <a:t> &amp; </a:t>
            </a:r>
            <a:r>
              <a:rPr lang="en-GB" sz="3600" b="1">
                <a:gradFill>
                  <a:gsLst>
                    <a:gs pos="0">
                      <a:schemeClr val="bg1"/>
                    </a:gs>
                    <a:gs pos="99000">
                      <a:srgbClr val="41C3FF"/>
                    </a:gs>
                  </a:gsLst>
                  <a:lin ang="10800000" scaled="1"/>
                </a:gradFill>
                <a:latin typeface="Proximus ExtraBold" pitchFamily="2" charset="77"/>
              </a:rPr>
              <a:t>accessible</a:t>
            </a:r>
            <a:r>
              <a:rPr lang="en-GB" sz="3600">
                <a:solidFill>
                  <a:srgbClr val="2A2234"/>
                </a:solidFill>
                <a:latin typeface="Proximus Light" pitchFamily="2" charset="77"/>
              </a:rPr>
              <a:t> </a:t>
            </a:r>
            <a:br>
              <a:rPr lang="en-GB" sz="3600">
                <a:solidFill>
                  <a:srgbClr val="2A2234"/>
                </a:solidFill>
                <a:latin typeface="Proximus Light" pitchFamily="2" charset="77"/>
              </a:rPr>
            </a:br>
            <a:r>
              <a:rPr lang="en-GB" sz="3600">
                <a:solidFill>
                  <a:srgbClr val="2A2234"/>
                </a:solidFill>
                <a:latin typeface="Proximus Light" pitchFamily="2" charset="77"/>
              </a:rPr>
              <a:t>network</a:t>
            </a:r>
            <a:endParaRPr lang="en-GB" sz="3600" b="1">
              <a:gradFill flip="none" rotWithShape="1">
                <a:gsLst>
                  <a:gs pos="0">
                    <a:srgbClr val="E70462"/>
                  </a:gs>
                  <a:gs pos="99000">
                    <a:srgbClr val="EE2E5D"/>
                  </a:gs>
                </a:gsLst>
                <a:lin ang="0" scaled="1"/>
                <a:tileRect/>
              </a:gradFill>
              <a:latin typeface="Proximus ExtraBold" pitchFamily="2" charset="77"/>
            </a:endParaRPr>
          </a:p>
        </p:txBody>
      </p:sp>
      <p:pic>
        <p:nvPicPr>
          <p:cNvPr id="17" name="Picture 16" descr="A person in a yellow jacket next to a truck&#10;&#10;Description automatically generated">
            <a:extLst>
              <a:ext uri="{FF2B5EF4-FFF2-40B4-BE49-F238E27FC236}">
                <a16:creationId xmlns:a16="http://schemas.microsoft.com/office/drawing/2014/main" id="{BC8B36C0-91E7-7B34-D492-D1F7ED8359C8}"/>
              </a:ext>
            </a:extLst>
          </p:cNvPr>
          <p:cNvPicPr>
            <a:picLocks noChangeAspect="1"/>
          </p:cNvPicPr>
          <p:nvPr/>
        </p:nvPicPr>
        <p:blipFill rotWithShape="1">
          <a:blip r:embed="rId5"/>
          <a:srcRect l="613" r="25377"/>
          <a:stretch/>
        </p:blipFill>
        <p:spPr>
          <a:xfrm>
            <a:off x="3889170" y="377826"/>
            <a:ext cx="4791280" cy="4317999"/>
          </a:xfrm>
          <a:prstGeom prst="roundRect">
            <a:avLst>
              <a:gd name="adj" fmla="val 3976"/>
            </a:avLst>
          </a:prstGeom>
        </p:spPr>
      </p:pic>
    </p:spTree>
    <p:extLst>
      <p:ext uri="{BB962C8B-B14F-4D97-AF65-F5344CB8AC3E}">
        <p14:creationId xmlns:p14="http://schemas.microsoft.com/office/powerpoint/2010/main" val="2207042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C4055F4-919A-DB59-145B-3D8F43BCC9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541F41-9DAD-A9EE-6A73-CDC13D9E73A8}"/>
              </a:ext>
            </a:extLst>
          </p:cNvPr>
          <p:cNvSpPr>
            <a:spLocks noGrp="1"/>
          </p:cNvSpPr>
          <p:nvPr>
            <p:ph type="title"/>
          </p:nvPr>
        </p:nvSpPr>
        <p:spPr>
          <a:xfrm>
            <a:off x="1226989" y="377826"/>
            <a:ext cx="7455051" cy="660092"/>
          </a:xfrm>
        </p:spPr>
        <p:txBody>
          <a:bodyPr anchor="ctr"/>
          <a:lstStyle/>
          <a:p>
            <a:r>
              <a:rPr lang="en-BE">
                <a:solidFill>
                  <a:srgbClr val="2A2234"/>
                </a:solidFill>
              </a:rPr>
              <a:t>Gigabit for all</a:t>
            </a:r>
          </a:p>
        </p:txBody>
      </p:sp>
      <p:sp>
        <p:nvSpPr>
          <p:cNvPr id="39" name="!!OVAL_network">
            <a:extLst>
              <a:ext uri="{FF2B5EF4-FFF2-40B4-BE49-F238E27FC236}">
                <a16:creationId xmlns:a16="http://schemas.microsoft.com/office/drawing/2014/main" id="{25ACBA6F-A7DE-5726-3F86-0239A459E575}"/>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5" name="Graphic 4">
            <a:extLst>
              <a:ext uri="{FF2B5EF4-FFF2-40B4-BE49-F238E27FC236}">
                <a16:creationId xmlns:a16="http://schemas.microsoft.com/office/drawing/2014/main" id="{F64FECE4-DA36-A511-9D05-33284B13B2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89" y="502486"/>
            <a:ext cx="410773" cy="410773"/>
          </a:xfrm>
          <a:prstGeom prst="rect">
            <a:avLst/>
          </a:prstGeom>
        </p:spPr>
      </p:pic>
      <p:sp>
        <p:nvSpPr>
          <p:cNvPr id="14" name="Rounded Rectangle 13">
            <a:extLst>
              <a:ext uri="{FF2B5EF4-FFF2-40B4-BE49-F238E27FC236}">
                <a16:creationId xmlns:a16="http://schemas.microsoft.com/office/drawing/2014/main" id="{5C77B9CD-DF05-6A33-0B0E-9E1D1B20A648}"/>
              </a:ext>
            </a:extLst>
          </p:cNvPr>
          <p:cNvSpPr/>
          <p:nvPr/>
        </p:nvSpPr>
        <p:spPr>
          <a:xfrm>
            <a:off x="3337224" y="1277600"/>
            <a:ext cx="2466000" cy="3410682"/>
          </a:xfrm>
          <a:prstGeom prst="roundRect">
            <a:avLst>
              <a:gd name="adj" fmla="val 7725"/>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rgbClr val="2A2234"/>
              </a:solidFill>
              <a:latin typeface="Proximus Bold" panose="00000500000000000000" pitchFamily="2" charset="0"/>
              <a:cs typeface="Proximus Bold"/>
            </a:endParaRPr>
          </a:p>
        </p:txBody>
      </p:sp>
      <p:sp>
        <p:nvSpPr>
          <p:cNvPr id="16" name="Rounded Rectangle 15">
            <a:extLst>
              <a:ext uri="{FF2B5EF4-FFF2-40B4-BE49-F238E27FC236}">
                <a16:creationId xmlns:a16="http://schemas.microsoft.com/office/drawing/2014/main" id="{32B3C2F4-1768-91D2-0B2E-831D615F9513}"/>
              </a:ext>
            </a:extLst>
          </p:cNvPr>
          <p:cNvSpPr/>
          <p:nvPr/>
        </p:nvSpPr>
        <p:spPr>
          <a:xfrm>
            <a:off x="6216380" y="1277599"/>
            <a:ext cx="2466000" cy="3410682"/>
          </a:xfrm>
          <a:prstGeom prst="roundRect">
            <a:avLst>
              <a:gd name="adj" fmla="val 7725"/>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7" name="Rounded Rectangle 16">
            <a:extLst>
              <a:ext uri="{FF2B5EF4-FFF2-40B4-BE49-F238E27FC236}">
                <a16:creationId xmlns:a16="http://schemas.microsoft.com/office/drawing/2014/main" id="{158FA7F7-FB08-8B65-D079-74B29D27EA0D}"/>
              </a:ext>
            </a:extLst>
          </p:cNvPr>
          <p:cNvSpPr/>
          <p:nvPr/>
        </p:nvSpPr>
        <p:spPr>
          <a:xfrm>
            <a:off x="460374" y="1277600"/>
            <a:ext cx="2466000" cy="3410682"/>
          </a:xfrm>
          <a:prstGeom prst="roundRect">
            <a:avLst>
              <a:gd name="adj" fmla="val 7725"/>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pic>
        <p:nvPicPr>
          <p:cNvPr id="18" name="Picture 17">
            <a:extLst>
              <a:ext uri="{FF2B5EF4-FFF2-40B4-BE49-F238E27FC236}">
                <a16:creationId xmlns:a16="http://schemas.microsoft.com/office/drawing/2014/main" id="{F440D604-079A-CBDE-44FC-10F56CED5473}"/>
              </a:ext>
            </a:extLst>
          </p:cNvPr>
          <p:cNvPicPr>
            <a:picLocks/>
          </p:cNvPicPr>
          <p:nvPr/>
        </p:nvPicPr>
        <p:blipFill rotWithShape="1">
          <a:blip r:embed="rId5" cstate="screen">
            <a:extLst>
              <a:ext uri="{28A0092B-C50C-407E-A947-70E740481C1C}">
                <a14:useLocalDpi xmlns:a14="http://schemas.microsoft.com/office/drawing/2010/main"/>
              </a:ext>
            </a:extLst>
          </a:blip>
          <a:srcRect l="17406" r="17406"/>
          <a:stretch/>
        </p:blipFill>
        <p:spPr>
          <a:xfrm>
            <a:off x="462032" y="1277599"/>
            <a:ext cx="2464342" cy="2122825"/>
          </a:xfrm>
          <a:prstGeom prst="round2SameRect">
            <a:avLst>
              <a:gd name="adj1" fmla="val 4449"/>
              <a:gd name="adj2" fmla="val 0"/>
            </a:avLst>
          </a:prstGeom>
          <a:ln>
            <a:noFill/>
          </a:ln>
          <a:effectLst/>
        </p:spPr>
      </p:pic>
      <p:pic>
        <p:nvPicPr>
          <p:cNvPr id="19" name="Picture 18" descr="See the source image">
            <a:extLst>
              <a:ext uri="{FF2B5EF4-FFF2-40B4-BE49-F238E27FC236}">
                <a16:creationId xmlns:a16="http://schemas.microsoft.com/office/drawing/2014/main" id="{F28304B4-C530-61F8-09C9-E225AD46FC99}"/>
              </a:ext>
            </a:extLst>
          </p:cNvPr>
          <p:cNvPicPr>
            <a:picLocks noChangeArrowheads="1"/>
          </p:cNvPicPr>
          <p:nvPr/>
        </p:nvPicPr>
        <p:blipFill rotWithShape="1">
          <a:blip r:embed="rId6">
            <a:extLst>
              <a:ext uri="{28A0092B-C50C-407E-A947-70E740481C1C}">
                <a14:useLocalDpi xmlns:a14="http://schemas.microsoft.com/office/drawing/2010/main" val="0"/>
              </a:ext>
            </a:extLst>
          </a:blip>
          <a:srcRect l="11304" r="11304"/>
          <a:stretch/>
        </p:blipFill>
        <p:spPr bwMode="auto">
          <a:xfrm>
            <a:off x="3338053" y="1277599"/>
            <a:ext cx="2464342" cy="2122825"/>
          </a:xfrm>
          <a:prstGeom prst="round2SameRect">
            <a:avLst>
              <a:gd name="adj1" fmla="val 4223"/>
              <a:gd name="adj2" fmla="val 0"/>
            </a:avLst>
          </a:prstGeom>
          <a:noFill/>
          <a:ln>
            <a:noFill/>
          </a:ln>
          <a:effectLst/>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3E24C640-B910-B972-A2AD-2FEA502B6091}"/>
              </a:ext>
            </a:extLst>
          </p:cNvPr>
          <p:cNvPicPr>
            <a:picLocks noChangeArrowheads="1"/>
          </p:cNvPicPr>
          <p:nvPr/>
        </p:nvPicPr>
        <p:blipFill rotWithShape="1">
          <a:blip r:embed="rId7"/>
          <a:srcRect l="17341" r="17341"/>
          <a:stretch/>
        </p:blipFill>
        <p:spPr bwMode="auto">
          <a:xfrm>
            <a:off x="6218038" y="1277599"/>
            <a:ext cx="2464342" cy="2122825"/>
          </a:xfrm>
          <a:prstGeom prst="round2SameRect">
            <a:avLst>
              <a:gd name="adj1" fmla="val 4902"/>
              <a:gd name="adj2" fmla="val 0"/>
            </a:avLst>
          </a:prstGeom>
          <a:noFill/>
          <a:ln>
            <a:noFill/>
          </a:ln>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7A620DCF-7866-80D8-703D-16B601FF324E}"/>
              </a:ext>
            </a:extLst>
          </p:cNvPr>
          <p:cNvSpPr txBox="1"/>
          <p:nvPr/>
        </p:nvSpPr>
        <p:spPr>
          <a:xfrm>
            <a:off x="3338053" y="2968969"/>
            <a:ext cx="2464342" cy="431456"/>
          </a:xfrm>
          <a:prstGeom prst="rect">
            <a:avLst/>
          </a:prstGeom>
          <a:gradFill flip="none" rotWithShape="1">
            <a:gsLst>
              <a:gs pos="0">
                <a:schemeClr val="bg1"/>
              </a:gs>
              <a:gs pos="99000">
                <a:srgbClr val="41C3FF"/>
              </a:gs>
            </a:gsLst>
            <a:lin ang="0" scaled="1"/>
            <a:tileRect/>
          </a:gradFill>
        </p:spPr>
        <p:txBody>
          <a:bodyPr vert="horz" wrap="none" lIns="108000" tIns="36000" rIns="108000" bIns="36000" numCol="1" spcCol="0" rtlCol="0" anchor="ctr" anchorCtr="1">
            <a:noAutofit/>
          </a:bodyPr>
          <a:lstStyle>
            <a:defPPr>
              <a:defRPr lang="en-US"/>
            </a:defPPr>
            <a:lvl1pPr defTabSz="408094">
              <a:defRPr sz="1800" b="1">
                <a:solidFill>
                  <a:schemeClr val="bg1"/>
                </a:solidFill>
                <a:latin typeface="Proximus Bold"/>
              </a:defRPr>
            </a:lvl1pPr>
          </a:lstStyle>
          <a:p>
            <a:pPr algn="ctr" defTabSz="408084"/>
            <a:r>
              <a:rPr lang="en-GB" sz="1400">
                <a:solidFill>
                  <a:prstClr val="white"/>
                </a:solidFill>
                <a:latin typeface="Proximus ExtraBold" pitchFamily="2" charset="77"/>
              </a:rPr>
              <a:t>Mid-dense areas</a:t>
            </a:r>
            <a:endParaRPr lang="en-US" sz="1100">
              <a:latin typeface="Proximus ExtraBold" pitchFamily="2" charset="77"/>
            </a:endParaRPr>
          </a:p>
        </p:txBody>
      </p:sp>
      <p:sp>
        <p:nvSpPr>
          <p:cNvPr id="23" name="TextBox 22">
            <a:extLst>
              <a:ext uri="{FF2B5EF4-FFF2-40B4-BE49-F238E27FC236}">
                <a16:creationId xmlns:a16="http://schemas.microsoft.com/office/drawing/2014/main" id="{EED0D369-E7A6-2968-C181-0D4C9BBF454B}"/>
              </a:ext>
            </a:extLst>
          </p:cNvPr>
          <p:cNvSpPr txBox="1"/>
          <p:nvPr/>
        </p:nvSpPr>
        <p:spPr>
          <a:xfrm>
            <a:off x="462032" y="2966224"/>
            <a:ext cx="2464342" cy="434201"/>
          </a:xfrm>
          <a:prstGeom prst="rect">
            <a:avLst/>
          </a:prstGeom>
          <a:gradFill flip="none" rotWithShape="1">
            <a:gsLst>
              <a:gs pos="0">
                <a:schemeClr val="bg1"/>
              </a:gs>
              <a:gs pos="99000">
                <a:srgbClr val="41C3FF"/>
              </a:gs>
            </a:gsLst>
            <a:lin ang="0" scaled="1"/>
            <a:tileRect/>
          </a:gradFill>
        </p:spPr>
        <p:txBody>
          <a:bodyPr vert="horz" wrap="none" lIns="108000" tIns="36000" rIns="108000" bIns="36000" numCol="1" spcCol="0" rtlCol="0" anchor="ctr" anchorCtr="1">
            <a:noAutofit/>
          </a:bodyPr>
          <a:lstStyle/>
          <a:p>
            <a:pPr algn="ctr" defTabSz="408084"/>
            <a:r>
              <a:rPr lang="en-GB" sz="1400" b="1">
                <a:solidFill>
                  <a:prstClr val="white"/>
                </a:solidFill>
                <a:latin typeface="Proximus ExtraBold" pitchFamily="2" charset="77"/>
              </a:rPr>
              <a:t>Dense areas</a:t>
            </a:r>
            <a:endParaRPr lang="en-US" sz="1100" b="1">
              <a:solidFill>
                <a:prstClr val="white"/>
              </a:solidFill>
              <a:latin typeface="Proximus ExtraBold" pitchFamily="2" charset="77"/>
            </a:endParaRPr>
          </a:p>
        </p:txBody>
      </p:sp>
      <p:sp>
        <p:nvSpPr>
          <p:cNvPr id="24" name="TextBox 23">
            <a:extLst>
              <a:ext uri="{FF2B5EF4-FFF2-40B4-BE49-F238E27FC236}">
                <a16:creationId xmlns:a16="http://schemas.microsoft.com/office/drawing/2014/main" id="{014C0941-1134-C887-D138-2BE79DDDF834}"/>
              </a:ext>
            </a:extLst>
          </p:cNvPr>
          <p:cNvSpPr txBox="1"/>
          <p:nvPr/>
        </p:nvSpPr>
        <p:spPr>
          <a:xfrm>
            <a:off x="6218038" y="2966224"/>
            <a:ext cx="2464342" cy="434201"/>
          </a:xfrm>
          <a:prstGeom prst="rect">
            <a:avLst/>
          </a:prstGeom>
          <a:gradFill flip="none" rotWithShape="1">
            <a:gsLst>
              <a:gs pos="0">
                <a:schemeClr val="bg1"/>
              </a:gs>
              <a:gs pos="99000">
                <a:srgbClr val="41C3FF"/>
              </a:gs>
            </a:gsLst>
            <a:lin ang="0" scaled="1"/>
            <a:tileRect/>
          </a:gradFill>
        </p:spPr>
        <p:txBody>
          <a:bodyPr vert="horz" wrap="none" lIns="108000" tIns="36000" rIns="108000" bIns="36000" numCol="1" spcCol="0" rtlCol="0" anchor="ctr" anchorCtr="1">
            <a:noAutofit/>
          </a:bodyPr>
          <a:lstStyle>
            <a:defPPr>
              <a:defRPr lang="en-US"/>
            </a:defPPr>
            <a:lvl1pPr defTabSz="408094">
              <a:defRPr sz="1800" b="1">
                <a:solidFill>
                  <a:schemeClr val="bg1"/>
                </a:solidFill>
                <a:latin typeface="Proximus Bold"/>
              </a:defRPr>
            </a:lvl1pPr>
          </a:lstStyle>
          <a:p>
            <a:pPr algn="ctr" defTabSz="408084"/>
            <a:r>
              <a:rPr lang="en-GB" sz="1400">
                <a:solidFill>
                  <a:prstClr val="white"/>
                </a:solidFill>
                <a:latin typeface="Proximus ExtraBold" pitchFamily="2" charset="77"/>
              </a:rPr>
              <a:t>Rural areas</a:t>
            </a:r>
            <a:endParaRPr lang="en-US" sz="1100">
              <a:latin typeface="Proximus ExtraBold" pitchFamily="2" charset="77"/>
            </a:endParaRPr>
          </a:p>
        </p:txBody>
      </p:sp>
      <p:sp>
        <p:nvSpPr>
          <p:cNvPr id="26" name="TextBox 25">
            <a:extLst>
              <a:ext uri="{FF2B5EF4-FFF2-40B4-BE49-F238E27FC236}">
                <a16:creationId xmlns:a16="http://schemas.microsoft.com/office/drawing/2014/main" id="{E78346BC-57B1-9D90-9643-169F17966AEE}"/>
              </a:ext>
            </a:extLst>
          </p:cNvPr>
          <p:cNvSpPr txBox="1"/>
          <p:nvPr/>
        </p:nvSpPr>
        <p:spPr>
          <a:xfrm>
            <a:off x="6210612" y="3421279"/>
            <a:ext cx="2460231" cy="320430"/>
          </a:xfrm>
          <a:prstGeom prst="rect">
            <a:avLst/>
          </a:prstGeom>
        </p:spPr>
        <p:txBody>
          <a:bodyPr vert="horz" wrap="square" lIns="0" tIns="0" rIns="0" bIns="0" numCol="1" spcCol="0" rtlCol="0" anchor="ctr" anchorCtr="0">
            <a:noAutofit/>
          </a:bodyPr>
          <a:lstStyle/>
          <a:p>
            <a:pPr algn="ctr"/>
            <a:r>
              <a:rPr lang="en-US" sz="1100">
                <a:solidFill>
                  <a:srgbClr val="2A2234"/>
                </a:solidFill>
              </a:rPr>
              <a:t>Fiber P2P + Coax</a:t>
            </a:r>
            <a:endParaRPr lang="en-GB" sz="1100">
              <a:solidFill>
                <a:srgbClr val="2A2234"/>
              </a:solidFill>
            </a:endParaRPr>
          </a:p>
        </p:txBody>
      </p:sp>
      <p:sp>
        <p:nvSpPr>
          <p:cNvPr id="27" name="TextBox 26">
            <a:extLst>
              <a:ext uri="{FF2B5EF4-FFF2-40B4-BE49-F238E27FC236}">
                <a16:creationId xmlns:a16="http://schemas.microsoft.com/office/drawing/2014/main" id="{923EB3AB-0C97-CC4E-5853-FD0C3E4A250B}"/>
              </a:ext>
            </a:extLst>
          </p:cNvPr>
          <p:cNvSpPr txBox="1"/>
          <p:nvPr/>
        </p:nvSpPr>
        <p:spPr>
          <a:xfrm>
            <a:off x="6210612" y="4340355"/>
            <a:ext cx="2467293" cy="320430"/>
          </a:xfrm>
          <a:prstGeom prst="rect">
            <a:avLst/>
          </a:prstGeom>
        </p:spPr>
        <p:txBody>
          <a:bodyPr vert="horz" wrap="square" lIns="0" tIns="0" rIns="0" bIns="0" numCol="1" spcCol="0" rtlCol="0" anchor="ctr" anchorCtr="0">
            <a:noAutofit/>
          </a:bodyPr>
          <a:lstStyle/>
          <a:p>
            <a:pPr algn="ctr"/>
            <a:r>
              <a:rPr lang="en-US" sz="1100">
                <a:solidFill>
                  <a:srgbClr val="2A2234"/>
                </a:solidFill>
              </a:rPr>
              <a:t>Coax + Subsidized roll out</a:t>
            </a:r>
            <a:endParaRPr lang="en-GB" sz="1100">
              <a:solidFill>
                <a:srgbClr val="2A2234"/>
              </a:solidFill>
            </a:endParaRPr>
          </a:p>
        </p:txBody>
      </p:sp>
      <p:sp>
        <p:nvSpPr>
          <p:cNvPr id="28" name="TextBox 27">
            <a:extLst>
              <a:ext uri="{FF2B5EF4-FFF2-40B4-BE49-F238E27FC236}">
                <a16:creationId xmlns:a16="http://schemas.microsoft.com/office/drawing/2014/main" id="{7B07A597-8F18-0375-681C-93C3D212DD4A}"/>
              </a:ext>
            </a:extLst>
          </p:cNvPr>
          <p:cNvSpPr txBox="1"/>
          <p:nvPr/>
        </p:nvSpPr>
        <p:spPr>
          <a:xfrm>
            <a:off x="460375" y="3425692"/>
            <a:ext cx="2460231" cy="320430"/>
          </a:xfrm>
          <a:prstGeom prst="rect">
            <a:avLst/>
          </a:prstGeom>
        </p:spPr>
        <p:txBody>
          <a:bodyPr vert="horz" wrap="square" lIns="0" tIns="0" rIns="0" bIns="0" numCol="1" spcCol="0" rtlCol="0" anchor="ctr" anchorCtr="0">
            <a:noAutofit/>
          </a:bodyPr>
          <a:lstStyle/>
          <a:p>
            <a:pPr algn="ctr"/>
            <a:r>
              <a:rPr lang="en-US" sz="1100">
                <a:solidFill>
                  <a:srgbClr val="2A2234"/>
                </a:solidFill>
              </a:rPr>
              <a:t>Fiber P2MP</a:t>
            </a:r>
            <a:endParaRPr lang="en-GB" sz="1100">
              <a:solidFill>
                <a:srgbClr val="2A2234"/>
              </a:solidFill>
            </a:endParaRPr>
          </a:p>
        </p:txBody>
      </p:sp>
      <p:cxnSp>
        <p:nvCxnSpPr>
          <p:cNvPr id="29" name="Straight Connector 28">
            <a:extLst>
              <a:ext uri="{FF2B5EF4-FFF2-40B4-BE49-F238E27FC236}">
                <a16:creationId xmlns:a16="http://schemas.microsoft.com/office/drawing/2014/main" id="{13D99A1F-7EE4-0562-046B-4C31285CEAE8}"/>
              </a:ext>
            </a:extLst>
          </p:cNvPr>
          <p:cNvCxnSpPr>
            <a:cxnSpLocks/>
          </p:cNvCxnSpPr>
          <p:nvPr/>
        </p:nvCxnSpPr>
        <p:spPr>
          <a:xfrm>
            <a:off x="460374" y="3769178"/>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53E9D67-12F2-8A5F-E690-AAE92DAF4D90}"/>
              </a:ext>
            </a:extLst>
          </p:cNvPr>
          <p:cNvSpPr txBox="1"/>
          <p:nvPr/>
        </p:nvSpPr>
        <p:spPr>
          <a:xfrm>
            <a:off x="460373" y="4340355"/>
            <a:ext cx="2467293" cy="320430"/>
          </a:xfrm>
          <a:prstGeom prst="rect">
            <a:avLst/>
          </a:prstGeom>
        </p:spPr>
        <p:txBody>
          <a:bodyPr vert="horz" wrap="square" lIns="0" tIns="0" rIns="0" bIns="0" numCol="1" spcCol="0" rtlCol="0" anchor="ctr" anchorCtr="0">
            <a:noAutofit/>
          </a:bodyPr>
          <a:lstStyle/>
          <a:p>
            <a:pPr algn="ctr"/>
            <a:r>
              <a:rPr lang="en-US" sz="1100">
                <a:solidFill>
                  <a:srgbClr val="2A2234"/>
                </a:solidFill>
              </a:rPr>
              <a:t>Standalone build</a:t>
            </a:r>
            <a:endParaRPr lang="en-GB" sz="1100">
              <a:solidFill>
                <a:srgbClr val="2A2234"/>
              </a:solidFill>
            </a:endParaRPr>
          </a:p>
        </p:txBody>
      </p:sp>
      <p:sp>
        <p:nvSpPr>
          <p:cNvPr id="31" name="TextBox 30">
            <a:extLst>
              <a:ext uri="{FF2B5EF4-FFF2-40B4-BE49-F238E27FC236}">
                <a16:creationId xmlns:a16="http://schemas.microsoft.com/office/drawing/2014/main" id="{BB4CAC45-BFCA-82B6-8E1C-AE99ED96E31E}"/>
              </a:ext>
            </a:extLst>
          </p:cNvPr>
          <p:cNvSpPr txBox="1"/>
          <p:nvPr/>
        </p:nvSpPr>
        <p:spPr>
          <a:xfrm>
            <a:off x="3341884" y="3425692"/>
            <a:ext cx="2460231" cy="320430"/>
          </a:xfrm>
          <a:prstGeom prst="rect">
            <a:avLst/>
          </a:prstGeom>
        </p:spPr>
        <p:txBody>
          <a:bodyPr vert="horz" wrap="square" lIns="0" tIns="0" rIns="0" bIns="0" numCol="1" spcCol="0" rtlCol="0" anchor="ctr" anchorCtr="0">
            <a:noAutofit/>
          </a:bodyPr>
          <a:lstStyle/>
          <a:p>
            <a:pPr algn="ctr"/>
            <a:r>
              <a:rPr lang="en-US" sz="1100">
                <a:solidFill>
                  <a:srgbClr val="2A2234"/>
                </a:solidFill>
              </a:rPr>
              <a:t>Fiber P2P</a:t>
            </a:r>
            <a:endParaRPr lang="en-GB" sz="1100">
              <a:solidFill>
                <a:srgbClr val="2A2234"/>
              </a:solidFill>
            </a:endParaRPr>
          </a:p>
        </p:txBody>
      </p:sp>
      <p:sp>
        <p:nvSpPr>
          <p:cNvPr id="32" name="TextBox 31">
            <a:extLst>
              <a:ext uri="{FF2B5EF4-FFF2-40B4-BE49-F238E27FC236}">
                <a16:creationId xmlns:a16="http://schemas.microsoft.com/office/drawing/2014/main" id="{AA01315C-5849-7018-BDBA-3EB11ECCBF05}"/>
              </a:ext>
            </a:extLst>
          </p:cNvPr>
          <p:cNvSpPr txBox="1"/>
          <p:nvPr/>
        </p:nvSpPr>
        <p:spPr>
          <a:xfrm>
            <a:off x="3371600" y="4340355"/>
            <a:ext cx="2467293" cy="320430"/>
          </a:xfrm>
          <a:prstGeom prst="rect">
            <a:avLst/>
          </a:prstGeom>
        </p:spPr>
        <p:txBody>
          <a:bodyPr vert="horz" wrap="square" lIns="0" tIns="0" rIns="0" bIns="0" numCol="1" spcCol="0" rtlCol="0" anchor="ctr" anchorCtr="0">
            <a:noAutofit/>
          </a:bodyPr>
          <a:lstStyle/>
          <a:p>
            <a:pPr algn="ctr"/>
            <a:r>
              <a:rPr lang="en-US" sz="1100">
                <a:solidFill>
                  <a:srgbClr val="2A2234"/>
                </a:solidFill>
              </a:rPr>
              <a:t>Collaboration</a:t>
            </a:r>
            <a:endParaRPr lang="en-GB" sz="1100">
              <a:solidFill>
                <a:srgbClr val="2A2234"/>
              </a:solidFill>
            </a:endParaRPr>
          </a:p>
        </p:txBody>
      </p:sp>
      <p:pic>
        <p:nvPicPr>
          <p:cNvPr id="33" name="Picture 5" descr="Wij maken Vlaanderen klaar voor internet via fiber">
            <a:extLst>
              <a:ext uri="{FF2B5EF4-FFF2-40B4-BE49-F238E27FC236}">
                <a16:creationId xmlns:a16="http://schemas.microsoft.com/office/drawing/2014/main" id="{C77523B2-7940-A180-E3BB-E97F6F032ED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81629" y="3876050"/>
            <a:ext cx="789233" cy="22098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38998214-00EE-60FD-D54F-1E63B292CA7A}"/>
              </a:ext>
            </a:extLst>
          </p:cNvPr>
          <p:cNvPicPr>
            <a:picLocks noChangeAspect="1"/>
          </p:cNvPicPr>
          <p:nvPr/>
        </p:nvPicPr>
        <p:blipFill rotWithShape="1">
          <a:blip r:embed="rId9">
            <a:clrChange>
              <a:clrFrom>
                <a:srgbClr val="FFFFFF"/>
              </a:clrFrom>
              <a:clrTo>
                <a:srgbClr val="FFFFFF">
                  <a:alpha val="0"/>
                </a:srgbClr>
              </a:clrTo>
            </a:clrChange>
          </a:blip>
          <a:srcRect t="24343" b="26293"/>
          <a:stretch/>
        </p:blipFill>
        <p:spPr>
          <a:xfrm>
            <a:off x="4784247" y="3774324"/>
            <a:ext cx="739626" cy="365106"/>
          </a:xfrm>
          <a:prstGeom prst="rect">
            <a:avLst/>
          </a:prstGeom>
        </p:spPr>
      </p:pic>
      <p:grpSp>
        <p:nvGrpSpPr>
          <p:cNvPr id="35" name="Group 34">
            <a:extLst>
              <a:ext uri="{FF2B5EF4-FFF2-40B4-BE49-F238E27FC236}">
                <a16:creationId xmlns:a16="http://schemas.microsoft.com/office/drawing/2014/main" id="{F92E4F67-6356-794D-DD75-8F0D9C442064}"/>
              </a:ext>
            </a:extLst>
          </p:cNvPr>
          <p:cNvGrpSpPr/>
          <p:nvPr/>
        </p:nvGrpSpPr>
        <p:grpSpPr>
          <a:xfrm>
            <a:off x="3867052" y="4186913"/>
            <a:ext cx="361618" cy="103338"/>
            <a:chOff x="6399138" y="1794304"/>
            <a:chExt cx="1373876" cy="530467"/>
          </a:xfrm>
        </p:grpSpPr>
        <p:sp>
          <p:nvSpPr>
            <p:cNvPr id="36" name="Freeform: Shape 40">
              <a:extLst>
                <a:ext uri="{FF2B5EF4-FFF2-40B4-BE49-F238E27FC236}">
                  <a16:creationId xmlns:a16="http://schemas.microsoft.com/office/drawing/2014/main" id="{E16552C1-1472-FCFD-3849-CDAFBF35067B}"/>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endParaRPr lang="en-GB" sz="1800"/>
            </a:p>
          </p:txBody>
        </p:sp>
        <p:sp>
          <p:nvSpPr>
            <p:cNvPr id="37" name="Freeform: Shape 41">
              <a:extLst>
                <a:ext uri="{FF2B5EF4-FFF2-40B4-BE49-F238E27FC236}">
                  <a16:creationId xmlns:a16="http://schemas.microsoft.com/office/drawing/2014/main" id="{21479A33-CAB1-763A-4793-E9C2AE38D0FE}"/>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endParaRPr lang="en-GB" sz="1800"/>
            </a:p>
          </p:txBody>
        </p:sp>
        <p:sp>
          <p:nvSpPr>
            <p:cNvPr id="44" name="Freeform: Shape 42">
              <a:extLst>
                <a:ext uri="{FF2B5EF4-FFF2-40B4-BE49-F238E27FC236}">
                  <a16:creationId xmlns:a16="http://schemas.microsoft.com/office/drawing/2014/main" id="{02BA16D0-66A0-E626-DDC2-E141BF52FC73}"/>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endParaRPr lang="en-GB" sz="1800"/>
            </a:p>
          </p:txBody>
        </p:sp>
        <p:sp>
          <p:nvSpPr>
            <p:cNvPr id="45" name="Freeform: Shape 43">
              <a:extLst>
                <a:ext uri="{FF2B5EF4-FFF2-40B4-BE49-F238E27FC236}">
                  <a16:creationId xmlns:a16="http://schemas.microsoft.com/office/drawing/2014/main" id="{476D78E8-1FBB-CB89-ED75-99156E585A75}"/>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endParaRPr lang="en-GB" sz="1800"/>
            </a:p>
          </p:txBody>
        </p:sp>
      </p:grpSp>
      <p:sp>
        <p:nvSpPr>
          <p:cNvPr id="46" name="TextBox 45">
            <a:extLst>
              <a:ext uri="{FF2B5EF4-FFF2-40B4-BE49-F238E27FC236}">
                <a16:creationId xmlns:a16="http://schemas.microsoft.com/office/drawing/2014/main" id="{8C11A780-61FE-F858-3BED-30B7763FD773}"/>
              </a:ext>
            </a:extLst>
          </p:cNvPr>
          <p:cNvSpPr txBox="1"/>
          <p:nvPr/>
        </p:nvSpPr>
        <p:spPr>
          <a:xfrm>
            <a:off x="3632587" y="4124682"/>
            <a:ext cx="293639" cy="162287"/>
          </a:xfrm>
          <a:prstGeom prst="rect">
            <a:avLst/>
          </a:prstGeom>
        </p:spPr>
        <p:txBody>
          <a:bodyPr vert="horz" wrap="square" lIns="0" tIns="0" rIns="0" bIns="0" numCol="1" spcCol="0" rtlCol="0" anchor="ctr" anchorCtr="0">
            <a:noAutofit/>
          </a:bodyPr>
          <a:lstStyle/>
          <a:p>
            <a:pPr algn="ctr"/>
            <a:r>
              <a:rPr lang="en-US" sz="900">
                <a:solidFill>
                  <a:schemeClr val="bg1"/>
                </a:solidFill>
              </a:rPr>
              <a:t>+</a:t>
            </a:r>
            <a:endParaRPr lang="en-GB" sz="900">
              <a:solidFill>
                <a:schemeClr val="bg1"/>
              </a:solidFill>
            </a:endParaRPr>
          </a:p>
        </p:txBody>
      </p:sp>
      <p:sp>
        <p:nvSpPr>
          <p:cNvPr id="47" name="TextBox 46">
            <a:extLst>
              <a:ext uri="{FF2B5EF4-FFF2-40B4-BE49-F238E27FC236}">
                <a16:creationId xmlns:a16="http://schemas.microsoft.com/office/drawing/2014/main" id="{52B8E82D-AEE6-DD52-ECBC-6BE48A4697CD}"/>
              </a:ext>
            </a:extLst>
          </p:cNvPr>
          <p:cNvSpPr txBox="1"/>
          <p:nvPr/>
        </p:nvSpPr>
        <p:spPr>
          <a:xfrm>
            <a:off x="4667172" y="4106427"/>
            <a:ext cx="997176" cy="220984"/>
          </a:xfrm>
          <a:prstGeom prst="rect">
            <a:avLst/>
          </a:prstGeom>
        </p:spPr>
        <p:txBody>
          <a:bodyPr vert="horz" wrap="square" lIns="0" tIns="0" rIns="0" bIns="0" numCol="1" spcCol="0" rtlCol="0" anchor="ctr" anchorCtr="0">
            <a:noAutofit/>
          </a:bodyPr>
          <a:lstStyle/>
          <a:p>
            <a:pPr algn="ctr"/>
            <a:r>
              <a:rPr lang="en-US" sz="900">
                <a:solidFill>
                  <a:srgbClr val="2A2234"/>
                </a:solidFill>
              </a:rPr>
              <a:t>+ in the South</a:t>
            </a:r>
            <a:endParaRPr lang="en-GB" sz="900">
              <a:solidFill>
                <a:srgbClr val="2A2234"/>
              </a:solidFill>
            </a:endParaRPr>
          </a:p>
        </p:txBody>
      </p:sp>
      <p:grpSp>
        <p:nvGrpSpPr>
          <p:cNvPr id="48" name="Group 47">
            <a:extLst>
              <a:ext uri="{FF2B5EF4-FFF2-40B4-BE49-F238E27FC236}">
                <a16:creationId xmlns:a16="http://schemas.microsoft.com/office/drawing/2014/main" id="{C0F5C345-E07E-3361-412F-DA1194612BB2}"/>
              </a:ext>
            </a:extLst>
          </p:cNvPr>
          <p:cNvGrpSpPr/>
          <p:nvPr/>
        </p:nvGrpSpPr>
        <p:grpSpPr>
          <a:xfrm>
            <a:off x="6679514" y="3901608"/>
            <a:ext cx="313196" cy="278957"/>
            <a:chOff x="3700462" y="1685925"/>
            <a:chExt cx="1743074" cy="1771649"/>
          </a:xfrm>
        </p:grpSpPr>
        <p:sp>
          <p:nvSpPr>
            <p:cNvPr id="49" name="Freeform: Shape 54">
              <a:extLst>
                <a:ext uri="{FF2B5EF4-FFF2-40B4-BE49-F238E27FC236}">
                  <a16:creationId xmlns:a16="http://schemas.microsoft.com/office/drawing/2014/main" id="{7E99052F-C5A1-788F-8961-0707E28EF919}"/>
                </a:ext>
              </a:extLst>
            </p:cNvPr>
            <p:cNvSpPr/>
            <p:nvPr/>
          </p:nvSpPr>
          <p:spPr>
            <a:xfrm>
              <a:off x="4116609" y="3047361"/>
              <a:ext cx="1260138" cy="172964"/>
            </a:xfrm>
            <a:custGeom>
              <a:avLst/>
              <a:gdLst>
                <a:gd name="connsiteX0" fmla="*/ 3400 w 1260138"/>
                <a:gd name="connsiteY0" fmla="*/ 86411 h 172964"/>
                <a:gd name="connsiteX1" fmla="*/ 80858 w 1260138"/>
                <a:gd name="connsiteY1" fmla="*/ 152 h 172964"/>
                <a:gd name="connsiteX2" fmla="*/ 120996 w 1260138"/>
                <a:gd name="connsiteY2" fmla="*/ 12621 h 172964"/>
                <a:gd name="connsiteX3" fmla="*/ 127064 w 1260138"/>
                <a:gd name="connsiteY3" fmla="*/ 23603 h 172964"/>
                <a:gd name="connsiteX4" fmla="*/ 108699 w 1260138"/>
                <a:gd name="connsiteY4" fmla="*/ 42167 h 172964"/>
                <a:gd name="connsiteX5" fmla="*/ 101146 w 1260138"/>
                <a:gd name="connsiteY5" fmla="*/ 39643 h 172964"/>
                <a:gd name="connsiteX6" fmla="*/ 75971 w 1260138"/>
                <a:gd name="connsiteY6" fmla="*/ 30290 h 172964"/>
                <a:gd name="connsiteX7" fmla="*/ 36433 w 1260138"/>
                <a:gd name="connsiteY7" fmla="*/ 86106 h 172964"/>
                <a:gd name="connsiteX8" fmla="*/ 32728 w 1260138"/>
                <a:gd name="connsiteY8" fmla="*/ 117138 h 172964"/>
                <a:gd name="connsiteX9" fmla="*/ 58350 w 1260138"/>
                <a:gd name="connsiteY9" fmla="*/ 141932 h 172964"/>
                <a:gd name="connsiteX10" fmla="*/ 92850 w 1260138"/>
                <a:gd name="connsiteY10" fmla="*/ 112538 h 172964"/>
                <a:gd name="connsiteX11" fmla="*/ 94336 w 1260138"/>
                <a:gd name="connsiteY11" fmla="*/ 103184 h 172964"/>
                <a:gd name="connsiteX12" fmla="*/ 92554 w 1260138"/>
                <a:gd name="connsiteY12" fmla="*/ 100955 h 172964"/>
                <a:gd name="connsiteX13" fmla="*/ 78343 w 1260138"/>
                <a:gd name="connsiteY13" fmla="*/ 100955 h 172964"/>
                <a:gd name="connsiteX14" fmla="*/ 65456 w 1260138"/>
                <a:gd name="connsiteY14" fmla="*/ 87449 h 172964"/>
                <a:gd name="connsiteX15" fmla="*/ 82487 w 1260138"/>
                <a:gd name="connsiteY15" fmla="*/ 70371 h 172964"/>
                <a:gd name="connsiteX16" fmla="*/ 117881 w 1260138"/>
                <a:gd name="connsiteY16" fmla="*/ 70371 h 172964"/>
                <a:gd name="connsiteX17" fmla="*/ 128692 w 1260138"/>
                <a:gd name="connsiteY17" fmla="*/ 83287 h 172964"/>
                <a:gd name="connsiteX18" fmla="*/ 124101 w 1260138"/>
                <a:gd name="connsiteY18" fmla="*/ 112681 h 172964"/>
                <a:gd name="connsiteX19" fmla="*/ 53464 w 1260138"/>
                <a:gd name="connsiteY19" fmla="*/ 172222 h 172964"/>
                <a:gd name="connsiteX20" fmla="*/ 0 w 1260138"/>
                <a:gd name="connsiteY20" fmla="*/ 122034 h 172964"/>
                <a:gd name="connsiteX21" fmla="*/ 3410 w 1260138"/>
                <a:gd name="connsiteY21" fmla="*/ 86106 h 172964"/>
                <a:gd name="connsiteX22" fmla="*/ 3410 w 1260138"/>
                <a:gd name="connsiteY22" fmla="*/ 86411 h 172964"/>
                <a:gd name="connsiteX23" fmla="*/ 156391 w 1260138"/>
                <a:gd name="connsiteY23" fmla="*/ 171631 h 172964"/>
                <a:gd name="connsiteX24" fmla="*/ 144685 w 1260138"/>
                <a:gd name="connsiteY24" fmla="*/ 157229 h 172964"/>
                <a:gd name="connsiteX25" fmla="*/ 167354 w 1260138"/>
                <a:gd name="connsiteY25" fmla="*/ 13659 h 172964"/>
                <a:gd name="connsiteX26" fmla="*/ 185118 w 1260138"/>
                <a:gd name="connsiteY26" fmla="*/ 152 h 172964"/>
                <a:gd name="connsiteX27" fmla="*/ 199339 w 1260138"/>
                <a:gd name="connsiteY27" fmla="*/ 11135 h 172964"/>
                <a:gd name="connsiteX28" fmla="*/ 198149 w 1260138"/>
                <a:gd name="connsiteY28" fmla="*/ 20193 h 172964"/>
                <a:gd name="connsiteX29" fmla="*/ 179346 w 1260138"/>
                <a:gd name="connsiteY29" fmla="*/ 138522 h 172964"/>
                <a:gd name="connsiteX30" fmla="*/ 181270 w 1260138"/>
                <a:gd name="connsiteY30" fmla="*/ 140741 h 172964"/>
                <a:gd name="connsiteX31" fmla="*/ 232362 w 1260138"/>
                <a:gd name="connsiteY31" fmla="*/ 140741 h 172964"/>
                <a:gd name="connsiteX32" fmla="*/ 245545 w 1260138"/>
                <a:gd name="connsiteY32" fmla="*/ 154257 h 172964"/>
                <a:gd name="connsiteX33" fmla="*/ 226733 w 1260138"/>
                <a:gd name="connsiteY33" fmla="*/ 171631 h 172964"/>
                <a:gd name="connsiteX34" fmla="*/ 156391 w 1260138"/>
                <a:gd name="connsiteY34" fmla="*/ 171631 h 172964"/>
                <a:gd name="connsiteX35" fmla="*/ 291751 w 1260138"/>
                <a:gd name="connsiteY35" fmla="*/ 163611 h 172964"/>
                <a:gd name="connsiteX36" fmla="*/ 277825 w 1260138"/>
                <a:gd name="connsiteY36" fmla="*/ 172669 h 172964"/>
                <a:gd name="connsiteX37" fmla="*/ 260937 w 1260138"/>
                <a:gd name="connsiteY37" fmla="*/ 159896 h 172964"/>
                <a:gd name="connsiteX38" fmla="*/ 263166 w 1260138"/>
                <a:gd name="connsiteY38" fmla="*/ 152029 h 172964"/>
                <a:gd name="connsiteX39" fmla="*/ 330098 w 1260138"/>
                <a:gd name="connsiteY39" fmla="*/ 22422 h 172964"/>
                <a:gd name="connsiteX40" fmla="*/ 356911 w 1260138"/>
                <a:gd name="connsiteY40" fmla="*/ 152 h 172964"/>
                <a:gd name="connsiteX41" fmla="*/ 377485 w 1260138"/>
                <a:gd name="connsiteY41" fmla="*/ 22422 h 172964"/>
                <a:gd name="connsiteX42" fmla="*/ 404155 w 1260138"/>
                <a:gd name="connsiteY42" fmla="*/ 153219 h 172964"/>
                <a:gd name="connsiteX43" fmla="*/ 404889 w 1260138"/>
                <a:gd name="connsiteY43" fmla="*/ 159601 h 172964"/>
                <a:gd name="connsiteX44" fmla="*/ 385782 w 1260138"/>
                <a:gd name="connsiteY44" fmla="*/ 172517 h 172964"/>
                <a:gd name="connsiteX45" fmla="*/ 374828 w 1260138"/>
                <a:gd name="connsiteY45" fmla="*/ 163163 h 172964"/>
                <a:gd name="connsiteX46" fmla="*/ 370237 w 1260138"/>
                <a:gd name="connsiteY46" fmla="*/ 140894 h 172964"/>
                <a:gd name="connsiteX47" fmla="*/ 367122 w 1260138"/>
                <a:gd name="connsiteY47" fmla="*/ 137484 h 172964"/>
                <a:gd name="connsiteX48" fmla="*/ 307753 w 1260138"/>
                <a:gd name="connsiteY48" fmla="*/ 137484 h 172964"/>
                <a:gd name="connsiteX49" fmla="*/ 303600 w 1260138"/>
                <a:gd name="connsiteY49" fmla="*/ 140894 h 172964"/>
                <a:gd name="connsiteX50" fmla="*/ 291903 w 1260138"/>
                <a:gd name="connsiteY50" fmla="*/ 163458 h 172964"/>
                <a:gd name="connsiteX51" fmla="*/ 291751 w 1260138"/>
                <a:gd name="connsiteY51" fmla="*/ 163611 h 172964"/>
                <a:gd name="connsiteX52" fmla="*/ 360902 w 1260138"/>
                <a:gd name="connsiteY52" fmla="*/ 106747 h 172964"/>
                <a:gd name="connsiteX53" fmla="*/ 363426 w 1260138"/>
                <a:gd name="connsiteY53" fmla="*/ 104966 h 172964"/>
                <a:gd name="connsiteX54" fmla="*/ 363131 w 1260138"/>
                <a:gd name="connsiteY54" fmla="*/ 101851 h 172964"/>
                <a:gd name="connsiteX55" fmla="*/ 354540 w 1260138"/>
                <a:gd name="connsiteY55" fmla="*/ 47654 h 172964"/>
                <a:gd name="connsiteX56" fmla="*/ 352320 w 1260138"/>
                <a:gd name="connsiteY56" fmla="*/ 39786 h 172964"/>
                <a:gd name="connsiteX57" fmla="*/ 347872 w 1260138"/>
                <a:gd name="connsiteY57" fmla="*/ 47654 h 172964"/>
                <a:gd name="connsiteX58" fmla="*/ 321659 w 1260138"/>
                <a:gd name="connsiteY58" fmla="*/ 101851 h 172964"/>
                <a:gd name="connsiteX59" fmla="*/ 320478 w 1260138"/>
                <a:gd name="connsiteY59" fmla="*/ 105261 h 172964"/>
                <a:gd name="connsiteX60" fmla="*/ 322402 w 1260138"/>
                <a:gd name="connsiteY60" fmla="*/ 106747 h 172964"/>
                <a:gd name="connsiteX61" fmla="*/ 360902 w 1260138"/>
                <a:gd name="connsiteY61" fmla="*/ 106747 h 172964"/>
                <a:gd name="connsiteX62" fmla="*/ 498186 w 1260138"/>
                <a:gd name="connsiteY62" fmla="*/ 30290 h 172964"/>
                <a:gd name="connsiteX63" fmla="*/ 472564 w 1260138"/>
                <a:gd name="connsiteY63" fmla="*/ 48101 h 172964"/>
                <a:gd name="connsiteX64" fmla="*/ 490337 w 1260138"/>
                <a:gd name="connsiteY64" fmla="*/ 65027 h 172964"/>
                <a:gd name="connsiteX65" fmla="*/ 511073 w 1260138"/>
                <a:gd name="connsiteY65" fmla="*/ 75124 h 172964"/>
                <a:gd name="connsiteX66" fmla="*/ 545583 w 1260138"/>
                <a:gd name="connsiteY66" fmla="*/ 120853 h 172964"/>
                <a:gd name="connsiteX67" fmla="*/ 482489 w 1260138"/>
                <a:gd name="connsiteY67" fmla="*/ 172517 h 172964"/>
                <a:gd name="connsiteX68" fmla="*/ 423405 w 1260138"/>
                <a:gd name="connsiteY68" fmla="*/ 148314 h 172964"/>
                <a:gd name="connsiteX69" fmla="*/ 420291 w 1260138"/>
                <a:gd name="connsiteY69" fmla="*/ 140303 h 172964"/>
                <a:gd name="connsiteX70" fmla="*/ 438807 w 1260138"/>
                <a:gd name="connsiteY70" fmla="*/ 123082 h 172964"/>
                <a:gd name="connsiteX71" fmla="*/ 449313 w 1260138"/>
                <a:gd name="connsiteY71" fmla="*/ 128426 h 172964"/>
                <a:gd name="connsiteX72" fmla="*/ 485013 w 1260138"/>
                <a:gd name="connsiteY72" fmla="*/ 142380 h 172964"/>
                <a:gd name="connsiteX73" fmla="*/ 511816 w 1260138"/>
                <a:gd name="connsiteY73" fmla="*/ 123520 h 172964"/>
                <a:gd name="connsiteX74" fmla="*/ 495224 w 1260138"/>
                <a:gd name="connsiteY74" fmla="*/ 104223 h 172964"/>
                <a:gd name="connsiteX75" fmla="*/ 473897 w 1260138"/>
                <a:gd name="connsiteY75" fmla="*/ 94126 h 172964"/>
                <a:gd name="connsiteX76" fmla="*/ 438655 w 1260138"/>
                <a:gd name="connsiteY76" fmla="*/ 49292 h 172964"/>
                <a:gd name="connsiteX77" fmla="*/ 499967 w 1260138"/>
                <a:gd name="connsiteY77" fmla="*/ 0 h 172964"/>
                <a:gd name="connsiteX78" fmla="*/ 550316 w 1260138"/>
                <a:gd name="connsiteY78" fmla="*/ 16631 h 172964"/>
                <a:gd name="connsiteX79" fmla="*/ 555650 w 1260138"/>
                <a:gd name="connsiteY79" fmla="*/ 27165 h 172964"/>
                <a:gd name="connsiteX80" fmla="*/ 538467 w 1260138"/>
                <a:gd name="connsiteY80" fmla="*/ 44396 h 172964"/>
                <a:gd name="connsiteX81" fmla="*/ 528257 w 1260138"/>
                <a:gd name="connsiteY81" fmla="*/ 40529 h 172964"/>
                <a:gd name="connsiteX82" fmla="*/ 497891 w 1260138"/>
                <a:gd name="connsiteY82" fmla="*/ 30290 h 172964"/>
                <a:gd name="connsiteX83" fmla="*/ 498186 w 1260138"/>
                <a:gd name="connsiteY83" fmla="*/ 30290 h 172964"/>
                <a:gd name="connsiteX84" fmla="*/ 620668 w 1260138"/>
                <a:gd name="connsiteY84" fmla="*/ 32071 h 172964"/>
                <a:gd name="connsiteX85" fmla="*/ 618296 w 1260138"/>
                <a:gd name="connsiteY85" fmla="*/ 34300 h 172964"/>
                <a:gd name="connsiteX86" fmla="*/ 613115 w 1260138"/>
                <a:gd name="connsiteY86" fmla="*/ 66065 h 172964"/>
                <a:gd name="connsiteX87" fmla="*/ 615039 w 1260138"/>
                <a:gd name="connsiteY87" fmla="*/ 68294 h 172964"/>
                <a:gd name="connsiteX88" fmla="*/ 661387 w 1260138"/>
                <a:gd name="connsiteY88" fmla="*/ 68294 h 172964"/>
                <a:gd name="connsiteX89" fmla="*/ 674570 w 1260138"/>
                <a:gd name="connsiteY89" fmla="*/ 81810 h 172964"/>
                <a:gd name="connsiteX90" fmla="*/ 655758 w 1260138"/>
                <a:gd name="connsiteY90" fmla="*/ 99174 h 172964"/>
                <a:gd name="connsiteX91" fmla="*/ 610153 w 1260138"/>
                <a:gd name="connsiteY91" fmla="*/ 99174 h 172964"/>
                <a:gd name="connsiteX92" fmla="*/ 607486 w 1260138"/>
                <a:gd name="connsiteY92" fmla="*/ 101403 h 172964"/>
                <a:gd name="connsiteX93" fmla="*/ 598446 w 1260138"/>
                <a:gd name="connsiteY93" fmla="*/ 159153 h 172964"/>
                <a:gd name="connsiteX94" fmla="*/ 580682 w 1260138"/>
                <a:gd name="connsiteY94" fmla="*/ 172669 h 172964"/>
                <a:gd name="connsiteX95" fmla="*/ 566461 w 1260138"/>
                <a:gd name="connsiteY95" fmla="*/ 161677 h 172964"/>
                <a:gd name="connsiteX96" fmla="*/ 567642 w 1260138"/>
                <a:gd name="connsiteY96" fmla="*/ 152629 h 172964"/>
                <a:gd name="connsiteX97" fmla="*/ 589417 w 1260138"/>
                <a:gd name="connsiteY97" fmla="*/ 15735 h 172964"/>
                <a:gd name="connsiteX98" fmla="*/ 605561 w 1260138"/>
                <a:gd name="connsiteY98" fmla="*/ 1333 h 172964"/>
                <a:gd name="connsiteX99" fmla="*/ 688343 w 1260138"/>
                <a:gd name="connsiteY99" fmla="*/ 1333 h 172964"/>
                <a:gd name="connsiteX100" fmla="*/ 701526 w 1260138"/>
                <a:gd name="connsiteY100" fmla="*/ 14850 h 172964"/>
                <a:gd name="connsiteX101" fmla="*/ 682714 w 1260138"/>
                <a:gd name="connsiteY101" fmla="*/ 32223 h 172964"/>
                <a:gd name="connsiteX102" fmla="*/ 620668 w 1260138"/>
                <a:gd name="connsiteY102" fmla="*/ 32223 h 172964"/>
                <a:gd name="connsiteX103" fmla="*/ 620668 w 1260138"/>
                <a:gd name="connsiteY103" fmla="*/ 32071 h 172964"/>
                <a:gd name="connsiteX104" fmla="*/ 703155 w 1260138"/>
                <a:gd name="connsiteY104" fmla="*/ 163611 h 172964"/>
                <a:gd name="connsiteX105" fmla="*/ 689229 w 1260138"/>
                <a:gd name="connsiteY105" fmla="*/ 172669 h 172964"/>
                <a:gd name="connsiteX106" fmla="*/ 672351 w 1260138"/>
                <a:gd name="connsiteY106" fmla="*/ 159896 h 172964"/>
                <a:gd name="connsiteX107" fmla="*/ 674570 w 1260138"/>
                <a:gd name="connsiteY107" fmla="*/ 152029 h 172964"/>
                <a:gd name="connsiteX108" fmla="*/ 741512 w 1260138"/>
                <a:gd name="connsiteY108" fmla="*/ 22422 h 172964"/>
                <a:gd name="connsiteX109" fmla="*/ 768315 w 1260138"/>
                <a:gd name="connsiteY109" fmla="*/ 152 h 172964"/>
                <a:gd name="connsiteX110" fmla="*/ 788756 w 1260138"/>
                <a:gd name="connsiteY110" fmla="*/ 22422 h 172964"/>
                <a:gd name="connsiteX111" fmla="*/ 815407 w 1260138"/>
                <a:gd name="connsiteY111" fmla="*/ 153219 h 172964"/>
                <a:gd name="connsiteX112" fmla="*/ 816150 w 1260138"/>
                <a:gd name="connsiteY112" fmla="*/ 159601 h 172964"/>
                <a:gd name="connsiteX113" fmla="*/ 797043 w 1260138"/>
                <a:gd name="connsiteY113" fmla="*/ 172517 h 172964"/>
                <a:gd name="connsiteX114" fmla="*/ 786089 w 1260138"/>
                <a:gd name="connsiteY114" fmla="*/ 163163 h 172964"/>
                <a:gd name="connsiteX115" fmla="*/ 781498 w 1260138"/>
                <a:gd name="connsiteY115" fmla="*/ 140894 h 172964"/>
                <a:gd name="connsiteX116" fmla="*/ 778383 w 1260138"/>
                <a:gd name="connsiteY116" fmla="*/ 137484 h 172964"/>
                <a:gd name="connsiteX117" fmla="*/ 718995 w 1260138"/>
                <a:gd name="connsiteY117" fmla="*/ 137484 h 172964"/>
                <a:gd name="connsiteX118" fmla="*/ 714851 w 1260138"/>
                <a:gd name="connsiteY118" fmla="*/ 140894 h 172964"/>
                <a:gd name="connsiteX119" fmla="*/ 703155 w 1260138"/>
                <a:gd name="connsiteY119" fmla="*/ 163458 h 172964"/>
                <a:gd name="connsiteX120" fmla="*/ 703155 w 1260138"/>
                <a:gd name="connsiteY120" fmla="*/ 163611 h 172964"/>
                <a:gd name="connsiteX121" fmla="*/ 772316 w 1260138"/>
                <a:gd name="connsiteY121" fmla="*/ 106747 h 172964"/>
                <a:gd name="connsiteX122" fmla="*/ 774830 w 1260138"/>
                <a:gd name="connsiteY122" fmla="*/ 104966 h 172964"/>
                <a:gd name="connsiteX123" fmla="*/ 774535 w 1260138"/>
                <a:gd name="connsiteY123" fmla="*/ 101851 h 172964"/>
                <a:gd name="connsiteX124" fmla="*/ 765943 w 1260138"/>
                <a:gd name="connsiteY124" fmla="*/ 47654 h 172964"/>
                <a:gd name="connsiteX125" fmla="*/ 763724 w 1260138"/>
                <a:gd name="connsiteY125" fmla="*/ 39786 h 172964"/>
                <a:gd name="connsiteX126" fmla="*/ 759285 w 1260138"/>
                <a:gd name="connsiteY126" fmla="*/ 47654 h 172964"/>
                <a:gd name="connsiteX127" fmla="*/ 733215 w 1260138"/>
                <a:gd name="connsiteY127" fmla="*/ 101851 h 172964"/>
                <a:gd name="connsiteX128" fmla="*/ 732034 w 1260138"/>
                <a:gd name="connsiteY128" fmla="*/ 105261 h 172964"/>
                <a:gd name="connsiteX129" fmla="*/ 733958 w 1260138"/>
                <a:gd name="connsiteY129" fmla="*/ 106747 h 172964"/>
                <a:gd name="connsiteX130" fmla="*/ 772316 w 1260138"/>
                <a:gd name="connsiteY130" fmla="*/ 106747 h 172964"/>
                <a:gd name="connsiteX131" fmla="*/ 909742 w 1260138"/>
                <a:gd name="connsiteY131" fmla="*/ 30290 h 172964"/>
                <a:gd name="connsiteX132" fmla="*/ 884120 w 1260138"/>
                <a:gd name="connsiteY132" fmla="*/ 48101 h 172964"/>
                <a:gd name="connsiteX133" fmla="*/ 901894 w 1260138"/>
                <a:gd name="connsiteY133" fmla="*/ 65027 h 172964"/>
                <a:gd name="connsiteX134" fmla="*/ 922630 w 1260138"/>
                <a:gd name="connsiteY134" fmla="*/ 75124 h 172964"/>
                <a:gd name="connsiteX135" fmla="*/ 957139 w 1260138"/>
                <a:gd name="connsiteY135" fmla="*/ 120853 h 172964"/>
                <a:gd name="connsiteX136" fmla="*/ 894045 w 1260138"/>
                <a:gd name="connsiteY136" fmla="*/ 172517 h 172964"/>
                <a:gd name="connsiteX137" fmla="*/ 834962 w 1260138"/>
                <a:gd name="connsiteY137" fmla="*/ 148314 h 172964"/>
                <a:gd name="connsiteX138" fmla="*/ 831847 w 1260138"/>
                <a:gd name="connsiteY138" fmla="*/ 140303 h 172964"/>
                <a:gd name="connsiteX139" fmla="*/ 850363 w 1260138"/>
                <a:gd name="connsiteY139" fmla="*/ 123082 h 172964"/>
                <a:gd name="connsiteX140" fmla="*/ 860870 w 1260138"/>
                <a:gd name="connsiteY140" fmla="*/ 128426 h 172964"/>
                <a:gd name="connsiteX141" fmla="*/ 896560 w 1260138"/>
                <a:gd name="connsiteY141" fmla="*/ 142380 h 172964"/>
                <a:gd name="connsiteX142" fmla="*/ 923373 w 1260138"/>
                <a:gd name="connsiteY142" fmla="*/ 123520 h 172964"/>
                <a:gd name="connsiteX143" fmla="*/ 906780 w 1260138"/>
                <a:gd name="connsiteY143" fmla="*/ 104223 h 172964"/>
                <a:gd name="connsiteX144" fmla="*/ 885606 w 1260138"/>
                <a:gd name="connsiteY144" fmla="*/ 94126 h 172964"/>
                <a:gd name="connsiteX145" fmla="*/ 850363 w 1260138"/>
                <a:gd name="connsiteY145" fmla="*/ 49292 h 172964"/>
                <a:gd name="connsiteX146" fmla="*/ 911666 w 1260138"/>
                <a:gd name="connsiteY146" fmla="*/ 0 h 172964"/>
                <a:gd name="connsiteX147" fmla="*/ 962025 w 1260138"/>
                <a:gd name="connsiteY147" fmla="*/ 16631 h 172964"/>
                <a:gd name="connsiteX148" fmla="*/ 967349 w 1260138"/>
                <a:gd name="connsiteY148" fmla="*/ 27165 h 172964"/>
                <a:gd name="connsiteX149" fmla="*/ 950319 w 1260138"/>
                <a:gd name="connsiteY149" fmla="*/ 44396 h 172964"/>
                <a:gd name="connsiteX150" fmla="*/ 940108 w 1260138"/>
                <a:gd name="connsiteY150" fmla="*/ 40529 h 172964"/>
                <a:gd name="connsiteX151" fmla="*/ 909895 w 1260138"/>
                <a:gd name="connsiteY151" fmla="*/ 30290 h 172964"/>
                <a:gd name="connsiteX152" fmla="*/ 909742 w 1260138"/>
                <a:gd name="connsiteY152" fmla="*/ 30290 h 172964"/>
                <a:gd name="connsiteX153" fmla="*/ 1097232 w 1260138"/>
                <a:gd name="connsiteY153" fmla="*/ 1191 h 172964"/>
                <a:gd name="connsiteX154" fmla="*/ 1110415 w 1260138"/>
                <a:gd name="connsiteY154" fmla="*/ 14697 h 172964"/>
                <a:gd name="connsiteX155" fmla="*/ 1091603 w 1260138"/>
                <a:gd name="connsiteY155" fmla="*/ 32071 h 172964"/>
                <a:gd name="connsiteX156" fmla="*/ 1031919 w 1260138"/>
                <a:gd name="connsiteY156" fmla="*/ 32071 h 172964"/>
                <a:gd name="connsiteX157" fmla="*/ 1029262 w 1260138"/>
                <a:gd name="connsiteY157" fmla="*/ 34300 h 172964"/>
                <a:gd name="connsiteX158" fmla="*/ 1024366 w 1260138"/>
                <a:gd name="connsiteY158" fmla="*/ 66065 h 172964"/>
                <a:gd name="connsiteX159" fmla="*/ 1026147 w 1260138"/>
                <a:gd name="connsiteY159" fmla="*/ 68294 h 172964"/>
                <a:gd name="connsiteX160" fmla="*/ 1077239 w 1260138"/>
                <a:gd name="connsiteY160" fmla="*/ 68294 h 172964"/>
                <a:gd name="connsiteX161" fmla="*/ 1090422 w 1260138"/>
                <a:gd name="connsiteY161" fmla="*/ 81801 h 172964"/>
                <a:gd name="connsiteX162" fmla="*/ 1071610 w 1260138"/>
                <a:gd name="connsiteY162" fmla="*/ 99174 h 172964"/>
                <a:gd name="connsiteX163" fmla="*/ 1021261 w 1260138"/>
                <a:gd name="connsiteY163" fmla="*/ 99174 h 172964"/>
                <a:gd name="connsiteX164" fmla="*/ 1018746 w 1260138"/>
                <a:gd name="connsiteY164" fmla="*/ 101403 h 172964"/>
                <a:gd name="connsiteX165" fmla="*/ 1012822 w 1260138"/>
                <a:gd name="connsiteY165" fmla="*/ 138665 h 172964"/>
                <a:gd name="connsiteX166" fmla="*/ 1014594 w 1260138"/>
                <a:gd name="connsiteY166" fmla="*/ 140894 h 172964"/>
                <a:gd name="connsiteX167" fmla="*/ 1077392 w 1260138"/>
                <a:gd name="connsiteY167" fmla="*/ 140894 h 172964"/>
                <a:gd name="connsiteX168" fmla="*/ 1090565 w 1260138"/>
                <a:gd name="connsiteY168" fmla="*/ 154400 h 172964"/>
                <a:gd name="connsiteX169" fmla="*/ 1071763 w 1260138"/>
                <a:gd name="connsiteY169" fmla="*/ 171774 h 172964"/>
                <a:gd name="connsiteX170" fmla="*/ 990162 w 1260138"/>
                <a:gd name="connsiteY170" fmla="*/ 171774 h 172964"/>
                <a:gd name="connsiteX171" fmla="*/ 978170 w 1260138"/>
                <a:gd name="connsiteY171" fmla="*/ 157372 h 172964"/>
                <a:gd name="connsiteX172" fmla="*/ 1000382 w 1260138"/>
                <a:gd name="connsiteY172" fmla="*/ 15888 h 172964"/>
                <a:gd name="connsiteX173" fmla="*/ 1016822 w 1260138"/>
                <a:gd name="connsiteY173" fmla="*/ 1486 h 172964"/>
                <a:gd name="connsiteX174" fmla="*/ 1097232 w 1260138"/>
                <a:gd name="connsiteY174" fmla="*/ 1486 h 172964"/>
                <a:gd name="connsiteX175" fmla="*/ 1097232 w 1260138"/>
                <a:gd name="connsiteY175" fmla="*/ 1191 h 172964"/>
                <a:gd name="connsiteX176" fmla="*/ 1190682 w 1260138"/>
                <a:gd name="connsiteY176" fmla="*/ 108233 h 172964"/>
                <a:gd name="connsiteX177" fmla="*/ 1187272 w 1260138"/>
                <a:gd name="connsiteY177" fmla="*/ 106004 h 172964"/>
                <a:gd name="connsiteX178" fmla="*/ 1160469 w 1260138"/>
                <a:gd name="connsiteY178" fmla="*/ 106004 h 172964"/>
                <a:gd name="connsiteX179" fmla="*/ 1157802 w 1260138"/>
                <a:gd name="connsiteY179" fmla="*/ 108233 h 172964"/>
                <a:gd name="connsiteX180" fmla="*/ 1149810 w 1260138"/>
                <a:gd name="connsiteY180" fmla="*/ 159153 h 172964"/>
                <a:gd name="connsiteX181" fmla="*/ 1132037 w 1260138"/>
                <a:gd name="connsiteY181" fmla="*/ 172669 h 172964"/>
                <a:gd name="connsiteX182" fmla="*/ 1117816 w 1260138"/>
                <a:gd name="connsiteY182" fmla="*/ 161677 h 172964"/>
                <a:gd name="connsiteX183" fmla="*/ 1119007 w 1260138"/>
                <a:gd name="connsiteY183" fmla="*/ 152629 h 172964"/>
                <a:gd name="connsiteX184" fmla="*/ 1140771 w 1260138"/>
                <a:gd name="connsiteY184" fmla="*/ 15735 h 172964"/>
                <a:gd name="connsiteX185" fmla="*/ 1157211 w 1260138"/>
                <a:gd name="connsiteY185" fmla="*/ 1333 h 172964"/>
                <a:gd name="connsiteX186" fmla="*/ 1215857 w 1260138"/>
                <a:gd name="connsiteY186" fmla="*/ 1333 h 172964"/>
                <a:gd name="connsiteX187" fmla="*/ 1260139 w 1260138"/>
                <a:gd name="connsiteY187" fmla="*/ 43501 h 172964"/>
                <a:gd name="connsiteX188" fmla="*/ 1224296 w 1260138"/>
                <a:gd name="connsiteY188" fmla="*/ 103184 h 172964"/>
                <a:gd name="connsiteX189" fmla="*/ 1222524 w 1260138"/>
                <a:gd name="connsiteY189" fmla="*/ 104966 h 172964"/>
                <a:gd name="connsiteX190" fmla="*/ 1222820 w 1260138"/>
                <a:gd name="connsiteY190" fmla="*/ 106004 h 172964"/>
                <a:gd name="connsiteX191" fmla="*/ 1242365 w 1260138"/>
                <a:gd name="connsiteY191" fmla="*/ 150847 h 172964"/>
                <a:gd name="connsiteX192" fmla="*/ 1244879 w 1260138"/>
                <a:gd name="connsiteY192" fmla="*/ 159458 h 172964"/>
                <a:gd name="connsiteX193" fmla="*/ 1225782 w 1260138"/>
                <a:gd name="connsiteY193" fmla="*/ 172964 h 172964"/>
                <a:gd name="connsiteX194" fmla="*/ 1214228 w 1260138"/>
                <a:gd name="connsiteY194" fmla="*/ 164354 h 172964"/>
                <a:gd name="connsiteX195" fmla="*/ 1190978 w 1260138"/>
                <a:gd name="connsiteY195" fmla="*/ 108528 h 172964"/>
                <a:gd name="connsiteX196" fmla="*/ 1190682 w 1260138"/>
                <a:gd name="connsiteY196" fmla="*/ 108233 h 172964"/>
                <a:gd name="connsiteX197" fmla="*/ 1205046 w 1260138"/>
                <a:gd name="connsiteY197" fmla="*/ 75419 h 172964"/>
                <a:gd name="connsiteX198" fmla="*/ 1226372 w 1260138"/>
                <a:gd name="connsiteY198" fmla="*/ 49139 h 172964"/>
                <a:gd name="connsiteX199" fmla="*/ 1209789 w 1260138"/>
                <a:gd name="connsiteY199" fmla="*/ 31775 h 172964"/>
                <a:gd name="connsiteX200" fmla="*/ 1172166 w 1260138"/>
                <a:gd name="connsiteY200" fmla="*/ 31775 h 172964"/>
                <a:gd name="connsiteX201" fmla="*/ 1169499 w 1260138"/>
                <a:gd name="connsiteY201" fmla="*/ 34004 h 172964"/>
                <a:gd name="connsiteX202" fmla="*/ 1163431 w 1260138"/>
                <a:gd name="connsiteY202" fmla="*/ 73200 h 172964"/>
                <a:gd name="connsiteX203" fmla="*/ 1165355 w 1260138"/>
                <a:gd name="connsiteY203" fmla="*/ 75419 h 172964"/>
                <a:gd name="connsiteX204" fmla="*/ 1205198 w 1260138"/>
                <a:gd name="connsiteY204" fmla="*/ 75419 h 172964"/>
                <a:gd name="connsiteX205" fmla="*/ 1205046 w 1260138"/>
                <a:gd name="connsiteY205" fmla="*/ 75419 h 17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60138" h="172964">
                  <a:moveTo>
                    <a:pt x="3400" y="86411"/>
                  </a:moveTo>
                  <a:cubicBezTo>
                    <a:pt x="11259" y="36376"/>
                    <a:pt x="21917" y="152"/>
                    <a:pt x="80858" y="152"/>
                  </a:cubicBezTo>
                  <a:cubicBezTo>
                    <a:pt x="94336" y="152"/>
                    <a:pt x="110919" y="3562"/>
                    <a:pt x="120996" y="12621"/>
                  </a:cubicBezTo>
                  <a:cubicBezTo>
                    <a:pt x="124397" y="15735"/>
                    <a:pt x="127064" y="18707"/>
                    <a:pt x="127064" y="23603"/>
                  </a:cubicBezTo>
                  <a:cubicBezTo>
                    <a:pt x="127064" y="32214"/>
                    <a:pt x="118329" y="42167"/>
                    <a:pt x="108699" y="42167"/>
                  </a:cubicBezTo>
                  <a:cubicBezTo>
                    <a:pt x="105962" y="42253"/>
                    <a:pt x="103283" y="41358"/>
                    <a:pt x="101146" y="39643"/>
                  </a:cubicBezTo>
                  <a:cubicBezTo>
                    <a:pt x="91811" y="32071"/>
                    <a:pt x="86039" y="30290"/>
                    <a:pt x="75971" y="30290"/>
                  </a:cubicBezTo>
                  <a:cubicBezTo>
                    <a:pt x="42796" y="30290"/>
                    <a:pt x="40729" y="63094"/>
                    <a:pt x="36433" y="86106"/>
                  </a:cubicBezTo>
                  <a:cubicBezTo>
                    <a:pt x="33909" y="98584"/>
                    <a:pt x="32728" y="108823"/>
                    <a:pt x="32728" y="117138"/>
                  </a:cubicBezTo>
                  <a:cubicBezTo>
                    <a:pt x="32728" y="134512"/>
                    <a:pt x="40138" y="141932"/>
                    <a:pt x="58350" y="141932"/>
                  </a:cubicBezTo>
                  <a:cubicBezTo>
                    <a:pt x="76562" y="141932"/>
                    <a:pt x="89897" y="130654"/>
                    <a:pt x="92850" y="112538"/>
                  </a:cubicBezTo>
                  <a:lnTo>
                    <a:pt x="94336" y="103184"/>
                  </a:lnTo>
                  <a:cubicBezTo>
                    <a:pt x="94631" y="101403"/>
                    <a:pt x="94040" y="100955"/>
                    <a:pt x="92554" y="100955"/>
                  </a:cubicBezTo>
                  <a:lnTo>
                    <a:pt x="78343" y="100955"/>
                  </a:lnTo>
                  <a:cubicBezTo>
                    <a:pt x="68866" y="100955"/>
                    <a:pt x="65456" y="94574"/>
                    <a:pt x="65456" y="87449"/>
                  </a:cubicBezTo>
                  <a:cubicBezTo>
                    <a:pt x="65456" y="78391"/>
                    <a:pt x="71380" y="70371"/>
                    <a:pt x="82487" y="70371"/>
                  </a:cubicBezTo>
                  <a:lnTo>
                    <a:pt x="117881" y="70371"/>
                  </a:lnTo>
                  <a:cubicBezTo>
                    <a:pt x="124987" y="70371"/>
                    <a:pt x="130026" y="74085"/>
                    <a:pt x="128692" y="83287"/>
                  </a:cubicBezTo>
                  <a:lnTo>
                    <a:pt x="124101" y="112681"/>
                  </a:lnTo>
                  <a:cubicBezTo>
                    <a:pt x="118034" y="151438"/>
                    <a:pt x="95812" y="172222"/>
                    <a:pt x="53464" y="172222"/>
                  </a:cubicBezTo>
                  <a:cubicBezTo>
                    <a:pt x="20736" y="172222"/>
                    <a:pt x="0" y="158563"/>
                    <a:pt x="0" y="122034"/>
                  </a:cubicBezTo>
                  <a:cubicBezTo>
                    <a:pt x="0" y="111795"/>
                    <a:pt x="1181" y="99765"/>
                    <a:pt x="3410" y="86106"/>
                  </a:cubicBezTo>
                  <a:lnTo>
                    <a:pt x="3410" y="86411"/>
                  </a:lnTo>
                  <a:close/>
                  <a:moveTo>
                    <a:pt x="156391" y="171631"/>
                  </a:moveTo>
                  <a:cubicBezTo>
                    <a:pt x="147799" y="171631"/>
                    <a:pt x="143208" y="166430"/>
                    <a:pt x="144685" y="157229"/>
                  </a:cubicBezTo>
                  <a:lnTo>
                    <a:pt x="167354" y="13659"/>
                  </a:lnTo>
                  <a:cubicBezTo>
                    <a:pt x="169126" y="2819"/>
                    <a:pt x="175936" y="152"/>
                    <a:pt x="185118" y="152"/>
                  </a:cubicBezTo>
                  <a:cubicBezTo>
                    <a:pt x="191929" y="152"/>
                    <a:pt x="199339" y="2667"/>
                    <a:pt x="199339" y="11135"/>
                  </a:cubicBezTo>
                  <a:cubicBezTo>
                    <a:pt x="199339" y="12621"/>
                    <a:pt x="198892" y="16335"/>
                    <a:pt x="198149" y="20193"/>
                  </a:cubicBezTo>
                  <a:lnTo>
                    <a:pt x="179346" y="138522"/>
                  </a:lnTo>
                  <a:cubicBezTo>
                    <a:pt x="179041" y="140303"/>
                    <a:pt x="179632" y="140741"/>
                    <a:pt x="181270" y="140741"/>
                  </a:cubicBezTo>
                  <a:lnTo>
                    <a:pt x="232362" y="140741"/>
                  </a:lnTo>
                  <a:cubicBezTo>
                    <a:pt x="242135" y="140741"/>
                    <a:pt x="245545" y="147133"/>
                    <a:pt x="245545" y="154257"/>
                  </a:cubicBezTo>
                  <a:cubicBezTo>
                    <a:pt x="245545" y="163611"/>
                    <a:pt x="239620" y="171631"/>
                    <a:pt x="226733" y="171631"/>
                  </a:cubicBezTo>
                  <a:lnTo>
                    <a:pt x="156391" y="171631"/>
                  </a:lnTo>
                  <a:close/>
                  <a:moveTo>
                    <a:pt x="291751" y="163611"/>
                  </a:moveTo>
                  <a:cubicBezTo>
                    <a:pt x="288036" y="170736"/>
                    <a:pt x="284197" y="172669"/>
                    <a:pt x="277825" y="172669"/>
                  </a:cubicBezTo>
                  <a:cubicBezTo>
                    <a:pt x="269091" y="172669"/>
                    <a:pt x="260937" y="168059"/>
                    <a:pt x="260937" y="159896"/>
                  </a:cubicBezTo>
                  <a:cubicBezTo>
                    <a:pt x="260937" y="157372"/>
                    <a:pt x="261680" y="155000"/>
                    <a:pt x="263166" y="152029"/>
                  </a:cubicBezTo>
                  <a:lnTo>
                    <a:pt x="330098" y="22422"/>
                  </a:lnTo>
                  <a:cubicBezTo>
                    <a:pt x="339871" y="3562"/>
                    <a:pt x="345205" y="152"/>
                    <a:pt x="356911" y="152"/>
                  </a:cubicBezTo>
                  <a:cubicBezTo>
                    <a:pt x="369646" y="152"/>
                    <a:pt x="373942" y="5344"/>
                    <a:pt x="377485" y="22422"/>
                  </a:cubicBezTo>
                  <a:lnTo>
                    <a:pt x="404155" y="153219"/>
                  </a:lnTo>
                  <a:cubicBezTo>
                    <a:pt x="404593" y="155886"/>
                    <a:pt x="404889" y="157667"/>
                    <a:pt x="404889" y="159601"/>
                  </a:cubicBezTo>
                  <a:cubicBezTo>
                    <a:pt x="404889" y="169107"/>
                    <a:pt x="394373" y="172517"/>
                    <a:pt x="385782" y="172517"/>
                  </a:cubicBezTo>
                  <a:cubicBezTo>
                    <a:pt x="380895" y="172517"/>
                    <a:pt x="376304" y="169993"/>
                    <a:pt x="374828" y="163163"/>
                  </a:cubicBezTo>
                  <a:lnTo>
                    <a:pt x="370237" y="140894"/>
                  </a:lnTo>
                  <a:cubicBezTo>
                    <a:pt x="369789" y="138665"/>
                    <a:pt x="369056" y="137484"/>
                    <a:pt x="367122" y="137484"/>
                  </a:cubicBezTo>
                  <a:lnTo>
                    <a:pt x="307753" y="137484"/>
                  </a:lnTo>
                  <a:cubicBezTo>
                    <a:pt x="305819" y="137484"/>
                    <a:pt x="304791" y="138665"/>
                    <a:pt x="303600" y="140894"/>
                  </a:cubicBezTo>
                  <a:lnTo>
                    <a:pt x="291903" y="163458"/>
                  </a:lnTo>
                  <a:lnTo>
                    <a:pt x="291751" y="163611"/>
                  </a:lnTo>
                  <a:close/>
                  <a:moveTo>
                    <a:pt x="360902" y="106747"/>
                  </a:moveTo>
                  <a:cubicBezTo>
                    <a:pt x="362388" y="106747"/>
                    <a:pt x="363426" y="106004"/>
                    <a:pt x="363426" y="104966"/>
                  </a:cubicBezTo>
                  <a:cubicBezTo>
                    <a:pt x="363426" y="104518"/>
                    <a:pt x="363426" y="103775"/>
                    <a:pt x="363131" y="101851"/>
                  </a:cubicBezTo>
                  <a:lnTo>
                    <a:pt x="354540" y="47654"/>
                  </a:lnTo>
                  <a:cubicBezTo>
                    <a:pt x="354092" y="44244"/>
                    <a:pt x="354092" y="39786"/>
                    <a:pt x="352320" y="39786"/>
                  </a:cubicBezTo>
                  <a:cubicBezTo>
                    <a:pt x="350539" y="39786"/>
                    <a:pt x="349653" y="44244"/>
                    <a:pt x="347872" y="47654"/>
                  </a:cubicBezTo>
                  <a:lnTo>
                    <a:pt x="321659" y="101851"/>
                  </a:lnTo>
                  <a:cubicBezTo>
                    <a:pt x="320621" y="103775"/>
                    <a:pt x="320478" y="104813"/>
                    <a:pt x="320478" y="105261"/>
                  </a:cubicBezTo>
                  <a:cubicBezTo>
                    <a:pt x="320478" y="106299"/>
                    <a:pt x="320916" y="106747"/>
                    <a:pt x="322402" y="106747"/>
                  </a:cubicBezTo>
                  <a:lnTo>
                    <a:pt x="360902" y="106747"/>
                  </a:lnTo>
                  <a:close/>
                  <a:moveTo>
                    <a:pt x="498186" y="30290"/>
                  </a:moveTo>
                  <a:cubicBezTo>
                    <a:pt x="488413" y="30290"/>
                    <a:pt x="472564" y="34147"/>
                    <a:pt x="472564" y="48101"/>
                  </a:cubicBezTo>
                  <a:cubicBezTo>
                    <a:pt x="472564" y="55226"/>
                    <a:pt x="479679" y="59836"/>
                    <a:pt x="490337" y="65027"/>
                  </a:cubicBezTo>
                  <a:lnTo>
                    <a:pt x="511073" y="75124"/>
                  </a:lnTo>
                  <a:cubicBezTo>
                    <a:pt x="533286" y="85963"/>
                    <a:pt x="545583" y="100508"/>
                    <a:pt x="545583" y="120853"/>
                  </a:cubicBezTo>
                  <a:cubicBezTo>
                    <a:pt x="545583" y="154705"/>
                    <a:pt x="515817" y="172517"/>
                    <a:pt x="482489" y="172517"/>
                  </a:cubicBezTo>
                  <a:cubicBezTo>
                    <a:pt x="458800" y="172517"/>
                    <a:pt x="437769" y="164649"/>
                    <a:pt x="423405" y="148314"/>
                  </a:cubicBezTo>
                  <a:cubicBezTo>
                    <a:pt x="421415" y="146123"/>
                    <a:pt x="420305" y="143266"/>
                    <a:pt x="420291" y="140303"/>
                  </a:cubicBezTo>
                  <a:cubicBezTo>
                    <a:pt x="420291" y="131693"/>
                    <a:pt x="429035" y="123082"/>
                    <a:pt x="438807" y="123082"/>
                  </a:cubicBezTo>
                  <a:cubicBezTo>
                    <a:pt x="442951" y="123082"/>
                    <a:pt x="446361" y="125749"/>
                    <a:pt x="449313" y="128426"/>
                  </a:cubicBezTo>
                  <a:cubicBezTo>
                    <a:pt x="457171" y="135846"/>
                    <a:pt x="466935" y="142380"/>
                    <a:pt x="485013" y="142380"/>
                  </a:cubicBezTo>
                  <a:cubicBezTo>
                    <a:pt x="495967" y="142380"/>
                    <a:pt x="511816" y="138227"/>
                    <a:pt x="511816" y="123520"/>
                  </a:cubicBezTo>
                  <a:cubicBezTo>
                    <a:pt x="511816" y="115510"/>
                    <a:pt x="506187" y="109271"/>
                    <a:pt x="495224" y="104223"/>
                  </a:cubicBezTo>
                  <a:lnTo>
                    <a:pt x="473897" y="94126"/>
                  </a:lnTo>
                  <a:cubicBezTo>
                    <a:pt x="451685" y="83591"/>
                    <a:pt x="438655" y="71561"/>
                    <a:pt x="438655" y="49292"/>
                  </a:cubicBezTo>
                  <a:cubicBezTo>
                    <a:pt x="438655" y="18412"/>
                    <a:pt x="466944" y="0"/>
                    <a:pt x="499967" y="0"/>
                  </a:cubicBezTo>
                  <a:cubicBezTo>
                    <a:pt x="517741" y="0"/>
                    <a:pt x="535657" y="3715"/>
                    <a:pt x="550316" y="16631"/>
                  </a:cubicBezTo>
                  <a:cubicBezTo>
                    <a:pt x="553279" y="19155"/>
                    <a:pt x="555650" y="22565"/>
                    <a:pt x="555650" y="27165"/>
                  </a:cubicBezTo>
                  <a:cubicBezTo>
                    <a:pt x="555650" y="35785"/>
                    <a:pt x="547059" y="44396"/>
                    <a:pt x="538467" y="44396"/>
                  </a:cubicBezTo>
                  <a:cubicBezTo>
                    <a:pt x="534324" y="44396"/>
                    <a:pt x="530466" y="42167"/>
                    <a:pt x="528257" y="40529"/>
                  </a:cubicBezTo>
                  <a:cubicBezTo>
                    <a:pt x="519513" y="33699"/>
                    <a:pt x="509740" y="30290"/>
                    <a:pt x="497891" y="30290"/>
                  </a:cubicBezTo>
                  <a:lnTo>
                    <a:pt x="498186" y="30290"/>
                  </a:lnTo>
                  <a:close/>
                  <a:moveTo>
                    <a:pt x="620668" y="32071"/>
                  </a:moveTo>
                  <a:cubicBezTo>
                    <a:pt x="618887" y="32071"/>
                    <a:pt x="618439" y="32518"/>
                    <a:pt x="618296" y="34300"/>
                  </a:cubicBezTo>
                  <a:lnTo>
                    <a:pt x="613115" y="66065"/>
                  </a:lnTo>
                  <a:cubicBezTo>
                    <a:pt x="612819" y="67847"/>
                    <a:pt x="613410" y="68294"/>
                    <a:pt x="615039" y="68294"/>
                  </a:cubicBezTo>
                  <a:lnTo>
                    <a:pt x="661387" y="68294"/>
                  </a:lnTo>
                  <a:cubicBezTo>
                    <a:pt x="671160" y="68294"/>
                    <a:pt x="674570" y="74676"/>
                    <a:pt x="674570" y="81810"/>
                  </a:cubicBezTo>
                  <a:cubicBezTo>
                    <a:pt x="674570" y="91164"/>
                    <a:pt x="668646" y="99174"/>
                    <a:pt x="655758" y="99174"/>
                  </a:cubicBezTo>
                  <a:lnTo>
                    <a:pt x="610153" y="99174"/>
                  </a:lnTo>
                  <a:cubicBezTo>
                    <a:pt x="608371" y="99174"/>
                    <a:pt x="607628" y="99622"/>
                    <a:pt x="607486" y="101403"/>
                  </a:cubicBezTo>
                  <a:lnTo>
                    <a:pt x="598446" y="159153"/>
                  </a:lnTo>
                  <a:cubicBezTo>
                    <a:pt x="596675" y="169993"/>
                    <a:pt x="589864" y="172669"/>
                    <a:pt x="580682" y="172669"/>
                  </a:cubicBezTo>
                  <a:cubicBezTo>
                    <a:pt x="573862" y="172669"/>
                    <a:pt x="566461" y="170145"/>
                    <a:pt x="566461" y="161677"/>
                  </a:cubicBezTo>
                  <a:cubicBezTo>
                    <a:pt x="566461" y="160201"/>
                    <a:pt x="566909" y="156486"/>
                    <a:pt x="567642" y="152629"/>
                  </a:cubicBezTo>
                  <a:lnTo>
                    <a:pt x="589417" y="15735"/>
                  </a:lnTo>
                  <a:cubicBezTo>
                    <a:pt x="590893" y="6382"/>
                    <a:pt x="595789" y="1333"/>
                    <a:pt x="605561" y="1333"/>
                  </a:cubicBezTo>
                  <a:lnTo>
                    <a:pt x="688343" y="1333"/>
                  </a:lnTo>
                  <a:cubicBezTo>
                    <a:pt x="698116" y="1333"/>
                    <a:pt x="701526" y="7725"/>
                    <a:pt x="701526" y="14850"/>
                  </a:cubicBezTo>
                  <a:cubicBezTo>
                    <a:pt x="701526" y="24203"/>
                    <a:pt x="695601" y="32223"/>
                    <a:pt x="682714" y="32223"/>
                  </a:cubicBezTo>
                  <a:lnTo>
                    <a:pt x="620668" y="32223"/>
                  </a:lnTo>
                  <a:lnTo>
                    <a:pt x="620668" y="32071"/>
                  </a:lnTo>
                  <a:close/>
                  <a:moveTo>
                    <a:pt x="703155" y="163611"/>
                  </a:moveTo>
                  <a:cubicBezTo>
                    <a:pt x="699449" y="170736"/>
                    <a:pt x="695601" y="172669"/>
                    <a:pt x="689229" y="172669"/>
                  </a:cubicBezTo>
                  <a:cubicBezTo>
                    <a:pt x="680495" y="172669"/>
                    <a:pt x="672351" y="168059"/>
                    <a:pt x="672351" y="159896"/>
                  </a:cubicBezTo>
                  <a:cubicBezTo>
                    <a:pt x="672351" y="157372"/>
                    <a:pt x="673094" y="155000"/>
                    <a:pt x="674570" y="152029"/>
                  </a:cubicBezTo>
                  <a:lnTo>
                    <a:pt x="741512" y="22422"/>
                  </a:lnTo>
                  <a:cubicBezTo>
                    <a:pt x="751284" y="3562"/>
                    <a:pt x="756618" y="152"/>
                    <a:pt x="768315" y="152"/>
                  </a:cubicBezTo>
                  <a:cubicBezTo>
                    <a:pt x="781050" y="152"/>
                    <a:pt x="785346" y="5344"/>
                    <a:pt x="788756" y="22422"/>
                  </a:cubicBezTo>
                  <a:lnTo>
                    <a:pt x="815407" y="153219"/>
                  </a:lnTo>
                  <a:cubicBezTo>
                    <a:pt x="815854" y="155886"/>
                    <a:pt x="816150" y="157667"/>
                    <a:pt x="816150" y="159601"/>
                  </a:cubicBezTo>
                  <a:cubicBezTo>
                    <a:pt x="816150" y="169107"/>
                    <a:pt x="805634" y="172517"/>
                    <a:pt x="797043" y="172517"/>
                  </a:cubicBezTo>
                  <a:cubicBezTo>
                    <a:pt x="792156" y="172517"/>
                    <a:pt x="787565" y="169993"/>
                    <a:pt x="786089" y="163163"/>
                  </a:cubicBezTo>
                  <a:lnTo>
                    <a:pt x="781498" y="140894"/>
                  </a:lnTo>
                  <a:cubicBezTo>
                    <a:pt x="781050" y="138665"/>
                    <a:pt x="780307" y="137484"/>
                    <a:pt x="778383" y="137484"/>
                  </a:cubicBezTo>
                  <a:lnTo>
                    <a:pt x="718995" y="137484"/>
                  </a:lnTo>
                  <a:cubicBezTo>
                    <a:pt x="717071" y="137484"/>
                    <a:pt x="716042" y="138665"/>
                    <a:pt x="714851" y="140894"/>
                  </a:cubicBezTo>
                  <a:lnTo>
                    <a:pt x="703155" y="163458"/>
                  </a:lnTo>
                  <a:lnTo>
                    <a:pt x="703155" y="163611"/>
                  </a:lnTo>
                  <a:close/>
                  <a:moveTo>
                    <a:pt x="772316" y="106747"/>
                  </a:moveTo>
                  <a:cubicBezTo>
                    <a:pt x="773792" y="106747"/>
                    <a:pt x="774830" y="106004"/>
                    <a:pt x="774830" y="104966"/>
                  </a:cubicBezTo>
                  <a:cubicBezTo>
                    <a:pt x="774830" y="104518"/>
                    <a:pt x="774830" y="103775"/>
                    <a:pt x="774535" y="101851"/>
                  </a:cubicBezTo>
                  <a:lnTo>
                    <a:pt x="765943" y="47654"/>
                  </a:lnTo>
                  <a:cubicBezTo>
                    <a:pt x="765505" y="44244"/>
                    <a:pt x="765505" y="39786"/>
                    <a:pt x="763724" y="39786"/>
                  </a:cubicBezTo>
                  <a:cubicBezTo>
                    <a:pt x="761943" y="39786"/>
                    <a:pt x="761057" y="44244"/>
                    <a:pt x="759285" y="47654"/>
                  </a:cubicBezTo>
                  <a:lnTo>
                    <a:pt x="733215" y="101851"/>
                  </a:lnTo>
                  <a:cubicBezTo>
                    <a:pt x="732177" y="103775"/>
                    <a:pt x="732034" y="104813"/>
                    <a:pt x="732034" y="105261"/>
                  </a:cubicBezTo>
                  <a:cubicBezTo>
                    <a:pt x="732034" y="106299"/>
                    <a:pt x="732473" y="106747"/>
                    <a:pt x="733958" y="106747"/>
                  </a:cubicBezTo>
                  <a:lnTo>
                    <a:pt x="772316" y="106747"/>
                  </a:lnTo>
                  <a:close/>
                  <a:moveTo>
                    <a:pt x="909742" y="30290"/>
                  </a:moveTo>
                  <a:cubicBezTo>
                    <a:pt x="899970" y="30290"/>
                    <a:pt x="884120" y="34147"/>
                    <a:pt x="884120" y="48101"/>
                  </a:cubicBezTo>
                  <a:cubicBezTo>
                    <a:pt x="884120" y="55226"/>
                    <a:pt x="891235" y="59836"/>
                    <a:pt x="901894" y="65027"/>
                  </a:cubicBezTo>
                  <a:lnTo>
                    <a:pt x="922630" y="75124"/>
                  </a:lnTo>
                  <a:cubicBezTo>
                    <a:pt x="944842" y="85963"/>
                    <a:pt x="957139" y="100508"/>
                    <a:pt x="957139" y="120853"/>
                  </a:cubicBezTo>
                  <a:cubicBezTo>
                    <a:pt x="957139" y="154705"/>
                    <a:pt x="927364" y="172517"/>
                    <a:pt x="894045" y="172517"/>
                  </a:cubicBezTo>
                  <a:cubicBezTo>
                    <a:pt x="870347" y="172517"/>
                    <a:pt x="849325" y="164649"/>
                    <a:pt x="834962" y="148314"/>
                  </a:cubicBezTo>
                  <a:cubicBezTo>
                    <a:pt x="832971" y="146123"/>
                    <a:pt x="831856" y="143266"/>
                    <a:pt x="831847" y="140303"/>
                  </a:cubicBezTo>
                  <a:cubicBezTo>
                    <a:pt x="831847" y="131693"/>
                    <a:pt x="840581" y="123082"/>
                    <a:pt x="850363" y="123082"/>
                  </a:cubicBezTo>
                  <a:cubicBezTo>
                    <a:pt x="854507" y="123082"/>
                    <a:pt x="857907" y="125749"/>
                    <a:pt x="860870" y="128426"/>
                  </a:cubicBezTo>
                  <a:cubicBezTo>
                    <a:pt x="868718" y="135846"/>
                    <a:pt x="878500" y="142380"/>
                    <a:pt x="896560" y="142380"/>
                  </a:cubicBezTo>
                  <a:cubicBezTo>
                    <a:pt x="907523" y="142380"/>
                    <a:pt x="923373" y="138227"/>
                    <a:pt x="923373" y="123520"/>
                  </a:cubicBezTo>
                  <a:cubicBezTo>
                    <a:pt x="923373" y="115510"/>
                    <a:pt x="917743" y="109271"/>
                    <a:pt x="906780" y="104223"/>
                  </a:cubicBezTo>
                  <a:lnTo>
                    <a:pt x="885606" y="94126"/>
                  </a:lnTo>
                  <a:cubicBezTo>
                    <a:pt x="863394" y="83591"/>
                    <a:pt x="850363" y="71561"/>
                    <a:pt x="850363" y="49292"/>
                  </a:cubicBezTo>
                  <a:cubicBezTo>
                    <a:pt x="850363" y="18412"/>
                    <a:pt x="878643" y="0"/>
                    <a:pt x="911666" y="0"/>
                  </a:cubicBezTo>
                  <a:cubicBezTo>
                    <a:pt x="929592" y="0"/>
                    <a:pt x="947356" y="3715"/>
                    <a:pt x="962025" y="16631"/>
                  </a:cubicBezTo>
                  <a:cubicBezTo>
                    <a:pt x="964987" y="19155"/>
                    <a:pt x="967349" y="22565"/>
                    <a:pt x="967349" y="27165"/>
                  </a:cubicBezTo>
                  <a:cubicBezTo>
                    <a:pt x="967349" y="35785"/>
                    <a:pt x="958768" y="44396"/>
                    <a:pt x="950319" y="44396"/>
                  </a:cubicBezTo>
                  <a:cubicBezTo>
                    <a:pt x="946175" y="44396"/>
                    <a:pt x="942327" y="42167"/>
                    <a:pt x="940108" y="40529"/>
                  </a:cubicBezTo>
                  <a:cubicBezTo>
                    <a:pt x="931364" y="33699"/>
                    <a:pt x="921591" y="30290"/>
                    <a:pt x="909895" y="30290"/>
                  </a:cubicBezTo>
                  <a:lnTo>
                    <a:pt x="909742" y="30290"/>
                  </a:lnTo>
                  <a:close/>
                  <a:moveTo>
                    <a:pt x="1097232" y="1191"/>
                  </a:moveTo>
                  <a:cubicBezTo>
                    <a:pt x="1107005" y="1191"/>
                    <a:pt x="1110415" y="7572"/>
                    <a:pt x="1110415" y="14697"/>
                  </a:cubicBezTo>
                  <a:cubicBezTo>
                    <a:pt x="1110415" y="24051"/>
                    <a:pt x="1104491" y="32071"/>
                    <a:pt x="1091603" y="32071"/>
                  </a:cubicBezTo>
                  <a:lnTo>
                    <a:pt x="1031919" y="32071"/>
                  </a:lnTo>
                  <a:cubicBezTo>
                    <a:pt x="1030148" y="32071"/>
                    <a:pt x="1029557" y="32518"/>
                    <a:pt x="1029262" y="34300"/>
                  </a:cubicBezTo>
                  <a:lnTo>
                    <a:pt x="1024366" y="66065"/>
                  </a:lnTo>
                  <a:cubicBezTo>
                    <a:pt x="1024071" y="67847"/>
                    <a:pt x="1024366" y="68294"/>
                    <a:pt x="1026147" y="68294"/>
                  </a:cubicBezTo>
                  <a:lnTo>
                    <a:pt x="1077239" y="68294"/>
                  </a:lnTo>
                  <a:cubicBezTo>
                    <a:pt x="1087012" y="68294"/>
                    <a:pt x="1090422" y="74676"/>
                    <a:pt x="1090422" y="81801"/>
                  </a:cubicBezTo>
                  <a:cubicBezTo>
                    <a:pt x="1090422" y="91154"/>
                    <a:pt x="1084498" y="99174"/>
                    <a:pt x="1071610" y="99174"/>
                  </a:cubicBezTo>
                  <a:lnTo>
                    <a:pt x="1021261" y="99174"/>
                  </a:lnTo>
                  <a:cubicBezTo>
                    <a:pt x="1019480" y="99174"/>
                    <a:pt x="1019042" y="99622"/>
                    <a:pt x="1018746" y="101403"/>
                  </a:cubicBezTo>
                  <a:lnTo>
                    <a:pt x="1012822" y="138665"/>
                  </a:lnTo>
                  <a:cubicBezTo>
                    <a:pt x="1012527" y="140446"/>
                    <a:pt x="1012822" y="140894"/>
                    <a:pt x="1014594" y="140894"/>
                  </a:cubicBezTo>
                  <a:lnTo>
                    <a:pt x="1077392" y="140894"/>
                  </a:lnTo>
                  <a:cubicBezTo>
                    <a:pt x="1087165" y="140894"/>
                    <a:pt x="1090565" y="147276"/>
                    <a:pt x="1090565" y="154400"/>
                  </a:cubicBezTo>
                  <a:cubicBezTo>
                    <a:pt x="1090565" y="163754"/>
                    <a:pt x="1084650" y="171774"/>
                    <a:pt x="1071763" y="171774"/>
                  </a:cubicBezTo>
                  <a:lnTo>
                    <a:pt x="990162" y="171774"/>
                  </a:lnTo>
                  <a:cubicBezTo>
                    <a:pt x="980827" y="171774"/>
                    <a:pt x="976684" y="166583"/>
                    <a:pt x="978170" y="157372"/>
                  </a:cubicBezTo>
                  <a:lnTo>
                    <a:pt x="1000382" y="15888"/>
                  </a:lnTo>
                  <a:cubicBezTo>
                    <a:pt x="1001859" y="6534"/>
                    <a:pt x="1007040" y="1486"/>
                    <a:pt x="1016822" y="1486"/>
                  </a:cubicBezTo>
                  <a:lnTo>
                    <a:pt x="1097232" y="1486"/>
                  </a:lnTo>
                  <a:lnTo>
                    <a:pt x="1097232" y="1191"/>
                  </a:lnTo>
                  <a:close/>
                  <a:moveTo>
                    <a:pt x="1190682" y="108233"/>
                  </a:moveTo>
                  <a:cubicBezTo>
                    <a:pt x="1189644" y="106004"/>
                    <a:pt x="1189196" y="106004"/>
                    <a:pt x="1187272" y="106004"/>
                  </a:cubicBezTo>
                  <a:lnTo>
                    <a:pt x="1160469" y="106004"/>
                  </a:lnTo>
                  <a:cubicBezTo>
                    <a:pt x="1158688" y="106004"/>
                    <a:pt x="1157954" y="106451"/>
                    <a:pt x="1157802" y="108233"/>
                  </a:cubicBezTo>
                  <a:lnTo>
                    <a:pt x="1149810" y="159153"/>
                  </a:lnTo>
                  <a:cubicBezTo>
                    <a:pt x="1148029" y="169993"/>
                    <a:pt x="1141219" y="172669"/>
                    <a:pt x="1132037" y="172669"/>
                  </a:cubicBezTo>
                  <a:cubicBezTo>
                    <a:pt x="1125226" y="172669"/>
                    <a:pt x="1117816" y="170145"/>
                    <a:pt x="1117816" y="161677"/>
                  </a:cubicBezTo>
                  <a:cubicBezTo>
                    <a:pt x="1117816" y="160201"/>
                    <a:pt x="1118264" y="156486"/>
                    <a:pt x="1119007" y="152629"/>
                  </a:cubicBezTo>
                  <a:lnTo>
                    <a:pt x="1140771" y="15735"/>
                  </a:lnTo>
                  <a:cubicBezTo>
                    <a:pt x="1142257" y="6382"/>
                    <a:pt x="1147439" y="1333"/>
                    <a:pt x="1157211" y="1333"/>
                  </a:cubicBezTo>
                  <a:lnTo>
                    <a:pt x="1215857" y="1333"/>
                  </a:lnTo>
                  <a:cubicBezTo>
                    <a:pt x="1242222" y="1333"/>
                    <a:pt x="1260139" y="16335"/>
                    <a:pt x="1260139" y="43501"/>
                  </a:cubicBezTo>
                  <a:cubicBezTo>
                    <a:pt x="1260139" y="67999"/>
                    <a:pt x="1249175" y="92945"/>
                    <a:pt x="1224296" y="103184"/>
                  </a:cubicBezTo>
                  <a:cubicBezTo>
                    <a:pt x="1223115" y="103632"/>
                    <a:pt x="1222524" y="104223"/>
                    <a:pt x="1222524" y="104966"/>
                  </a:cubicBezTo>
                  <a:cubicBezTo>
                    <a:pt x="1222524" y="105413"/>
                    <a:pt x="1222820" y="106004"/>
                    <a:pt x="1222820" y="106004"/>
                  </a:cubicBezTo>
                  <a:lnTo>
                    <a:pt x="1242365" y="150847"/>
                  </a:lnTo>
                  <a:cubicBezTo>
                    <a:pt x="1243108" y="152771"/>
                    <a:pt x="1244879" y="155743"/>
                    <a:pt x="1244879" y="159458"/>
                  </a:cubicBezTo>
                  <a:cubicBezTo>
                    <a:pt x="1244879" y="168069"/>
                    <a:pt x="1233630" y="172964"/>
                    <a:pt x="1225782" y="172964"/>
                  </a:cubicBezTo>
                  <a:cubicBezTo>
                    <a:pt x="1220448" y="172964"/>
                    <a:pt x="1216743" y="170288"/>
                    <a:pt x="1214228" y="164354"/>
                  </a:cubicBezTo>
                  <a:lnTo>
                    <a:pt x="1190978" y="108528"/>
                  </a:lnTo>
                  <a:lnTo>
                    <a:pt x="1190682" y="108233"/>
                  </a:lnTo>
                  <a:close/>
                  <a:moveTo>
                    <a:pt x="1205046" y="75419"/>
                  </a:moveTo>
                  <a:cubicBezTo>
                    <a:pt x="1220448" y="75419"/>
                    <a:pt x="1226372" y="61017"/>
                    <a:pt x="1226372" y="49139"/>
                  </a:cubicBezTo>
                  <a:cubicBezTo>
                    <a:pt x="1226372" y="38310"/>
                    <a:pt x="1219562" y="31775"/>
                    <a:pt x="1209789" y="31775"/>
                  </a:cubicBezTo>
                  <a:lnTo>
                    <a:pt x="1172166" y="31775"/>
                  </a:lnTo>
                  <a:cubicBezTo>
                    <a:pt x="1170394" y="31775"/>
                    <a:pt x="1169651" y="32223"/>
                    <a:pt x="1169499" y="34004"/>
                  </a:cubicBezTo>
                  <a:lnTo>
                    <a:pt x="1163431" y="73200"/>
                  </a:lnTo>
                  <a:cubicBezTo>
                    <a:pt x="1163136" y="74981"/>
                    <a:pt x="1163726" y="75419"/>
                    <a:pt x="1165355" y="75419"/>
                  </a:cubicBezTo>
                  <a:lnTo>
                    <a:pt x="1205198" y="75419"/>
                  </a:lnTo>
                  <a:lnTo>
                    <a:pt x="1205046" y="75419"/>
                  </a:lnTo>
                  <a:close/>
                </a:path>
              </a:pathLst>
            </a:custGeom>
            <a:solidFill>
              <a:srgbClr val="00ADEE"/>
            </a:solidFill>
            <a:ln w="9525" cap="flat">
              <a:noFill/>
              <a:prstDash val="solid"/>
              <a:miter/>
            </a:ln>
          </p:spPr>
          <p:txBody>
            <a:bodyPr rtlCol="0" anchor="ctr"/>
            <a:lstStyle/>
            <a:p>
              <a:endParaRPr lang="en-GB" sz="1800"/>
            </a:p>
          </p:txBody>
        </p:sp>
        <p:sp>
          <p:nvSpPr>
            <p:cNvPr id="50" name="Freeform: Shape 55">
              <a:extLst>
                <a:ext uri="{FF2B5EF4-FFF2-40B4-BE49-F238E27FC236}">
                  <a16:creationId xmlns:a16="http://schemas.microsoft.com/office/drawing/2014/main" id="{525DDD2C-80A5-7731-C2D7-11AED693B7AE}"/>
                </a:ext>
              </a:extLst>
            </p:cNvPr>
            <p:cNvSpPr/>
            <p:nvPr/>
          </p:nvSpPr>
          <p:spPr>
            <a:xfrm>
              <a:off x="4069517" y="3293373"/>
              <a:ext cx="1273016" cy="164201"/>
            </a:xfrm>
            <a:custGeom>
              <a:avLst/>
              <a:gdLst>
                <a:gd name="connsiteX0" fmla="*/ 76714 w 1273016"/>
                <a:gd name="connsiteY0" fmla="*/ 0 h 164201"/>
                <a:gd name="connsiteX1" fmla="*/ 127654 w 1273016"/>
                <a:gd name="connsiteY1" fmla="*/ 48254 h 164201"/>
                <a:gd name="connsiteX2" fmla="*/ 124701 w 1273016"/>
                <a:gd name="connsiteY2" fmla="*/ 82096 h 164201"/>
                <a:gd name="connsiteX3" fmla="*/ 50940 w 1273016"/>
                <a:gd name="connsiteY3" fmla="*/ 164201 h 164201"/>
                <a:gd name="connsiteX4" fmla="*/ 0 w 1273016"/>
                <a:gd name="connsiteY4" fmla="*/ 116396 h 164201"/>
                <a:gd name="connsiteX5" fmla="*/ 3258 w 1273016"/>
                <a:gd name="connsiteY5" fmla="*/ 82096 h 164201"/>
                <a:gd name="connsiteX6" fmla="*/ 76714 w 1273016"/>
                <a:gd name="connsiteY6" fmla="*/ 0 h 164201"/>
                <a:gd name="connsiteX7" fmla="*/ 96403 w 1273016"/>
                <a:gd name="connsiteY7" fmla="*/ 52702 h 164201"/>
                <a:gd name="connsiteX8" fmla="*/ 72266 w 1273016"/>
                <a:gd name="connsiteY8" fmla="*/ 28946 h 164201"/>
                <a:gd name="connsiteX9" fmla="*/ 34642 w 1273016"/>
                <a:gd name="connsiteY9" fmla="*/ 82096 h 164201"/>
                <a:gd name="connsiteX10" fmla="*/ 31099 w 1273016"/>
                <a:gd name="connsiteY10" fmla="*/ 111642 h 164201"/>
                <a:gd name="connsiteX11" fmla="*/ 55531 w 1273016"/>
                <a:gd name="connsiteY11" fmla="*/ 135255 h 164201"/>
                <a:gd name="connsiteX12" fmla="*/ 93155 w 1273016"/>
                <a:gd name="connsiteY12" fmla="*/ 82096 h 164201"/>
                <a:gd name="connsiteX13" fmla="*/ 96403 w 1273016"/>
                <a:gd name="connsiteY13" fmla="*/ 52702 h 164201"/>
                <a:gd name="connsiteX14" fmla="*/ 209398 w 1273016"/>
                <a:gd name="connsiteY14" fmla="*/ 28651 h 164201"/>
                <a:gd name="connsiteX15" fmla="*/ 184966 w 1273016"/>
                <a:gd name="connsiteY15" fmla="*/ 45729 h 164201"/>
                <a:gd name="connsiteX16" fmla="*/ 201997 w 1273016"/>
                <a:gd name="connsiteY16" fmla="*/ 61760 h 164201"/>
                <a:gd name="connsiteX17" fmla="*/ 221694 w 1273016"/>
                <a:gd name="connsiteY17" fmla="*/ 71266 h 164201"/>
                <a:gd name="connsiteX18" fmla="*/ 254422 w 1273016"/>
                <a:gd name="connsiteY18" fmla="*/ 114910 h 164201"/>
                <a:gd name="connsiteX19" fmla="*/ 194443 w 1273016"/>
                <a:gd name="connsiteY19" fmla="*/ 164049 h 164201"/>
                <a:gd name="connsiteX20" fmla="*/ 138170 w 1273016"/>
                <a:gd name="connsiteY20" fmla="*/ 141037 h 164201"/>
                <a:gd name="connsiteX21" fmla="*/ 135207 w 1273016"/>
                <a:gd name="connsiteY21" fmla="*/ 133321 h 164201"/>
                <a:gd name="connsiteX22" fmla="*/ 152829 w 1273016"/>
                <a:gd name="connsiteY22" fmla="*/ 116986 h 164201"/>
                <a:gd name="connsiteX23" fmla="*/ 162906 w 1273016"/>
                <a:gd name="connsiteY23" fmla="*/ 122187 h 164201"/>
                <a:gd name="connsiteX24" fmla="*/ 196815 w 1273016"/>
                <a:gd name="connsiteY24" fmla="*/ 135398 h 164201"/>
                <a:gd name="connsiteX25" fmla="*/ 222437 w 1273016"/>
                <a:gd name="connsiteY25" fmla="*/ 117434 h 164201"/>
                <a:gd name="connsiteX26" fmla="*/ 206588 w 1273016"/>
                <a:gd name="connsiteY26" fmla="*/ 99022 h 164201"/>
                <a:gd name="connsiteX27" fmla="*/ 186300 w 1273016"/>
                <a:gd name="connsiteY27" fmla="*/ 89525 h 164201"/>
                <a:gd name="connsiteX28" fmla="*/ 152829 w 1273016"/>
                <a:gd name="connsiteY28" fmla="*/ 46911 h 164201"/>
                <a:gd name="connsiteX29" fmla="*/ 211179 w 1273016"/>
                <a:gd name="connsiteY29" fmla="*/ 0 h 164201"/>
                <a:gd name="connsiteX30" fmla="*/ 259013 w 1273016"/>
                <a:gd name="connsiteY30" fmla="*/ 15888 h 164201"/>
                <a:gd name="connsiteX31" fmla="*/ 264195 w 1273016"/>
                <a:gd name="connsiteY31" fmla="*/ 25975 h 164201"/>
                <a:gd name="connsiteX32" fmla="*/ 247907 w 1273016"/>
                <a:gd name="connsiteY32" fmla="*/ 42310 h 164201"/>
                <a:gd name="connsiteX33" fmla="*/ 238135 w 1273016"/>
                <a:gd name="connsiteY33" fmla="*/ 38595 h 164201"/>
                <a:gd name="connsiteX34" fmla="*/ 209255 w 1273016"/>
                <a:gd name="connsiteY34" fmla="*/ 28804 h 164201"/>
                <a:gd name="connsiteX35" fmla="*/ 209398 w 1273016"/>
                <a:gd name="connsiteY35" fmla="*/ 28651 h 164201"/>
                <a:gd name="connsiteX36" fmla="*/ 291741 w 1273016"/>
                <a:gd name="connsiteY36" fmla="*/ 30289 h 164201"/>
                <a:gd name="connsiteX37" fmla="*/ 279454 w 1273016"/>
                <a:gd name="connsiteY37" fmla="*/ 17517 h 164201"/>
                <a:gd name="connsiteX38" fmla="*/ 295894 w 1273016"/>
                <a:gd name="connsiteY38" fmla="*/ 886 h 164201"/>
                <a:gd name="connsiteX39" fmla="*/ 385934 w 1273016"/>
                <a:gd name="connsiteY39" fmla="*/ 886 h 164201"/>
                <a:gd name="connsiteX40" fmla="*/ 398516 w 1273016"/>
                <a:gd name="connsiteY40" fmla="*/ 13659 h 164201"/>
                <a:gd name="connsiteX41" fmla="*/ 380600 w 1273016"/>
                <a:gd name="connsiteY41" fmla="*/ 30137 h 164201"/>
                <a:gd name="connsiteX42" fmla="*/ 353797 w 1273016"/>
                <a:gd name="connsiteY42" fmla="*/ 30137 h 164201"/>
                <a:gd name="connsiteX43" fmla="*/ 351425 w 1273016"/>
                <a:gd name="connsiteY43" fmla="*/ 32214 h 164201"/>
                <a:gd name="connsiteX44" fmla="*/ 332613 w 1273016"/>
                <a:gd name="connsiteY44" fmla="*/ 151133 h 164201"/>
                <a:gd name="connsiteX45" fmla="*/ 315582 w 1273016"/>
                <a:gd name="connsiteY45" fmla="*/ 163906 h 164201"/>
                <a:gd name="connsiteX46" fmla="*/ 302114 w 1273016"/>
                <a:gd name="connsiteY46" fmla="*/ 153362 h 164201"/>
                <a:gd name="connsiteX47" fmla="*/ 303295 w 1273016"/>
                <a:gd name="connsiteY47" fmla="*/ 144751 h 164201"/>
                <a:gd name="connsiteX48" fmla="*/ 321212 w 1273016"/>
                <a:gd name="connsiteY48" fmla="*/ 32214 h 164201"/>
                <a:gd name="connsiteX49" fmla="*/ 319288 w 1273016"/>
                <a:gd name="connsiteY49" fmla="*/ 30137 h 164201"/>
                <a:gd name="connsiteX50" fmla="*/ 291598 w 1273016"/>
                <a:gd name="connsiteY50" fmla="*/ 30137 h 164201"/>
                <a:gd name="connsiteX51" fmla="*/ 291741 w 1273016"/>
                <a:gd name="connsiteY51" fmla="*/ 30289 h 164201"/>
                <a:gd name="connsiteX52" fmla="*/ 421472 w 1273016"/>
                <a:gd name="connsiteY52" fmla="*/ 14697 h 164201"/>
                <a:gd name="connsiteX53" fmla="*/ 437026 w 1273016"/>
                <a:gd name="connsiteY53" fmla="*/ 886 h 164201"/>
                <a:gd name="connsiteX54" fmla="*/ 488861 w 1273016"/>
                <a:gd name="connsiteY54" fmla="*/ 886 h 164201"/>
                <a:gd name="connsiteX55" fmla="*/ 533286 w 1273016"/>
                <a:gd name="connsiteY55" fmla="*/ 39786 h 164201"/>
                <a:gd name="connsiteX56" fmla="*/ 515807 w 1273016"/>
                <a:gd name="connsiteY56" fmla="*/ 77353 h 164201"/>
                <a:gd name="connsiteX57" fmla="*/ 513436 w 1273016"/>
                <a:gd name="connsiteY57" fmla="*/ 80172 h 164201"/>
                <a:gd name="connsiteX58" fmla="*/ 515064 w 1273016"/>
                <a:gd name="connsiteY58" fmla="*/ 82696 h 164201"/>
                <a:gd name="connsiteX59" fmla="*/ 526180 w 1273016"/>
                <a:gd name="connsiteY59" fmla="*/ 110014 h 164201"/>
                <a:gd name="connsiteX60" fmla="*/ 467982 w 1273016"/>
                <a:gd name="connsiteY60" fmla="*/ 163163 h 164201"/>
                <a:gd name="connsiteX61" fmla="*/ 411699 w 1273016"/>
                <a:gd name="connsiteY61" fmla="*/ 163163 h 164201"/>
                <a:gd name="connsiteX62" fmla="*/ 400002 w 1273016"/>
                <a:gd name="connsiteY62" fmla="*/ 149352 h 164201"/>
                <a:gd name="connsiteX63" fmla="*/ 421176 w 1273016"/>
                <a:gd name="connsiteY63" fmla="*/ 14545 h 164201"/>
                <a:gd name="connsiteX64" fmla="*/ 421472 w 1273016"/>
                <a:gd name="connsiteY64" fmla="*/ 14697 h 164201"/>
                <a:gd name="connsiteX65" fmla="*/ 441017 w 1273016"/>
                <a:gd name="connsiteY65" fmla="*/ 96355 h 164201"/>
                <a:gd name="connsiteX66" fmla="*/ 438502 w 1273016"/>
                <a:gd name="connsiteY66" fmla="*/ 98431 h 164201"/>
                <a:gd name="connsiteX67" fmla="*/ 433321 w 1273016"/>
                <a:gd name="connsiteY67" fmla="*/ 131836 h 164201"/>
                <a:gd name="connsiteX68" fmla="*/ 434950 w 1273016"/>
                <a:gd name="connsiteY68" fmla="*/ 133912 h 164201"/>
                <a:gd name="connsiteX69" fmla="*/ 473307 w 1273016"/>
                <a:gd name="connsiteY69" fmla="*/ 133912 h 164201"/>
                <a:gd name="connsiteX70" fmla="*/ 494481 w 1273016"/>
                <a:gd name="connsiteY70" fmla="*/ 112681 h 164201"/>
                <a:gd name="connsiteX71" fmla="*/ 478641 w 1273016"/>
                <a:gd name="connsiteY71" fmla="*/ 96355 h 164201"/>
                <a:gd name="connsiteX72" fmla="*/ 441017 w 1273016"/>
                <a:gd name="connsiteY72" fmla="*/ 96355 h 164201"/>
                <a:gd name="connsiteX73" fmla="*/ 480565 w 1273016"/>
                <a:gd name="connsiteY73" fmla="*/ 66951 h 164201"/>
                <a:gd name="connsiteX74" fmla="*/ 501301 w 1273016"/>
                <a:gd name="connsiteY74" fmla="*/ 44987 h 164201"/>
                <a:gd name="connsiteX75" fmla="*/ 485746 w 1273016"/>
                <a:gd name="connsiteY75" fmla="*/ 30289 h 164201"/>
                <a:gd name="connsiteX76" fmla="*/ 451533 w 1273016"/>
                <a:gd name="connsiteY76" fmla="*/ 30289 h 164201"/>
                <a:gd name="connsiteX77" fmla="*/ 449018 w 1273016"/>
                <a:gd name="connsiteY77" fmla="*/ 32366 h 164201"/>
                <a:gd name="connsiteX78" fmla="*/ 443836 w 1273016"/>
                <a:gd name="connsiteY78" fmla="*/ 64732 h 164201"/>
                <a:gd name="connsiteX79" fmla="*/ 445760 w 1273016"/>
                <a:gd name="connsiteY79" fmla="*/ 66808 h 164201"/>
                <a:gd name="connsiteX80" fmla="*/ 480565 w 1273016"/>
                <a:gd name="connsiteY80" fmla="*/ 66808 h 164201"/>
                <a:gd name="connsiteX81" fmla="*/ 480565 w 1273016"/>
                <a:gd name="connsiteY81" fmla="*/ 66951 h 164201"/>
                <a:gd name="connsiteX82" fmla="*/ 660797 w 1273016"/>
                <a:gd name="connsiteY82" fmla="*/ 886 h 164201"/>
                <a:gd name="connsiteX83" fmla="*/ 673379 w 1273016"/>
                <a:gd name="connsiteY83" fmla="*/ 13659 h 164201"/>
                <a:gd name="connsiteX84" fmla="*/ 655463 w 1273016"/>
                <a:gd name="connsiteY84" fmla="*/ 30137 h 164201"/>
                <a:gd name="connsiteX85" fmla="*/ 598742 w 1273016"/>
                <a:gd name="connsiteY85" fmla="*/ 30137 h 164201"/>
                <a:gd name="connsiteX86" fmla="*/ 596227 w 1273016"/>
                <a:gd name="connsiteY86" fmla="*/ 32214 h 164201"/>
                <a:gd name="connsiteX87" fmla="*/ 591636 w 1273016"/>
                <a:gd name="connsiteY87" fmla="*/ 62503 h 164201"/>
                <a:gd name="connsiteX88" fmla="*/ 593265 w 1273016"/>
                <a:gd name="connsiteY88" fmla="*/ 64579 h 164201"/>
                <a:gd name="connsiteX89" fmla="*/ 641842 w 1273016"/>
                <a:gd name="connsiteY89" fmla="*/ 64579 h 164201"/>
                <a:gd name="connsiteX90" fmla="*/ 654425 w 1273016"/>
                <a:gd name="connsiteY90" fmla="*/ 77353 h 164201"/>
                <a:gd name="connsiteX91" fmla="*/ 636508 w 1273016"/>
                <a:gd name="connsiteY91" fmla="*/ 93974 h 164201"/>
                <a:gd name="connsiteX92" fmla="*/ 588674 w 1273016"/>
                <a:gd name="connsiteY92" fmla="*/ 93974 h 164201"/>
                <a:gd name="connsiteX93" fmla="*/ 586302 w 1273016"/>
                <a:gd name="connsiteY93" fmla="*/ 96060 h 164201"/>
                <a:gd name="connsiteX94" fmla="*/ 580682 w 1273016"/>
                <a:gd name="connsiteY94" fmla="*/ 131540 h 164201"/>
                <a:gd name="connsiteX95" fmla="*/ 582301 w 1273016"/>
                <a:gd name="connsiteY95" fmla="*/ 133617 h 164201"/>
                <a:gd name="connsiteX96" fmla="*/ 642137 w 1273016"/>
                <a:gd name="connsiteY96" fmla="*/ 133617 h 164201"/>
                <a:gd name="connsiteX97" fmla="*/ 654720 w 1273016"/>
                <a:gd name="connsiteY97" fmla="*/ 146390 h 164201"/>
                <a:gd name="connsiteX98" fmla="*/ 636803 w 1273016"/>
                <a:gd name="connsiteY98" fmla="*/ 163011 h 164201"/>
                <a:gd name="connsiteX99" fmla="*/ 559203 w 1273016"/>
                <a:gd name="connsiteY99" fmla="*/ 163011 h 164201"/>
                <a:gd name="connsiteX100" fmla="*/ 547802 w 1273016"/>
                <a:gd name="connsiteY100" fmla="*/ 149209 h 164201"/>
                <a:gd name="connsiteX101" fmla="*/ 568976 w 1273016"/>
                <a:gd name="connsiteY101" fmla="*/ 14402 h 164201"/>
                <a:gd name="connsiteX102" fmla="*/ 584530 w 1273016"/>
                <a:gd name="connsiteY102" fmla="*/ 591 h 164201"/>
                <a:gd name="connsiteX103" fmla="*/ 661092 w 1273016"/>
                <a:gd name="connsiteY103" fmla="*/ 591 h 164201"/>
                <a:gd name="connsiteX104" fmla="*/ 660797 w 1273016"/>
                <a:gd name="connsiteY104" fmla="*/ 886 h 164201"/>
                <a:gd name="connsiteX105" fmla="*/ 691601 w 1273016"/>
                <a:gd name="connsiteY105" fmla="*/ 163163 h 164201"/>
                <a:gd name="connsiteX106" fmla="*/ 680495 w 1273016"/>
                <a:gd name="connsiteY106" fmla="*/ 149352 h 164201"/>
                <a:gd name="connsiteX107" fmla="*/ 702116 w 1273016"/>
                <a:gd name="connsiteY107" fmla="*/ 12763 h 164201"/>
                <a:gd name="connsiteX108" fmla="*/ 719147 w 1273016"/>
                <a:gd name="connsiteY108" fmla="*/ 0 h 164201"/>
                <a:gd name="connsiteX109" fmla="*/ 732625 w 1273016"/>
                <a:gd name="connsiteY109" fmla="*/ 10535 h 164201"/>
                <a:gd name="connsiteX110" fmla="*/ 731434 w 1273016"/>
                <a:gd name="connsiteY110" fmla="*/ 19145 h 164201"/>
                <a:gd name="connsiteX111" fmla="*/ 713518 w 1273016"/>
                <a:gd name="connsiteY111" fmla="*/ 131683 h 164201"/>
                <a:gd name="connsiteX112" fmla="*/ 715299 w 1273016"/>
                <a:gd name="connsiteY112" fmla="*/ 133769 h 164201"/>
                <a:gd name="connsiteX113" fmla="*/ 763867 w 1273016"/>
                <a:gd name="connsiteY113" fmla="*/ 133769 h 164201"/>
                <a:gd name="connsiteX114" fmla="*/ 776459 w 1273016"/>
                <a:gd name="connsiteY114" fmla="*/ 146533 h 164201"/>
                <a:gd name="connsiteX115" fmla="*/ 758543 w 1273016"/>
                <a:gd name="connsiteY115" fmla="*/ 163163 h 164201"/>
                <a:gd name="connsiteX116" fmla="*/ 691601 w 1273016"/>
                <a:gd name="connsiteY116" fmla="*/ 163163 h 164201"/>
                <a:gd name="connsiteX117" fmla="*/ 798824 w 1273016"/>
                <a:gd name="connsiteY117" fmla="*/ 82096 h 164201"/>
                <a:gd name="connsiteX118" fmla="*/ 872576 w 1273016"/>
                <a:gd name="connsiteY118" fmla="*/ 0 h 164201"/>
                <a:gd name="connsiteX119" fmla="*/ 910628 w 1273016"/>
                <a:gd name="connsiteY119" fmla="*/ 11878 h 164201"/>
                <a:gd name="connsiteX120" fmla="*/ 916410 w 1273016"/>
                <a:gd name="connsiteY120" fmla="*/ 22412 h 164201"/>
                <a:gd name="connsiteX121" fmla="*/ 898931 w 1273016"/>
                <a:gd name="connsiteY121" fmla="*/ 40081 h 164201"/>
                <a:gd name="connsiteX122" fmla="*/ 891673 w 1273016"/>
                <a:gd name="connsiteY122" fmla="*/ 37709 h 164201"/>
                <a:gd name="connsiteX123" fmla="*/ 867680 w 1273016"/>
                <a:gd name="connsiteY123" fmla="*/ 28804 h 164201"/>
                <a:gd name="connsiteX124" fmla="*/ 830066 w 1273016"/>
                <a:gd name="connsiteY124" fmla="*/ 81953 h 164201"/>
                <a:gd name="connsiteX125" fmla="*/ 826513 w 1273016"/>
                <a:gd name="connsiteY125" fmla="*/ 111500 h 164201"/>
                <a:gd name="connsiteX126" fmla="*/ 850954 w 1273016"/>
                <a:gd name="connsiteY126" fmla="*/ 135103 h 164201"/>
                <a:gd name="connsiteX127" fmla="*/ 883682 w 1273016"/>
                <a:gd name="connsiteY127" fmla="*/ 107194 h 164201"/>
                <a:gd name="connsiteX128" fmla="*/ 885015 w 1273016"/>
                <a:gd name="connsiteY128" fmla="*/ 98279 h 164201"/>
                <a:gd name="connsiteX129" fmla="*/ 883387 w 1273016"/>
                <a:gd name="connsiteY129" fmla="*/ 96202 h 164201"/>
                <a:gd name="connsiteX130" fmla="*/ 869909 w 1273016"/>
                <a:gd name="connsiteY130" fmla="*/ 96202 h 164201"/>
                <a:gd name="connsiteX131" fmla="*/ 857612 w 1273016"/>
                <a:gd name="connsiteY131" fmla="*/ 83439 h 164201"/>
                <a:gd name="connsiteX132" fmla="*/ 873900 w 1273016"/>
                <a:gd name="connsiteY132" fmla="*/ 67104 h 164201"/>
                <a:gd name="connsiteX133" fmla="*/ 907666 w 1273016"/>
                <a:gd name="connsiteY133" fmla="*/ 67104 h 164201"/>
                <a:gd name="connsiteX134" fmla="*/ 917886 w 1273016"/>
                <a:gd name="connsiteY134" fmla="*/ 79429 h 164201"/>
                <a:gd name="connsiteX135" fmla="*/ 913448 w 1273016"/>
                <a:gd name="connsiteY135" fmla="*/ 107337 h 164201"/>
                <a:gd name="connsiteX136" fmla="*/ 846211 w 1273016"/>
                <a:gd name="connsiteY136" fmla="*/ 164049 h 164201"/>
                <a:gd name="connsiteX137" fmla="*/ 795261 w 1273016"/>
                <a:gd name="connsiteY137" fmla="*/ 116243 h 164201"/>
                <a:gd name="connsiteX138" fmla="*/ 798528 w 1273016"/>
                <a:gd name="connsiteY138" fmla="*/ 81953 h 164201"/>
                <a:gd name="connsiteX139" fmla="*/ 798824 w 1273016"/>
                <a:gd name="connsiteY139" fmla="*/ 82096 h 164201"/>
                <a:gd name="connsiteX140" fmla="*/ 963206 w 1273016"/>
                <a:gd name="connsiteY140" fmla="*/ 151286 h 164201"/>
                <a:gd name="connsiteX141" fmla="*/ 946175 w 1273016"/>
                <a:gd name="connsiteY141" fmla="*/ 164049 h 164201"/>
                <a:gd name="connsiteX142" fmla="*/ 932698 w 1273016"/>
                <a:gd name="connsiteY142" fmla="*/ 153514 h 164201"/>
                <a:gd name="connsiteX143" fmla="*/ 933879 w 1273016"/>
                <a:gd name="connsiteY143" fmla="*/ 144904 h 164201"/>
                <a:gd name="connsiteX144" fmla="*/ 955062 w 1273016"/>
                <a:gd name="connsiteY144" fmla="*/ 12763 h 164201"/>
                <a:gd name="connsiteX145" fmla="*/ 972093 w 1273016"/>
                <a:gd name="connsiteY145" fmla="*/ 0 h 164201"/>
                <a:gd name="connsiteX146" fmla="*/ 985571 w 1273016"/>
                <a:gd name="connsiteY146" fmla="*/ 10535 h 164201"/>
                <a:gd name="connsiteX147" fmla="*/ 984390 w 1273016"/>
                <a:gd name="connsiteY147" fmla="*/ 19145 h 164201"/>
                <a:gd name="connsiteX148" fmla="*/ 963206 w 1273016"/>
                <a:gd name="connsiteY148" fmla="*/ 151286 h 164201"/>
                <a:gd name="connsiteX149" fmla="*/ 1111596 w 1273016"/>
                <a:gd name="connsiteY149" fmla="*/ 886 h 164201"/>
                <a:gd name="connsiteX150" fmla="*/ 1124188 w 1273016"/>
                <a:gd name="connsiteY150" fmla="*/ 13659 h 164201"/>
                <a:gd name="connsiteX151" fmla="*/ 1106262 w 1273016"/>
                <a:gd name="connsiteY151" fmla="*/ 30137 h 164201"/>
                <a:gd name="connsiteX152" fmla="*/ 1049541 w 1273016"/>
                <a:gd name="connsiteY152" fmla="*/ 30137 h 164201"/>
                <a:gd name="connsiteX153" fmla="*/ 1047026 w 1273016"/>
                <a:gd name="connsiteY153" fmla="*/ 32214 h 164201"/>
                <a:gd name="connsiteX154" fmla="*/ 1042435 w 1273016"/>
                <a:gd name="connsiteY154" fmla="*/ 62503 h 164201"/>
                <a:gd name="connsiteX155" fmla="*/ 1044064 w 1273016"/>
                <a:gd name="connsiteY155" fmla="*/ 64579 h 164201"/>
                <a:gd name="connsiteX156" fmla="*/ 1092641 w 1273016"/>
                <a:gd name="connsiteY156" fmla="*/ 64579 h 164201"/>
                <a:gd name="connsiteX157" fmla="*/ 1105224 w 1273016"/>
                <a:gd name="connsiteY157" fmla="*/ 77353 h 164201"/>
                <a:gd name="connsiteX158" fmla="*/ 1087307 w 1273016"/>
                <a:gd name="connsiteY158" fmla="*/ 93974 h 164201"/>
                <a:gd name="connsiteX159" fmla="*/ 1039473 w 1273016"/>
                <a:gd name="connsiteY159" fmla="*/ 93974 h 164201"/>
                <a:gd name="connsiteX160" fmla="*/ 1037101 w 1273016"/>
                <a:gd name="connsiteY160" fmla="*/ 96060 h 164201"/>
                <a:gd name="connsiteX161" fmla="*/ 1031472 w 1273016"/>
                <a:gd name="connsiteY161" fmla="*/ 131540 h 164201"/>
                <a:gd name="connsiteX162" fmla="*/ 1033101 w 1273016"/>
                <a:gd name="connsiteY162" fmla="*/ 133617 h 164201"/>
                <a:gd name="connsiteX163" fmla="*/ 1092937 w 1273016"/>
                <a:gd name="connsiteY163" fmla="*/ 133617 h 164201"/>
                <a:gd name="connsiteX164" fmla="*/ 1105519 w 1273016"/>
                <a:gd name="connsiteY164" fmla="*/ 146390 h 164201"/>
                <a:gd name="connsiteX165" fmla="*/ 1087603 w 1273016"/>
                <a:gd name="connsiteY165" fmla="*/ 163011 h 164201"/>
                <a:gd name="connsiteX166" fmla="*/ 1010003 w 1273016"/>
                <a:gd name="connsiteY166" fmla="*/ 163011 h 164201"/>
                <a:gd name="connsiteX167" fmla="*/ 998601 w 1273016"/>
                <a:gd name="connsiteY167" fmla="*/ 149209 h 164201"/>
                <a:gd name="connsiteX168" fmla="*/ 1019775 w 1273016"/>
                <a:gd name="connsiteY168" fmla="*/ 14402 h 164201"/>
                <a:gd name="connsiteX169" fmla="*/ 1035329 w 1273016"/>
                <a:gd name="connsiteY169" fmla="*/ 591 h 164201"/>
                <a:gd name="connsiteX170" fmla="*/ 1111891 w 1273016"/>
                <a:gd name="connsiteY170" fmla="*/ 591 h 164201"/>
                <a:gd name="connsiteX171" fmla="*/ 1111596 w 1273016"/>
                <a:gd name="connsiteY171" fmla="*/ 886 h 164201"/>
                <a:gd name="connsiteX172" fmla="*/ 1242508 w 1273016"/>
                <a:gd name="connsiteY172" fmla="*/ 12763 h 164201"/>
                <a:gd name="connsiteX173" fmla="*/ 1259538 w 1273016"/>
                <a:gd name="connsiteY173" fmla="*/ 0 h 164201"/>
                <a:gd name="connsiteX174" fmla="*/ 1273016 w 1273016"/>
                <a:gd name="connsiteY174" fmla="*/ 10535 h 164201"/>
                <a:gd name="connsiteX175" fmla="*/ 1271835 w 1273016"/>
                <a:gd name="connsiteY175" fmla="*/ 19145 h 164201"/>
                <a:gd name="connsiteX176" fmla="*/ 1251547 w 1273016"/>
                <a:gd name="connsiteY176" fmla="*/ 145942 h 164201"/>
                <a:gd name="connsiteX177" fmla="*/ 1233183 w 1273016"/>
                <a:gd name="connsiteY177" fmla="*/ 164049 h 164201"/>
                <a:gd name="connsiteX178" fmla="*/ 1213933 w 1273016"/>
                <a:gd name="connsiteY178" fmla="*/ 146828 h 164201"/>
                <a:gd name="connsiteX179" fmla="*/ 1178833 w 1273016"/>
                <a:gd name="connsiteY179" fmla="*/ 65027 h 164201"/>
                <a:gd name="connsiteX180" fmla="*/ 1176461 w 1273016"/>
                <a:gd name="connsiteY180" fmla="*/ 62503 h 164201"/>
                <a:gd name="connsiteX181" fmla="*/ 1175128 w 1273016"/>
                <a:gd name="connsiteY181" fmla="*/ 65027 h 164201"/>
                <a:gd name="connsiteX182" fmla="*/ 1161355 w 1273016"/>
                <a:gd name="connsiteY182" fmla="*/ 151286 h 164201"/>
                <a:gd name="connsiteX183" fmla="*/ 1144324 w 1273016"/>
                <a:gd name="connsiteY183" fmla="*/ 164049 h 164201"/>
                <a:gd name="connsiteX184" fmla="*/ 1130846 w 1273016"/>
                <a:gd name="connsiteY184" fmla="*/ 153514 h 164201"/>
                <a:gd name="connsiteX185" fmla="*/ 1132037 w 1273016"/>
                <a:gd name="connsiteY185" fmla="*/ 144904 h 164201"/>
                <a:gd name="connsiteX186" fmla="*/ 1152325 w 1273016"/>
                <a:gd name="connsiteY186" fmla="*/ 18107 h 164201"/>
                <a:gd name="connsiteX187" fmla="*/ 1170689 w 1273016"/>
                <a:gd name="connsiteY187" fmla="*/ 0 h 164201"/>
                <a:gd name="connsiteX188" fmla="*/ 1189939 w 1273016"/>
                <a:gd name="connsiteY188" fmla="*/ 17221 h 164201"/>
                <a:gd name="connsiteX189" fmla="*/ 1225039 w 1273016"/>
                <a:gd name="connsiteY189" fmla="*/ 99022 h 164201"/>
                <a:gd name="connsiteX190" fmla="*/ 1227401 w 1273016"/>
                <a:gd name="connsiteY190" fmla="*/ 101403 h 164201"/>
                <a:gd name="connsiteX191" fmla="*/ 1228735 w 1273016"/>
                <a:gd name="connsiteY191" fmla="*/ 99022 h 164201"/>
                <a:gd name="connsiteX192" fmla="*/ 1242508 w 1273016"/>
                <a:gd name="connsiteY192" fmla="*/ 12763 h 16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273016" h="164201">
                  <a:moveTo>
                    <a:pt x="76714" y="0"/>
                  </a:moveTo>
                  <a:cubicBezTo>
                    <a:pt x="108547" y="0"/>
                    <a:pt x="127654" y="13802"/>
                    <a:pt x="127654" y="48254"/>
                  </a:cubicBezTo>
                  <a:cubicBezTo>
                    <a:pt x="127654" y="57750"/>
                    <a:pt x="126473" y="69180"/>
                    <a:pt x="124701" y="82096"/>
                  </a:cubicBezTo>
                  <a:cubicBezTo>
                    <a:pt x="116986" y="131988"/>
                    <a:pt x="107509" y="164201"/>
                    <a:pt x="50940" y="164201"/>
                  </a:cubicBezTo>
                  <a:cubicBezTo>
                    <a:pt x="19841" y="164201"/>
                    <a:pt x="0" y="151133"/>
                    <a:pt x="0" y="116396"/>
                  </a:cubicBezTo>
                  <a:cubicBezTo>
                    <a:pt x="0" y="106594"/>
                    <a:pt x="1181" y="95164"/>
                    <a:pt x="3258" y="82096"/>
                  </a:cubicBezTo>
                  <a:cubicBezTo>
                    <a:pt x="10659" y="34595"/>
                    <a:pt x="20879" y="0"/>
                    <a:pt x="76714" y="0"/>
                  </a:cubicBezTo>
                  <a:close/>
                  <a:moveTo>
                    <a:pt x="96403" y="52702"/>
                  </a:moveTo>
                  <a:cubicBezTo>
                    <a:pt x="96403" y="37262"/>
                    <a:pt x="87821" y="28946"/>
                    <a:pt x="72266" y="28946"/>
                  </a:cubicBezTo>
                  <a:cubicBezTo>
                    <a:pt x="40577" y="28946"/>
                    <a:pt x="38795" y="60122"/>
                    <a:pt x="34642" y="82096"/>
                  </a:cubicBezTo>
                  <a:cubicBezTo>
                    <a:pt x="32280" y="93974"/>
                    <a:pt x="31099" y="103775"/>
                    <a:pt x="31099" y="111642"/>
                  </a:cubicBezTo>
                  <a:cubicBezTo>
                    <a:pt x="31099" y="128273"/>
                    <a:pt x="38052" y="135255"/>
                    <a:pt x="55531" y="135255"/>
                  </a:cubicBezTo>
                  <a:cubicBezTo>
                    <a:pt x="84563" y="135255"/>
                    <a:pt x="88849" y="112681"/>
                    <a:pt x="93155" y="82096"/>
                  </a:cubicBezTo>
                  <a:cubicBezTo>
                    <a:pt x="94774" y="70371"/>
                    <a:pt x="96403" y="60569"/>
                    <a:pt x="96403" y="52702"/>
                  </a:cubicBezTo>
                  <a:close/>
                  <a:moveTo>
                    <a:pt x="209398" y="28651"/>
                  </a:moveTo>
                  <a:cubicBezTo>
                    <a:pt x="200073" y="28651"/>
                    <a:pt x="184966" y="32366"/>
                    <a:pt x="184966" y="45729"/>
                  </a:cubicBezTo>
                  <a:cubicBezTo>
                    <a:pt x="184966" y="52559"/>
                    <a:pt x="191776" y="56864"/>
                    <a:pt x="201997" y="61760"/>
                  </a:cubicBezTo>
                  <a:lnTo>
                    <a:pt x="221694" y="71266"/>
                  </a:lnTo>
                  <a:cubicBezTo>
                    <a:pt x="242869" y="81505"/>
                    <a:pt x="254422" y="95460"/>
                    <a:pt x="254422" y="114910"/>
                  </a:cubicBezTo>
                  <a:cubicBezTo>
                    <a:pt x="254422" y="147123"/>
                    <a:pt x="225990" y="164049"/>
                    <a:pt x="194443" y="164049"/>
                  </a:cubicBezTo>
                  <a:cubicBezTo>
                    <a:pt x="171936" y="164049"/>
                    <a:pt x="151943" y="156629"/>
                    <a:pt x="138170" y="141037"/>
                  </a:cubicBezTo>
                  <a:cubicBezTo>
                    <a:pt x="136208" y="138951"/>
                    <a:pt x="135144" y="136179"/>
                    <a:pt x="135207" y="133321"/>
                  </a:cubicBezTo>
                  <a:cubicBezTo>
                    <a:pt x="135207" y="125158"/>
                    <a:pt x="143647" y="116986"/>
                    <a:pt x="152829" y="116986"/>
                  </a:cubicBezTo>
                  <a:cubicBezTo>
                    <a:pt x="156829" y="116986"/>
                    <a:pt x="160087" y="119510"/>
                    <a:pt x="162906" y="122187"/>
                  </a:cubicBezTo>
                  <a:cubicBezTo>
                    <a:pt x="170307" y="129159"/>
                    <a:pt x="179632" y="135398"/>
                    <a:pt x="196815" y="135398"/>
                  </a:cubicBezTo>
                  <a:cubicBezTo>
                    <a:pt x="207331" y="135398"/>
                    <a:pt x="222437" y="131388"/>
                    <a:pt x="222437" y="117434"/>
                  </a:cubicBezTo>
                  <a:cubicBezTo>
                    <a:pt x="222437" y="109718"/>
                    <a:pt x="217103" y="103927"/>
                    <a:pt x="206588" y="99022"/>
                  </a:cubicBezTo>
                  <a:lnTo>
                    <a:pt x="186300" y="89525"/>
                  </a:lnTo>
                  <a:cubicBezTo>
                    <a:pt x="165125" y="79572"/>
                    <a:pt x="152829" y="68142"/>
                    <a:pt x="152829" y="46911"/>
                  </a:cubicBezTo>
                  <a:cubicBezTo>
                    <a:pt x="152829" y="17517"/>
                    <a:pt x="179784" y="0"/>
                    <a:pt x="211179" y="0"/>
                  </a:cubicBezTo>
                  <a:cubicBezTo>
                    <a:pt x="228210" y="0"/>
                    <a:pt x="245088" y="3562"/>
                    <a:pt x="259013" y="15888"/>
                  </a:cubicBezTo>
                  <a:cubicBezTo>
                    <a:pt x="261833" y="18259"/>
                    <a:pt x="264195" y="21526"/>
                    <a:pt x="264195" y="25975"/>
                  </a:cubicBezTo>
                  <a:cubicBezTo>
                    <a:pt x="264195" y="34147"/>
                    <a:pt x="256051" y="42310"/>
                    <a:pt x="247907" y="42310"/>
                  </a:cubicBezTo>
                  <a:cubicBezTo>
                    <a:pt x="243907" y="42310"/>
                    <a:pt x="240211" y="40234"/>
                    <a:pt x="238135" y="38595"/>
                  </a:cubicBezTo>
                  <a:cubicBezTo>
                    <a:pt x="229848" y="32071"/>
                    <a:pt x="220513" y="28804"/>
                    <a:pt x="209255" y="28804"/>
                  </a:cubicBezTo>
                  <a:lnTo>
                    <a:pt x="209398" y="28651"/>
                  </a:lnTo>
                  <a:close/>
                  <a:moveTo>
                    <a:pt x="291741" y="30289"/>
                  </a:moveTo>
                  <a:cubicBezTo>
                    <a:pt x="282712" y="30289"/>
                    <a:pt x="279454" y="24193"/>
                    <a:pt x="279454" y="17517"/>
                  </a:cubicBezTo>
                  <a:cubicBezTo>
                    <a:pt x="279454" y="8611"/>
                    <a:pt x="285074" y="886"/>
                    <a:pt x="295894" y="886"/>
                  </a:cubicBezTo>
                  <a:lnTo>
                    <a:pt x="385934" y="886"/>
                  </a:lnTo>
                  <a:cubicBezTo>
                    <a:pt x="395269" y="886"/>
                    <a:pt x="398516" y="6972"/>
                    <a:pt x="398516" y="13659"/>
                  </a:cubicBezTo>
                  <a:cubicBezTo>
                    <a:pt x="398516" y="22565"/>
                    <a:pt x="392897" y="30137"/>
                    <a:pt x="380600" y="30137"/>
                  </a:cubicBezTo>
                  <a:lnTo>
                    <a:pt x="353797" y="30137"/>
                  </a:lnTo>
                  <a:cubicBezTo>
                    <a:pt x="352463" y="30137"/>
                    <a:pt x="351720" y="30585"/>
                    <a:pt x="351425" y="32214"/>
                  </a:cubicBezTo>
                  <a:lnTo>
                    <a:pt x="332613" y="151133"/>
                  </a:lnTo>
                  <a:cubicBezTo>
                    <a:pt x="330994" y="161382"/>
                    <a:pt x="324469" y="163906"/>
                    <a:pt x="315582" y="163906"/>
                  </a:cubicBezTo>
                  <a:cubicBezTo>
                    <a:pt x="309067" y="163906"/>
                    <a:pt x="302114" y="161525"/>
                    <a:pt x="302114" y="153362"/>
                  </a:cubicBezTo>
                  <a:cubicBezTo>
                    <a:pt x="302114" y="152029"/>
                    <a:pt x="302552" y="148466"/>
                    <a:pt x="303295" y="144751"/>
                  </a:cubicBezTo>
                  <a:lnTo>
                    <a:pt x="321212" y="32214"/>
                  </a:lnTo>
                  <a:cubicBezTo>
                    <a:pt x="321507" y="30585"/>
                    <a:pt x="320926" y="30137"/>
                    <a:pt x="319288" y="30137"/>
                  </a:cubicBezTo>
                  <a:lnTo>
                    <a:pt x="291598" y="30137"/>
                  </a:lnTo>
                  <a:lnTo>
                    <a:pt x="291741" y="30289"/>
                  </a:lnTo>
                  <a:close/>
                  <a:moveTo>
                    <a:pt x="421472" y="14697"/>
                  </a:moveTo>
                  <a:cubicBezTo>
                    <a:pt x="422805" y="5791"/>
                    <a:pt x="427692" y="886"/>
                    <a:pt x="437026" y="886"/>
                  </a:cubicBezTo>
                  <a:lnTo>
                    <a:pt x="488861" y="886"/>
                  </a:lnTo>
                  <a:cubicBezTo>
                    <a:pt x="514483" y="886"/>
                    <a:pt x="533286" y="12763"/>
                    <a:pt x="533286" y="39786"/>
                  </a:cubicBezTo>
                  <a:cubicBezTo>
                    <a:pt x="533286" y="54635"/>
                    <a:pt x="528104" y="67999"/>
                    <a:pt x="515807" y="77353"/>
                  </a:cubicBezTo>
                  <a:cubicBezTo>
                    <a:pt x="514474" y="78534"/>
                    <a:pt x="513436" y="78981"/>
                    <a:pt x="513436" y="80172"/>
                  </a:cubicBezTo>
                  <a:cubicBezTo>
                    <a:pt x="513436" y="81058"/>
                    <a:pt x="513883" y="81505"/>
                    <a:pt x="515064" y="82696"/>
                  </a:cubicBezTo>
                  <a:cubicBezTo>
                    <a:pt x="520398" y="88925"/>
                    <a:pt x="526180" y="95460"/>
                    <a:pt x="526180" y="110014"/>
                  </a:cubicBezTo>
                  <a:cubicBezTo>
                    <a:pt x="526180" y="137922"/>
                    <a:pt x="504844" y="163163"/>
                    <a:pt x="467982" y="163163"/>
                  </a:cubicBezTo>
                  <a:lnTo>
                    <a:pt x="411699" y="163163"/>
                  </a:lnTo>
                  <a:cubicBezTo>
                    <a:pt x="402812" y="163163"/>
                    <a:pt x="398669" y="158267"/>
                    <a:pt x="400002" y="149352"/>
                  </a:cubicBezTo>
                  <a:lnTo>
                    <a:pt x="421176" y="14545"/>
                  </a:lnTo>
                  <a:lnTo>
                    <a:pt x="421472" y="14697"/>
                  </a:lnTo>
                  <a:close/>
                  <a:moveTo>
                    <a:pt x="441017" y="96355"/>
                  </a:moveTo>
                  <a:cubicBezTo>
                    <a:pt x="439398" y="96355"/>
                    <a:pt x="438950" y="96793"/>
                    <a:pt x="438502" y="98431"/>
                  </a:cubicBezTo>
                  <a:lnTo>
                    <a:pt x="433321" y="131836"/>
                  </a:lnTo>
                  <a:cubicBezTo>
                    <a:pt x="433026" y="133464"/>
                    <a:pt x="433321" y="133912"/>
                    <a:pt x="434950" y="133912"/>
                  </a:cubicBezTo>
                  <a:lnTo>
                    <a:pt x="473307" y="133912"/>
                  </a:lnTo>
                  <a:cubicBezTo>
                    <a:pt x="486337" y="133912"/>
                    <a:pt x="494481" y="124854"/>
                    <a:pt x="494481" y="112681"/>
                  </a:cubicBezTo>
                  <a:cubicBezTo>
                    <a:pt x="494481" y="102889"/>
                    <a:pt x="487671" y="96355"/>
                    <a:pt x="478641" y="96355"/>
                  </a:cubicBezTo>
                  <a:lnTo>
                    <a:pt x="441017" y="96355"/>
                  </a:lnTo>
                  <a:close/>
                  <a:moveTo>
                    <a:pt x="480565" y="66951"/>
                  </a:moveTo>
                  <a:cubicBezTo>
                    <a:pt x="492852" y="66951"/>
                    <a:pt x="501301" y="57902"/>
                    <a:pt x="501301" y="44987"/>
                  </a:cubicBezTo>
                  <a:cubicBezTo>
                    <a:pt x="501301" y="35481"/>
                    <a:pt x="494338" y="30289"/>
                    <a:pt x="485746" y="30289"/>
                  </a:cubicBezTo>
                  <a:lnTo>
                    <a:pt x="451533" y="30289"/>
                  </a:lnTo>
                  <a:cubicBezTo>
                    <a:pt x="449913" y="30289"/>
                    <a:pt x="449170" y="30728"/>
                    <a:pt x="449018" y="32366"/>
                  </a:cubicBezTo>
                  <a:lnTo>
                    <a:pt x="443836" y="64732"/>
                  </a:lnTo>
                  <a:cubicBezTo>
                    <a:pt x="443541" y="66361"/>
                    <a:pt x="444132" y="66808"/>
                    <a:pt x="445760" y="66808"/>
                  </a:cubicBezTo>
                  <a:lnTo>
                    <a:pt x="480565" y="66808"/>
                  </a:lnTo>
                  <a:lnTo>
                    <a:pt x="480565" y="66951"/>
                  </a:lnTo>
                  <a:close/>
                  <a:moveTo>
                    <a:pt x="660797" y="886"/>
                  </a:moveTo>
                  <a:cubicBezTo>
                    <a:pt x="670122" y="886"/>
                    <a:pt x="673379" y="6972"/>
                    <a:pt x="673379" y="13659"/>
                  </a:cubicBezTo>
                  <a:cubicBezTo>
                    <a:pt x="673379" y="22565"/>
                    <a:pt x="667760" y="30137"/>
                    <a:pt x="655463" y="30137"/>
                  </a:cubicBezTo>
                  <a:lnTo>
                    <a:pt x="598742" y="30137"/>
                  </a:lnTo>
                  <a:cubicBezTo>
                    <a:pt x="597113" y="30137"/>
                    <a:pt x="596370" y="30585"/>
                    <a:pt x="596227" y="32214"/>
                  </a:cubicBezTo>
                  <a:lnTo>
                    <a:pt x="591636" y="62503"/>
                  </a:lnTo>
                  <a:cubicBezTo>
                    <a:pt x="591341" y="64132"/>
                    <a:pt x="591636" y="64579"/>
                    <a:pt x="593265" y="64579"/>
                  </a:cubicBezTo>
                  <a:lnTo>
                    <a:pt x="641842" y="64579"/>
                  </a:lnTo>
                  <a:cubicBezTo>
                    <a:pt x="651167" y="64579"/>
                    <a:pt x="654425" y="70666"/>
                    <a:pt x="654425" y="77353"/>
                  </a:cubicBezTo>
                  <a:cubicBezTo>
                    <a:pt x="654425" y="86258"/>
                    <a:pt x="648795" y="93974"/>
                    <a:pt x="636508" y="93974"/>
                  </a:cubicBezTo>
                  <a:lnTo>
                    <a:pt x="588674" y="93974"/>
                  </a:lnTo>
                  <a:cubicBezTo>
                    <a:pt x="587045" y="93974"/>
                    <a:pt x="586597" y="94421"/>
                    <a:pt x="586302" y="96060"/>
                  </a:cubicBezTo>
                  <a:lnTo>
                    <a:pt x="580682" y="131540"/>
                  </a:lnTo>
                  <a:cubicBezTo>
                    <a:pt x="580377" y="133169"/>
                    <a:pt x="580682" y="133617"/>
                    <a:pt x="582301" y="133617"/>
                  </a:cubicBezTo>
                  <a:lnTo>
                    <a:pt x="642137" y="133617"/>
                  </a:lnTo>
                  <a:cubicBezTo>
                    <a:pt x="651462" y="133617"/>
                    <a:pt x="654720" y="139703"/>
                    <a:pt x="654720" y="146390"/>
                  </a:cubicBezTo>
                  <a:cubicBezTo>
                    <a:pt x="654720" y="155296"/>
                    <a:pt x="649091" y="163011"/>
                    <a:pt x="636803" y="163011"/>
                  </a:cubicBezTo>
                  <a:lnTo>
                    <a:pt x="559203" y="163011"/>
                  </a:lnTo>
                  <a:cubicBezTo>
                    <a:pt x="550316" y="163011"/>
                    <a:pt x="546468" y="158115"/>
                    <a:pt x="547802" y="149209"/>
                  </a:cubicBezTo>
                  <a:lnTo>
                    <a:pt x="568976" y="14402"/>
                  </a:lnTo>
                  <a:cubicBezTo>
                    <a:pt x="570309" y="5486"/>
                    <a:pt x="575196" y="591"/>
                    <a:pt x="584530" y="591"/>
                  </a:cubicBezTo>
                  <a:lnTo>
                    <a:pt x="661092" y="591"/>
                  </a:lnTo>
                  <a:lnTo>
                    <a:pt x="660797" y="886"/>
                  </a:lnTo>
                  <a:close/>
                  <a:moveTo>
                    <a:pt x="691601" y="163163"/>
                  </a:moveTo>
                  <a:cubicBezTo>
                    <a:pt x="683457" y="163163"/>
                    <a:pt x="679009" y="158267"/>
                    <a:pt x="680495" y="149352"/>
                  </a:cubicBezTo>
                  <a:lnTo>
                    <a:pt x="702116" y="12763"/>
                  </a:lnTo>
                  <a:cubicBezTo>
                    <a:pt x="703745" y="2524"/>
                    <a:pt x="710260" y="0"/>
                    <a:pt x="719147" y="0"/>
                  </a:cubicBezTo>
                  <a:cubicBezTo>
                    <a:pt x="725662" y="0"/>
                    <a:pt x="732625" y="2372"/>
                    <a:pt x="732625" y="10535"/>
                  </a:cubicBezTo>
                  <a:cubicBezTo>
                    <a:pt x="732625" y="11878"/>
                    <a:pt x="732177" y="15440"/>
                    <a:pt x="731434" y="19145"/>
                  </a:cubicBezTo>
                  <a:lnTo>
                    <a:pt x="713518" y="131683"/>
                  </a:lnTo>
                  <a:cubicBezTo>
                    <a:pt x="713223" y="133321"/>
                    <a:pt x="713813" y="133769"/>
                    <a:pt x="715299" y="133769"/>
                  </a:cubicBezTo>
                  <a:lnTo>
                    <a:pt x="763867" y="133769"/>
                  </a:lnTo>
                  <a:cubicBezTo>
                    <a:pt x="773201" y="133769"/>
                    <a:pt x="776459" y="139856"/>
                    <a:pt x="776459" y="146533"/>
                  </a:cubicBezTo>
                  <a:cubicBezTo>
                    <a:pt x="776459" y="155438"/>
                    <a:pt x="770830" y="163163"/>
                    <a:pt x="758543" y="163163"/>
                  </a:cubicBezTo>
                  <a:lnTo>
                    <a:pt x="691601" y="163163"/>
                  </a:lnTo>
                  <a:close/>
                  <a:moveTo>
                    <a:pt x="798824" y="82096"/>
                  </a:moveTo>
                  <a:cubicBezTo>
                    <a:pt x="806225" y="34595"/>
                    <a:pt x="816445" y="0"/>
                    <a:pt x="872576" y="0"/>
                  </a:cubicBezTo>
                  <a:cubicBezTo>
                    <a:pt x="885311" y="0"/>
                    <a:pt x="901151" y="3267"/>
                    <a:pt x="910628" y="11878"/>
                  </a:cubicBezTo>
                  <a:cubicBezTo>
                    <a:pt x="913886" y="14840"/>
                    <a:pt x="916410" y="17669"/>
                    <a:pt x="916410" y="22412"/>
                  </a:cubicBezTo>
                  <a:cubicBezTo>
                    <a:pt x="916410" y="30585"/>
                    <a:pt x="908114" y="40081"/>
                    <a:pt x="898931" y="40081"/>
                  </a:cubicBezTo>
                  <a:cubicBezTo>
                    <a:pt x="895674" y="40081"/>
                    <a:pt x="893597" y="39195"/>
                    <a:pt x="891673" y="37709"/>
                  </a:cubicBezTo>
                  <a:cubicBezTo>
                    <a:pt x="882787" y="30432"/>
                    <a:pt x="877310" y="28804"/>
                    <a:pt x="867680" y="28804"/>
                  </a:cubicBezTo>
                  <a:cubicBezTo>
                    <a:pt x="836143" y="28804"/>
                    <a:pt x="834219" y="59979"/>
                    <a:pt x="830066" y="81953"/>
                  </a:cubicBezTo>
                  <a:cubicBezTo>
                    <a:pt x="827694" y="93831"/>
                    <a:pt x="826513" y="103622"/>
                    <a:pt x="826513" y="111500"/>
                  </a:cubicBezTo>
                  <a:cubicBezTo>
                    <a:pt x="826513" y="128121"/>
                    <a:pt x="833476" y="135103"/>
                    <a:pt x="850954" y="135103"/>
                  </a:cubicBezTo>
                  <a:cubicBezTo>
                    <a:pt x="868423" y="135103"/>
                    <a:pt x="881015" y="124416"/>
                    <a:pt x="883682" y="107194"/>
                  </a:cubicBezTo>
                  <a:lnTo>
                    <a:pt x="885015" y="98279"/>
                  </a:lnTo>
                  <a:cubicBezTo>
                    <a:pt x="885311" y="96650"/>
                    <a:pt x="884711" y="96202"/>
                    <a:pt x="883387" y="96202"/>
                  </a:cubicBezTo>
                  <a:lnTo>
                    <a:pt x="869909" y="96202"/>
                  </a:lnTo>
                  <a:cubicBezTo>
                    <a:pt x="860870" y="96202"/>
                    <a:pt x="857612" y="90116"/>
                    <a:pt x="857612" y="83439"/>
                  </a:cubicBezTo>
                  <a:cubicBezTo>
                    <a:pt x="857612" y="74828"/>
                    <a:pt x="863241" y="67104"/>
                    <a:pt x="873900" y="67104"/>
                  </a:cubicBezTo>
                  <a:lnTo>
                    <a:pt x="907666" y="67104"/>
                  </a:lnTo>
                  <a:cubicBezTo>
                    <a:pt x="914486" y="67104"/>
                    <a:pt x="919372" y="70666"/>
                    <a:pt x="917886" y="79429"/>
                  </a:cubicBezTo>
                  <a:lnTo>
                    <a:pt x="913448" y="107337"/>
                  </a:lnTo>
                  <a:cubicBezTo>
                    <a:pt x="907666" y="144161"/>
                    <a:pt x="886492" y="164049"/>
                    <a:pt x="846211" y="164049"/>
                  </a:cubicBezTo>
                  <a:cubicBezTo>
                    <a:pt x="815111" y="164049"/>
                    <a:pt x="795261" y="150990"/>
                    <a:pt x="795261" y="116243"/>
                  </a:cubicBezTo>
                  <a:cubicBezTo>
                    <a:pt x="795261" y="106451"/>
                    <a:pt x="796452" y="95012"/>
                    <a:pt x="798528" y="81953"/>
                  </a:cubicBezTo>
                  <a:lnTo>
                    <a:pt x="798824" y="82096"/>
                  </a:lnTo>
                  <a:close/>
                  <a:moveTo>
                    <a:pt x="963206" y="151286"/>
                  </a:moveTo>
                  <a:cubicBezTo>
                    <a:pt x="961577" y="161525"/>
                    <a:pt x="955062" y="164049"/>
                    <a:pt x="946175" y="164049"/>
                  </a:cubicBezTo>
                  <a:cubicBezTo>
                    <a:pt x="939660" y="164049"/>
                    <a:pt x="932698" y="161677"/>
                    <a:pt x="932698" y="153514"/>
                  </a:cubicBezTo>
                  <a:cubicBezTo>
                    <a:pt x="932698" y="152171"/>
                    <a:pt x="933145" y="148609"/>
                    <a:pt x="933879" y="144904"/>
                  </a:cubicBezTo>
                  <a:lnTo>
                    <a:pt x="955062" y="12763"/>
                  </a:lnTo>
                  <a:cubicBezTo>
                    <a:pt x="956691" y="2524"/>
                    <a:pt x="963206" y="0"/>
                    <a:pt x="972093" y="0"/>
                  </a:cubicBezTo>
                  <a:cubicBezTo>
                    <a:pt x="978608" y="0"/>
                    <a:pt x="985571" y="2372"/>
                    <a:pt x="985571" y="10535"/>
                  </a:cubicBezTo>
                  <a:cubicBezTo>
                    <a:pt x="985571" y="11878"/>
                    <a:pt x="985133" y="15440"/>
                    <a:pt x="984390" y="19145"/>
                  </a:cubicBezTo>
                  <a:lnTo>
                    <a:pt x="963206" y="151286"/>
                  </a:lnTo>
                  <a:close/>
                  <a:moveTo>
                    <a:pt x="1111596" y="886"/>
                  </a:moveTo>
                  <a:cubicBezTo>
                    <a:pt x="1120921" y="886"/>
                    <a:pt x="1124188" y="6972"/>
                    <a:pt x="1124188" y="13659"/>
                  </a:cubicBezTo>
                  <a:cubicBezTo>
                    <a:pt x="1124188" y="22565"/>
                    <a:pt x="1118559" y="30137"/>
                    <a:pt x="1106262" y="30137"/>
                  </a:cubicBezTo>
                  <a:lnTo>
                    <a:pt x="1049541" y="30137"/>
                  </a:lnTo>
                  <a:cubicBezTo>
                    <a:pt x="1047912" y="30137"/>
                    <a:pt x="1047179" y="30585"/>
                    <a:pt x="1047026" y="32214"/>
                  </a:cubicBezTo>
                  <a:lnTo>
                    <a:pt x="1042435" y="62503"/>
                  </a:lnTo>
                  <a:cubicBezTo>
                    <a:pt x="1042140" y="64132"/>
                    <a:pt x="1042435" y="64579"/>
                    <a:pt x="1044064" y="64579"/>
                  </a:cubicBezTo>
                  <a:lnTo>
                    <a:pt x="1092641" y="64579"/>
                  </a:lnTo>
                  <a:cubicBezTo>
                    <a:pt x="1101966" y="64579"/>
                    <a:pt x="1105224" y="70666"/>
                    <a:pt x="1105224" y="77353"/>
                  </a:cubicBezTo>
                  <a:cubicBezTo>
                    <a:pt x="1105224" y="86258"/>
                    <a:pt x="1099604" y="93974"/>
                    <a:pt x="1087307" y="93974"/>
                  </a:cubicBezTo>
                  <a:lnTo>
                    <a:pt x="1039473" y="93974"/>
                  </a:lnTo>
                  <a:cubicBezTo>
                    <a:pt x="1037844" y="93974"/>
                    <a:pt x="1037396" y="94421"/>
                    <a:pt x="1037101" y="96060"/>
                  </a:cubicBezTo>
                  <a:lnTo>
                    <a:pt x="1031472" y="131540"/>
                  </a:lnTo>
                  <a:cubicBezTo>
                    <a:pt x="1031177" y="133169"/>
                    <a:pt x="1031472" y="133617"/>
                    <a:pt x="1033101" y="133617"/>
                  </a:cubicBezTo>
                  <a:lnTo>
                    <a:pt x="1092937" y="133617"/>
                  </a:lnTo>
                  <a:cubicBezTo>
                    <a:pt x="1102262" y="133617"/>
                    <a:pt x="1105519" y="139703"/>
                    <a:pt x="1105519" y="146390"/>
                  </a:cubicBezTo>
                  <a:cubicBezTo>
                    <a:pt x="1105519" y="155296"/>
                    <a:pt x="1099899" y="163011"/>
                    <a:pt x="1087603" y="163011"/>
                  </a:cubicBezTo>
                  <a:lnTo>
                    <a:pt x="1010003" y="163011"/>
                  </a:lnTo>
                  <a:cubicBezTo>
                    <a:pt x="1001116" y="163011"/>
                    <a:pt x="997268" y="158115"/>
                    <a:pt x="998601" y="149209"/>
                  </a:cubicBezTo>
                  <a:lnTo>
                    <a:pt x="1019775" y="14402"/>
                  </a:lnTo>
                  <a:cubicBezTo>
                    <a:pt x="1021109" y="5486"/>
                    <a:pt x="1025995" y="591"/>
                    <a:pt x="1035329" y="591"/>
                  </a:cubicBezTo>
                  <a:lnTo>
                    <a:pt x="1111891" y="591"/>
                  </a:lnTo>
                  <a:lnTo>
                    <a:pt x="1111596" y="886"/>
                  </a:lnTo>
                  <a:close/>
                  <a:moveTo>
                    <a:pt x="1242508" y="12763"/>
                  </a:moveTo>
                  <a:cubicBezTo>
                    <a:pt x="1244137" y="2524"/>
                    <a:pt x="1250652" y="0"/>
                    <a:pt x="1259538" y="0"/>
                  </a:cubicBezTo>
                  <a:cubicBezTo>
                    <a:pt x="1266053" y="0"/>
                    <a:pt x="1273016" y="2372"/>
                    <a:pt x="1273016" y="10535"/>
                  </a:cubicBezTo>
                  <a:cubicBezTo>
                    <a:pt x="1273016" y="11878"/>
                    <a:pt x="1272578" y="15440"/>
                    <a:pt x="1271835" y="19145"/>
                  </a:cubicBezTo>
                  <a:lnTo>
                    <a:pt x="1251547" y="145942"/>
                  </a:lnTo>
                  <a:cubicBezTo>
                    <a:pt x="1249470" y="159744"/>
                    <a:pt x="1242213" y="164049"/>
                    <a:pt x="1233183" y="164049"/>
                  </a:cubicBezTo>
                  <a:cubicBezTo>
                    <a:pt x="1223258" y="164049"/>
                    <a:pt x="1219705" y="160049"/>
                    <a:pt x="1213933" y="146828"/>
                  </a:cubicBezTo>
                  <a:lnTo>
                    <a:pt x="1178833" y="65027"/>
                  </a:lnTo>
                  <a:cubicBezTo>
                    <a:pt x="1178385" y="63694"/>
                    <a:pt x="1177642" y="62503"/>
                    <a:pt x="1176461" y="62503"/>
                  </a:cubicBezTo>
                  <a:cubicBezTo>
                    <a:pt x="1175280" y="62503"/>
                    <a:pt x="1175128" y="64437"/>
                    <a:pt x="1175128" y="65027"/>
                  </a:cubicBezTo>
                  <a:lnTo>
                    <a:pt x="1161355" y="151286"/>
                  </a:lnTo>
                  <a:cubicBezTo>
                    <a:pt x="1159726" y="161525"/>
                    <a:pt x="1153211" y="164049"/>
                    <a:pt x="1144324" y="164049"/>
                  </a:cubicBezTo>
                  <a:cubicBezTo>
                    <a:pt x="1137809" y="164049"/>
                    <a:pt x="1130846" y="161677"/>
                    <a:pt x="1130846" y="153514"/>
                  </a:cubicBezTo>
                  <a:cubicBezTo>
                    <a:pt x="1130846" y="152171"/>
                    <a:pt x="1131294" y="148609"/>
                    <a:pt x="1132037" y="144904"/>
                  </a:cubicBezTo>
                  <a:lnTo>
                    <a:pt x="1152325" y="18107"/>
                  </a:lnTo>
                  <a:cubicBezTo>
                    <a:pt x="1154687" y="3410"/>
                    <a:pt x="1161650" y="0"/>
                    <a:pt x="1170689" y="0"/>
                  </a:cubicBezTo>
                  <a:cubicBezTo>
                    <a:pt x="1180167" y="0"/>
                    <a:pt x="1184158" y="4010"/>
                    <a:pt x="1189939" y="17221"/>
                  </a:cubicBezTo>
                  <a:lnTo>
                    <a:pt x="1225039" y="99022"/>
                  </a:lnTo>
                  <a:cubicBezTo>
                    <a:pt x="1225477" y="100212"/>
                    <a:pt x="1226220" y="101403"/>
                    <a:pt x="1227401" y="101403"/>
                  </a:cubicBezTo>
                  <a:cubicBezTo>
                    <a:pt x="1228592" y="101403"/>
                    <a:pt x="1228735" y="99470"/>
                    <a:pt x="1228735" y="99022"/>
                  </a:cubicBezTo>
                  <a:lnTo>
                    <a:pt x="1242508" y="12763"/>
                  </a:lnTo>
                  <a:close/>
                </a:path>
              </a:pathLst>
            </a:custGeom>
            <a:solidFill>
              <a:srgbClr val="ED3B94"/>
            </a:solidFill>
            <a:ln w="9525" cap="flat">
              <a:noFill/>
              <a:prstDash val="solid"/>
              <a:miter/>
            </a:ln>
          </p:spPr>
          <p:txBody>
            <a:bodyPr rtlCol="0" anchor="ctr"/>
            <a:lstStyle/>
            <a:p>
              <a:endParaRPr lang="en-GB" sz="1800"/>
            </a:p>
          </p:txBody>
        </p:sp>
        <p:sp>
          <p:nvSpPr>
            <p:cNvPr id="51" name="Freeform: Shape 56">
              <a:extLst>
                <a:ext uri="{FF2B5EF4-FFF2-40B4-BE49-F238E27FC236}">
                  <a16:creationId xmlns:a16="http://schemas.microsoft.com/office/drawing/2014/main" id="{9ADE27FC-098F-9DA4-5350-CA96F21FC55B}"/>
                </a:ext>
              </a:extLst>
            </p:cNvPr>
            <p:cNvSpPr/>
            <p:nvPr/>
          </p:nvSpPr>
          <p:spPr>
            <a:xfrm>
              <a:off x="4138526" y="2367086"/>
              <a:ext cx="1305010" cy="554526"/>
            </a:xfrm>
            <a:custGeom>
              <a:avLst/>
              <a:gdLst>
                <a:gd name="connsiteX0" fmla="*/ 51092 w 1305010"/>
                <a:gd name="connsiteY0" fmla="*/ 188404 h 554526"/>
                <a:gd name="connsiteX1" fmla="*/ 103670 w 1305010"/>
                <a:gd name="connsiteY1" fmla="*/ 146685 h 554526"/>
                <a:gd name="connsiteX2" fmla="*/ 148390 w 1305010"/>
                <a:gd name="connsiteY2" fmla="*/ 180537 h 554526"/>
                <a:gd name="connsiteX3" fmla="*/ 145285 w 1305010"/>
                <a:gd name="connsiteY3" fmla="*/ 208893 h 554526"/>
                <a:gd name="connsiteX4" fmla="*/ 98184 w 1305010"/>
                <a:gd name="connsiteY4" fmla="*/ 512807 h 554526"/>
                <a:gd name="connsiteX5" fmla="*/ 44729 w 1305010"/>
                <a:gd name="connsiteY5" fmla="*/ 554527 h 554526"/>
                <a:gd name="connsiteX6" fmla="*/ 0 w 1305010"/>
                <a:gd name="connsiteY6" fmla="*/ 520675 h 554526"/>
                <a:gd name="connsiteX7" fmla="*/ 3115 w 1305010"/>
                <a:gd name="connsiteY7" fmla="*/ 492319 h 554526"/>
                <a:gd name="connsiteX8" fmla="*/ 50949 w 1305010"/>
                <a:gd name="connsiteY8" fmla="*/ 188404 h 554526"/>
                <a:gd name="connsiteX9" fmla="*/ 51092 w 1305010"/>
                <a:gd name="connsiteY9" fmla="*/ 188404 h 554526"/>
                <a:gd name="connsiteX10" fmla="*/ 359578 w 1305010"/>
                <a:gd name="connsiteY10" fmla="*/ 157677 h 554526"/>
                <a:gd name="connsiteX11" fmla="*/ 367427 w 1305010"/>
                <a:gd name="connsiteY11" fmla="*/ 167916 h 554526"/>
                <a:gd name="connsiteX12" fmla="*/ 384753 w 1305010"/>
                <a:gd name="connsiteY12" fmla="*/ 157677 h 554526"/>
                <a:gd name="connsiteX13" fmla="*/ 433473 w 1305010"/>
                <a:gd name="connsiteY13" fmla="*/ 146685 h 554526"/>
                <a:gd name="connsiteX14" fmla="*/ 565423 w 1305010"/>
                <a:gd name="connsiteY14" fmla="*/ 282092 h 554526"/>
                <a:gd name="connsiteX15" fmla="*/ 559203 w 1305010"/>
                <a:gd name="connsiteY15" fmla="*/ 350530 h 554526"/>
                <a:gd name="connsiteX16" fmla="*/ 386524 w 1305010"/>
                <a:gd name="connsiteY16" fmla="*/ 554374 h 554526"/>
                <a:gd name="connsiteX17" fmla="*/ 321374 w 1305010"/>
                <a:gd name="connsiteY17" fmla="*/ 536267 h 554526"/>
                <a:gd name="connsiteX18" fmla="*/ 304924 w 1305010"/>
                <a:gd name="connsiteY18" fmla="*/ 524389 h 554526"/>
                <a:gd name="connsiteX19" fmla="*/ 299447 w 1305010"/>
                <a:gd name="connsiteY19" fmla="*/ 526761 h 554526"/>
                <a:gd name="connsiteX20" fmla="*/ 294704 w 1305010"/>
                <a:gd name="connsiteY20" fmla="*/ 532257 h 554526"/>
                <a:gd name="connsiteX21" fmla="*/ 248355 w 1305010"/>
                <a:gd name="connsiteY21" fmla="*/ 554231 h 554526"/>
                <a:gd name="connsiteX22" fmla="*/ 205111 w 1305010"/>
                <a:gd name="connsiteY22" fmla="*/ 518741 h 554526"/>
                <a:gd name="connsiteX23" fmla="*/ 209112 w 1305010"/>
                <a:gd name="connsiteY23" fmla="*/ 490385 h 554526"/>
                <a:gd name="connsiteX24" fmla="*/ 279749 w 1305010"/>
                <a:gd name="connsiteY24" fmla="*/ 41719 h 554526"/>
                <a:gd name="connsiteX25" fmla="*/ 332327 w 1305010"/>
                <a:gd name="connsiteY25" fmla="*/ 0 h 554526"/>
                <a:gd name="connsiteX26" fmla="*/ 377047 w 1305010"/>
                <a:gd name="connsiteY26" fmla="*/ 33852 h 554526"/>
                <a:gd name="connsiteX27" fmla="*/ 373942 w 1305010"/>
                <a:gd name="connsiteY27" fmla="*/ 62208 h 554526"/>
                <a:gd name="connsiteX28" fmla="*/ 359874 w 1305010"/>
                <a:gd name="connsiteY28" fmla="*/ 157382 h 554526"/>
                <a:gd name="connsiteX29" fmla="*/ 359578 w 1305010"/>
                <a:gd name="connsiteY29" fmla="*/ 157667 h 554526"/>
                <a:gd name="connsiteX30" fmla="*/ 458505 w 1305010"/>
                <a:gd name="connsiteY30" fmla="*/ 350530 h 554526"/>
                <a:gd name="connsiteX31" fmla="*/ 463982 w 1305010"/>
                <a:gd name="connsiteY31" fmla="*/ 294561 h 554526"/>
                <a:gd name="connsiteX32" fmla="*/ 409042 w 1305010"/>
                <a:gd name="connsiteY32" fmla="*/ 240221 h 554526"/>
                <a:gd name="connsiteX33" fmla="*/ 328917 w 1305010"/>
                <a:gd name="connsiteY33" fmla="*/ 350387 h 554526"/>
                <a:gd name="connsiteX34" fmla="*/ 323440 w 1305010"/>
                <a:gd name="connsiteY34" fmla="*/ 404727 h 554526"/>
                <a:gd name="connsiteX35" fmla="*/ 373637 w 1305010"/>
                <a:gd name="connsiteY35" fmla="*/ 460543 h 554526"/>
                <a:gd name="connsiteX36" fmla="*/ 458505 w 1305010"/>
                <a:gd name="connsiteY36" fmla="*/ 350387 h 554526"/>
                <a:gd name="connsiteX37" fmla="*/ 458505 w 1305010"/>
                <a:gd name="connsiteY37" fmla="*/ 350530 h 554526"/>
                <a:gd name="connsiteX38" fmla="*/ 723890 w 1305010"/>
                <a:gd name="connsiteY38" fmla="*/ 409623 h 554526"/>
                <a:gd name="connsiteX39" fmla="*/ 785203 w 1305010"/>
                <a:gd name="connsiteY39" fmla="*/ 460839 h 554526"/>
                <a:gd name="connsiteX40" fmla="*/ 857469 w 1305010"/>
                <a:gd name="connsiteY40" fmla="*/ 444360 h 554526"/>
                <a:gd name="connsiteX41" fmla="*/ 893607 w 1305010"/>
                <a:gd name="connsiteY41" fmla="*/ 430997 h 554526"/>
                <a:gd name="connsiteX42" fmla="*/ 933593 w 1305010"/>
                <a:gd name="connsiteY42" fmla="*/ 476583 h 554526"/>
                <a:gd name="connsiteX43" fmla="*/ 913152 w 1305010"/>
                <a:gd name="connsiteY43" fmla="*/ 512064 h 554526"/>
                <a:gd name="connsiteX44" fmla="*/ 764019 w 1305010"/>
                <a:gd name="connsiteY44" fmla="*/ 554527 h 554526"/>
                <a:gd name="connsiteX45" fmla="*/ 623478 w 1305010"/>
                <a:gd name="connsiteY45" fmla="*/ 420757 h 554526"/>
                <a:gd name="connsiteX46" fmla="*/ 629698 w 1305010"/>
                <a:gd name="connsiteY46" fmla="*/ 350682 h 554526"/>
                <a:gd name="connsiteX47" fmla="*/ 828294 w 1305010"/>
                <a:gd name="connsiteY47" fmla="*/ 146837 h 554526"/>
                <a:gd name="connsiteX48" fmla="*/ 966464 w 1305010"/>
                <a:gd name="connsiteY48" fmla="*/ 278225 h 554526"/>
                <a:gd name="connsiteX49" fmla="*/ 962473 w 1305010"/>
                <a:gd name="connsiteY49" fmla="*/ 328555 h 554526"/>
                <a:gd name="connsiteX50" fmla="*/ 905894 w 1305010"/>
                <a:gd name="connsiteY50" fmla="*/ 387648 h 554526"/>
                <a:gd name="connsiteX51" fmla="*/ 733958 w 1305010"/>
                <a:gd name="connsiteY51" fmla="*/ 387648 h 554526"/>
                <a:gd name="connsiteX52" fmla="*/ 724481 w 1305010"/>
                <a:gd name="connsiteY52" fmla="*/ 395516 h 554526"/>
                <a:gd name="connsiteX53" fmla="*/ 723738 w 1305010"/>
                <a:gd name="connsiteY53" fmla="*/ 409765 h 554526"/>
                <a:gd name="connsiteX54" fmla="*/ 723890 w 1305010"/>
                <a:gd name="connsiteY54" fmla="*/ 409623 h 554526"/>
                <a:gd name="connsiteX55" fmla="*/ 871537 w 1305010"/>
                <a:gd name="connsiteY55" fmla="*/ 288322 h 554526"/>
                <a:gd name="connsiteX56" fmla="*/ 815702 w 1305010"/>
                <a:gd name="connsiteY56" fmla="*/ 233982 h 554526"/>
                <a:gd name="connsiteX57" fmla="*/ 739588 w 1305010"/>
                <a:gd name="connsiteY57" fmla="*/ 303324 h 554526"/>
                <a:gd name="connsiteX58" fmla="*/ 744322 w 1305010"/>
                <a:gd name="connsiteY58" fmla="*/ 310448 h 554526"/>
                <a:gd name="connsiteX59" fmla="*/ 863689 w 1305010"/>
                <a:gd name="connsiteY59" fmla="*/ 310448 h 554526"/>
                <a:gd name="connsiteX60" fmla="*/ 869909 w 1305010"/>
                <a:gd name="connsiteY60" fmla="*/ 304209 h 554526"/>
                <a:gd name="connsiteX61" fmla="*/ 871537 w 1305010"/>
                <a:gd name="connsiteY61" fmla="*/ 288474 h 554526"/>
                <a:gd name="connsiteX62" fmla="*/ 871537 w 1305010"/>
                <a:gd name="connsiteY62" fmla="*/ 288322 h 554526"/>
                <a:gd name="connsiteX63" fmla="*/ 1171280 w 1305010"/>
                <a:gd name="connsiteY63" fmla="*/ 175041 h 554526"/>
                <a:gd name="connsiteX64" fmla="*/ 1175280 w 1305010"/>
                <a:gd name="connsiteY64" fmla="*/ 179051 h 554526"/>
                <a:gd name="connsiteX65" fmla="*/ 1182386 w 1305010"/>
                <a:gd name="connsiteY65" fmla="*/ 175050 h 554526"/>
                <a:gd name="connsiteX66" fmla="*/ 1251547 w 1305010"/>
                <a:gd name="connsiteY66" fmla="*/ 146685 h 554526"/>
                <a:gd name="connsiteX67" fmla="*/ 1305011 w 1305010"/>
                <a:gd name="connsiteY67" fmla="*/ 188404 h 554526"/>
                <a:gd name="connsiteX68" fmla="*/ 1255548 w 1305010"/>
                <a:gd name="connsiteY68" fmla="*/ 245859 h 554526"/>
                <a:gd name="connsiteX69" fmla="*/ 1221781 w 1305010"/>
                <a:gd name="connsiteY69" fmla="*/ 245116 h 554526"/>
                <a:gd name="connsiteX70" fmla="*/ 1151877 w 1305010"/>
                <a:gd name="connsiteY70" fmla="*/ 313563 h 554526"/>
                <a:gd name="connsiteX71" fmla="*/ 1120483 w 1305010"/>
                <a:gd name="connsiteY71" fmla="*/ 512655 h 554526"/>
                <a:gd name="connsiteX72" fmla="*/ 1067019 w 1305010"/>
                <a:gd name="connsiteY72" fmla="*/ 554374 h 554526"/>
                <a:gd name="connsiteX73" fmla="*/ 1022299 w 1305010"/>
                <a:gd name="connsiteY73" fmla="*/ 520522 h 554526"/>
                <a:gd name="connsiteX74" fmla="*/ 1025404 w 1305010"/>
                <a:gd name="connsiteY74" fmla="*/ 492166 h 554526"/>
                <a:gd name="connsiteX75" fmla="*/ 1073239 w 1305010"/>
                <a:gd name="connsiteY75" fmla="*/ 188262 h 554526"/>
                <a:gd name="connsiteX76" fmla="*/ 1125817 w 1305010"/>
                <a:gd name="connsiteY76" fmla="*/ 146542 h 554526"/>
                <a:gd name="connsiteX77" fmla="*/ 1169060 w 1305010"/>
                <a:gd name="connsiteY77" fmla="*/ 167773 h 554526"/>
                <a:gd name="connsiteX78" fmla="*/ 1171432 w 1305010"/>
                <a:gd name="connsiteY78" fmla="*/ 174898 h 554526"/>
                <a:gd name="connsiteX79" fmla="*/ 1171280 w 1305010"/>
                <a:gd name="connsiteY79" fmla="*/ 175041 h 55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05010" h="554526">
                  <a:moveTo>
                    <a:pt x="51092" y="188404"/>
                  </a:moveTo>
                  <a:cubicBezTo>
                    <a:pt x="56569" y="152181"/>
                    <a:pt x="81001" y="146685"/>
                    <a:pt x="103670" y="146685"/>
                  </a:cubicBezTo>
                  <a:cubicBezTo>
                    <a:pt x="124844" y="146685"/>
                    <a:pt x="148390" y="154553"/>
                    <a:pt x="148390" y="180537"/>
                  </a:cubicBezTo>
                  <a:cubicBezTo>
                    <a:pt x="148390" y="186919"/>
                    <a:pt x="146771" y="198653"/>
                    <a:pt x="145285" y="208893"/>
                  </a:cubicBezTo>
                  <a:lnTo>
                    <a:pt x="98184" y="512807"/>
                  </a:lnTo>
                  <a:cubicBezTo>
                    <a:pt x="92707" y="549031"/>
                    <a:pt x="67532" y="554527"/>
                    <a:pt x="44729" y="554527"/>
                  </a:cubicBezTo>
                  <a:cubicBezTo>
                    <a:pt x="23546" y="554527"/>
                    <a:pt x="0" y="546659"/>
                    <a:pt x="0" y="520675"/>
                  </a:cubicBezTo>
                  <a:cubicBezTo>
                    <a:pt x="0" y="514436"/>
                    <a:pt x="1629" y="502558"/>
                    <a:pt x="3115" y="492319"/>
                  </a:cubicBezTo>
                  <a:lnTo>
                    <a:pt x="50949" y="188404"/>
                  </a:lnTo>
                  <a:lnTo>
                    <a:pt x="51092" y="188404"/>
                  </a:lnTo>
                  <a:close/>
                  <a:moveTo>
                    <a:pt x="359578" y="157677"/>
                  </a:moveTo>
                  <a:cubicBezTo>
                    <a:pt x="357940" y="167173"/>
                    <a:pt x="364312" y="167916"/>
                    <a:pt x="367427" y="167916"/>
                  </a:cubicBezTo>
                  <a:cubicBezTo>
                    <a:pt x="371427" y="167916"/>
                    <a:pt x="375275" y="162430"/>
                    <a:pt x="384753" y="157677"/>
                  </a:cubicBezTo>
                  <a:cubicBezTo>
                    <a:pt x="403555" y="148171"/>
                    <a:pt x="420148" y="146685"/>
                    <a:pt x="433473" y="146685"/>
                  </a:cubicBezTo>
                  <a:cubicBezTo>
                    <a:pt x="519808" y="146685"/>
                    <a:pt x="565423" y="200282"/>
                    <a:pt x="565423" y="282092"/>
                  </a:cubicBezTo>
                  <a:cubicBezTo>
                    <a:pt x="565423" y="304209"/>
                    <a:pt x="563051" y="326184"/>
                    <a:pt x="559203" y="350530"/>
                  </a:cubicBezTo>
                  <a:cubicBezTo>
                    <a:pt x="538772" y="467820"/>
                    <a:pt x="501891" y="554374"/>
                    <a:pt x="386524" y="554374"/>
                  </a:cubicBezTo>
                  <a:cubicBezTo>
                    <a:pt x="362236" y="554374"/>
                    <a:pt x="337804" y="548888"/>
                    <a:pt x="321374" y="536267"/>
                  </a:cubicBezTo>
                  <a:cubicBezTo>
                    <a:pt x="314258" y="530771"/>
                    <a:pt x="308781" y="524389"/>
                    <a:pt x="304924" y="524389"/>
                  </a:cubicBezTo>
                  <a:cubicBezTo>
                    <a:pt x="302829" y="524294"/>
                    <a:pt x="300807" y="525161"/>
                    <a:pt x="299447" y="526761"/>
                  </a:cubicBezTo>
                  <a:lnTo>
                    <a:pt x="294704" y="532257"/>
                  </a:lnTo>
                  <a:cubicBezTo>
                    <a:pt x="283750" y="544878"/>
                    <a:pt x="272796" y="554231"/>
                    <a:pt x="248355" y="554231"/>
                  </a:cubicBezTo>
                  <a:cubicBezTo>
                    <a:pt x="226438" y="554231"/>
                    <a:pt x="205111" y="544725"/>
                    <a:pt x="205111" y="518741"/>
                  </a:cubicBezTo>
                  <a:cubicBezTo>
                    <a:pt x="205111" y="511616"/>
                    <a:pt x="207483" y="499891"/>
                    <a:pt x="209112" y="490385"/>
                  </a:cubicBezTo>
                  <a:lnTo>
                    <a:pt x="279749" y="41719"/>
                  </a:lnTo>
                  <a:cubicBezTo>
                    <a:pt x="285226" y="5496"/>
                    <a:pt x="309515" y="0"/>
                    <a:pt x="332327" y="0"/>
                  </a:cubicBezTo>
                  <a:cubicBezTo>
                    <a:pt x="353501" y="0"/>
                    <a:pt x="377047" y="7868"/>
                    <a:pt x="377047" y="33852"/>
                  </a:cubicBezTo>
                  <a:cubicBezTo>
                    <a:pt x="377047" y="40234"/>
                    <a:pt x="375428" y="51968"/>
                    <a:pt x="373942" y="62208"/>
                  </a:cubicBezTo>
                  <a:lnTo>
                    <a:pt x="359874" y="157382"/>
                  </a:lnTo>
                  <a:lnTo>
                    <a:pt x="359578" y="157667"/>
                  </a:lnTo>
                  <a:close/>
                  <a:moveTo>
                    <a:pt x="458505" y="350530"/>
                  </a:moveTo>
                  <a:cubicBezTo>
                    <a:pt x="461610" y="331680"/>
                    <a:pt x="463982" y="308810"/>
                    <a:pt x="463982" y="294561"/>
                  </a:cubicBezTo>
                  <a:cubicBezTo>
                    <a:pt x="463982" y="263823"/>
                    <a:pt x="452133" y="240221"/>
                    <a:pt x="409042" y="240221"/>
                  </a:cubicBezTo>
                  <a:cubicBezTo>
                    <a:pt x="346243" y="240221"/>
                    <a:pt x="336766" y="300057"/>
                    <a:pt x="328917" y="350387"/>
                  </a:cubicBezTo>
                  <a:cubicBezTo>
                    <a:pt x="326546" y="365379"/>
                    <a:pt x="323440" y="388096"/>
                    <a:pt x="323440" y="404727"/>
                  </a:cubicBezTo>
                  <a:cubicBezTo>
                    <a:pt x="323440" y="436940"/>
                    <a:pt x="335290" y="460543"/>
                    <a:pt x="373637" y="460543"/>
                  </a:cubicBezTo>
                  <a:cubicBezTo>
                    <a:pt x="435693" y="460543"/>
                    <a:pt x="447389" y="421948"/>
                    <a:pt x="458505" y="350387"/>
                  </a:cubicBezTo>
                  <a:lnTo>
                    <a:pt x="458505" y="350530"/>
                  </a:lnTo>
                  <a:close/>
                  <a:moveTo>
                    <a:pt x="723890" y="409623"/>
                  </a:moveTo>
                  <a:cubicBezTo>
                    <a:pt x="723890" y="441836"/>
                    <a:pt x="737216" y="460839"/>
                    <a:pt x="785203" y="460839"/>
                  </a:cubicBezTo>
                  <a:cubicBezTo>
                    <a:pt x="807120" y="460839"/>
                    <a:pt x="837028" y="455352"/>
                    <a:pt x="857469" y="444360"/>
                  </a:cubicBezTo>
                  <a:cubicBezTo>
                    <a:pt x="870795" y="437236"/>
                    <a:pt x="879386" y="430997"/>
                    <a:pt x="893607" y="430997"/>
                  </a:cubicBezTo>
                  <a:cubicBezTo>
                    <a:pt x="917896" y="430997"/>
                    <a:pt x="933593" y="454609"/>
                    <a:pt x="933593" y="476583"/>
                  </a:cubicBezTo>
                  <a:cubicBezTo>
                    <a:pt x="933593" y="489937"/>
                    <a:pt x="928849" y="500929"/>
                    <a:pt x="913152" y="512064"/>
                  </a:cubicBezTo>
                  <a:cubicBezTo>
                    <a:pt x="867689" y="544278"/>
                    <a:pt x="817331" y="554527"/>
                    <a:pt x="764019" y="554527"/>
                  </a:cubicBezTo>
                  <a:cubicBezTo>
                    <a:pt x="666721" y="554527"/>
                    <a:pt x="623478" y="500929"/>
                    <a:pt x="623478" y="420757"/>
                  </a:cubicBezTo>
                  <a:cubicBezTo>
                    <a:pt x="623478" y="401012"/>
                    <a:pt x="625850" y="374285"/>
                    <a:pt x="629698" y="350682"/>
                  </a:cubicBezTo>
                  <a:cubicBezTo>
                    <a:pt x="650138" y="230276"/>
                    <a:pt x="680790" y="146837"/>
                    <a:pt x="828294" y="146837"/>
                  </a:cubicBezTo>
                  <a:cubicBezTo>
                    <a:pt x="915524" y="146837"/>
                    <a:pt x="966464" y="196425"/>
                    <a:pt x="966464" y="278225"/>
                  </a:cubicBezTo>
                  <a:cubicBezTo>
                    <a:pt x="966464" y="293970"/>
                    <a:pt x="965730" y="310448"/>
                    <a:pt x="962473" y="328555"/>
                  </a:cubicBezTo>
                  <a:cubicBezTo>
                    <a:pt x="957729" y="357654"/>
                    <a:pt x="949138" y="387648"/>
                    <a:pt x="905894" y="387648"/>
                  </a:cubicBezTo>
                  <a:lnTo>
                    <a:pt x="733958" y="387648"/>
                  </a:lnTo>
                  <a:cubicBezTo>
                    <a:pt x="729282" y="387553"/>
                    <a:pt x="725243" y="390906"/>
                    <a:pt x="724481" y="395516"/>
                  </a:cubicBezTo>
                  <a:cubicBezTo>
                    <a:pt x="723738" y="400269"/>
                    <a:pt x="723738" y="405022"/>
                    <a:pt x="723738" y="409765"/>
                  </a:cubicBezTo>
                  <a:lnTo>
                    <a:pt x="723890" y="409623"/>
                  </a:lnTo>
                  <a:close/>
                  <a:moveTo>
                    <a:pt x="871537" y="288322"/>
                  </a:moveTo>
                  <a:cubicBezTo>
                    <a:pt x="871537" y="256851"/>
                    <a:pt x="858212" y="233982"/>
                    <a:pt x="815702" y="233982"/>
                  </a:cubicBezTo>
                  <a:cubicBezTo>
                    <a:pt x="766239" y="233982"/>
                    <a:pt x="745808" y="263823"/>
                    <a:pt x="739588" y="303324"/>
                  </a:cubicBezTo>
                  <a:cubicBezTo>
                    <a:pt x="738845" y="308810"/>
                    <a:pt x="741216" y="310448"/>
                    <a:pt x="744322" y="310448"/>
                  </a:cubicBezTo>
                  <a:lnTo>
                    <a:pt x="863689" y="310448"/>
                  </a:lnTo>
                  <a:cubicBezTo>
                    <a:pt x="867689" y="310448"/>
                    <a:pt x="869166" y="308067"/>
                    <a:pt x="869909" y="304209"/>
                  </a:cubicBezTo>
                  <a:cubicBezTo>
                    <a:pt x="870652" y="298714"/>
                    <a:pt x="871537" y="293227"/>
                    <a:pt x="871537" y="288474"/>
                  </a:cubicBezTo>
                  <a:lnTo>
                    <a:pt x="871537" y="288322"/>
                  </a:lnTo>
                  <a:close/>
                  <a:moveTo>
                    <a:pt x="1171280" y="175041"/>
                  </a:moveTo>
                  <a:cubicBezTo>
                    <a:pt x="1172023" y="178165"/>
                    <a:pt x="1173651" y="179051"/>
                    <a:pt x="1175280" y="179051"/>
                  </a:cubicBezTo>
                  <a:cubicBezTo>
                    <a:pt x="1176909" y="179051"/>
                    <a:pt x="1179281" y="177422"/>
                    <a:pt x="1182386" y="175050"/>
                  </a:cubicBezTo>
                  <a:cubicBezTo>
                    <a:pt x="1202827" y="159306"/>
                    <a:pt x="1223258" y="146685"/>
                    <a:pt x="1251547" y="146685"/>
                  </a:cubicBezTo>
                  <a:cubicBezTo>
                    <a:pt x="1286056" y="146685"/>
                    <a:pt x="1305011" y="157677"/>
                    <a:pt x="1305011" y="188404"/>
                  </a:cubicBezTo>
                  <a:cubicBezTo>
                    <a:pt x="1305011" y="213646"/>
                    <a:pt x="1297905" y="245859"/>
                    <a:pt x="1255548" y="245859"/>
                  </a:cubicBezTo>
                  <a:cubicBezTo>
                    <a:pt x="1232745" y="245859"/>
                    <a:pt x="1233630" y="245116"/>
                    <a:pt x="1221781" y="245116"/>
                  </a:cubicBezTo>
                  <a:cubicBezTo>
                    <a:pt x="1202969" y="245116"/>
                    <a:pt x="1162098" y="246755"/>
                    <a:pt x="1151877" y="313563"/>
                  </a:cubicBezTo>
                  <a:lnTo>
                    <a:pt x="1120483" y="512655"/>
                  </a:lnTo>
                  <a:cubicBezTo>
                    <a:pt x="1115006" y="548888"/>
                    <a:pt x="1089831" y="554374"/>
                    <a:pt x="1067019" y="554374"/>
                  </a:cubicBezTo>
                  <a:cubicBezTo>
                    <a:pt x="1045845" y="554374"/>
                    <a:pt x="1022299" y="546506"/>
                    <a:pt x="1022299" y="520522"/>
                  </a:cubicBezTo>
                  <a:cubicBezTo>
                    <a:pt x="1022299" y="514293"/>
                    <a:pt x="1023928" y="502415"/>
                    <a:pt x="1025404" y="492166"/>
                  </a:cubicBezTo>
                  <a:lnTo>
                    <a:pt x="1073239" y="188262"/>
                  </a:lnTo>
                  <a:cubicBezTo>
                    <a:pt x="1078725" y="152029"/>
                    <a:pt x="1103157" y="146542"/>
                    <a:pt x="1125817" y="146542"/>
                  </a:cubicBezTo>
                  <a:cubicBezTo>
                    <a:pt x="1146991" y="146542"/>
                    <a:pt x="1161212" y="151295"/>
                    <a:pt x="1169060" y="167773"/>
                  </a:cubicBezTo>
                  <a:cubicBezTo>
                    <a:pt x="1170689" y="170888"/>
                    <a:pt x="1171432" y="174898"/>
                    <a:pt x="1171432" y="174898"/>
                  </a:cubicBezTo>
                  <a:lnTo>
                    <a:pt x="1171280" y="175041"/>
                  </a:lnTo>
                  <a:close/>
                </a:path>
              </a:pathLst>
            </a:custGeom>
            <a:solidFill>
              <a:srgbClr val="081835"/>
            </a:solidFill>
            <a:ln w="9525" cap="flat">
              <a:noFill/>
              <a:prstDash val="solid"/>
              <a:miter/>
            </a:ln>
          </p:spPr>
          <p:txBody>
            <a:bodyPr rtlCol="0" anchor="ctr"/>
            <a:lstStyle/>
            <a:p>
              <a:endParaRPr lang="en-GB" sz="1800"/>
            </a:p>
          </p:txBody>
        </p:sp>
        <p:sp>
          <p:nvSpPr>
            <p:cNvPr id="52" name="Freeform: Shape 57">
              <a:extLst>
                <a:ext uri="{FF2B5EF4-FFF2-40B4-BE49-F238E27FC236}">
                  <a16:creationId xmlns:a16="http://schemas.microsoft.com/office/drawing/2014/main" id="{27C0155B-9BB4-DCCA-8B38-8209A831876A}"/>
                </a:ext>
              </a:extLst>
            </p:cNvPr>
            <p:cNvSpPr/>
            <p:nvPr/>
          </p:nvSpPr>
          <p:spPr>
            <a:xfrm>
              <a:off x="3700462" y="2370200"/>
              <a:ext cx="612962" cy="551411"/>
            </a:xfrm>
            <a:custGeom>
              <a:avLst/>
              <a:gdLst>
                <a:gd name="connsiteX0" fmla="*/ 562613 w 612962"/>
                <a:gd name="connsiteY0" fmla="*/ 152 h 551411"/>
                <a:gd name="connsiteX1" fmla="*/ 297971 w 612962"/>
                <a:gd name="connsiteY1" fmla="*/ 152 h 551411"/>
                <a:gd name="connsiteX2" fmla="*/ 47092 w 612962"/>
                <a:gd name="connsiteY2" fmla="*/ 214684 h 551411"/>
                <a:gd name="connsiteX3" fmla="*/ 42062 w 612962"/>
                <a:gd name="connsiteY3" fmla="*/ 246612 h 551411"/>
                <a:gd name="connsiteX4" fmla="*/ 4000 w 612962"/>
                <a:gd name="connsiteY4" fmla="*/ 486823 h 551411"/>
                <a:gd name="connsiteX5" fmla="*/ 0 w 612962"/>
                <a:gd name="connsiteY5" fmla="*/ 515922 h 551411"/>
                <a:gd name="connsiteX6" fmla="*/ 45463 w 612962"/>
                <a:gd name="connsiteY6" fmla="*/ 551412 h 551411"/>
                <a:gd name="connsiteX7" fmla="*/ 102775 w 612962"/>
                <a:gd name="connsiteY7" fmla="*/ 508054 h 551411"/>
                <a:gd name="connsiteX8" fmla="*/ 107518 w 612962"/>
                <a:gd name="connsiteY8" fmla="*/ 477326 h 551411"/>
                <a:gd name="connsiteX9" fmla="*/ 108109 w 612962"/>
                <a:gd name="connsiteY9" fmla="*/ 475098 h 551411"/>
                <a:gd name="connsiteX10" fmla="*/ 132398 w 612962"/>
                <a:gd name="connsiteY10" fmla="*/ 320097 h 551411"/>
                <a:gd name="connsiteX11" fmla="*/ 140399 w 612962"/>
                <a:gd name="connsiteY11" fmla="*/ 315201 h 551411"/>
                <a:gd name="connsiteX12" fmla="*/ 287160 w 612962"/>
                <a:gd name="connsiteY12" fmla="*/ 315201 h 551411"/>
                <a:gd name="connsiteX13" fmla="*/ 347577 w 612962"/>
                <a:gd name="connsiteY13" fmla="*/ 259223 h 551411"/>
                <a:gd name="connsiteX14" fmla="*/ 305219 w 612962"/>
                <a:gd name="connsiteY14" fmla="*/ 215884 h 551411"/>
                <a:gd name="connsiteX15" fmla="*/ 149581 w 612962"/>
                <a:gd name="connsiteY15" fmla="*/ 215884 h 551411"/>
                <a:gd name="connsiteX16" fmla="*/ 297971 w 612962"/>
                <a:gd name="connsiteY16" fmla="*/ 100965 h 551411"/>
                <a:gd name="connsiteX17" fmla="*/ 562613 w 612962"/>
                <a:gd name="connsiteY17" fmla="*/ 100965 h 551411"/>
                <a:gd name="connsiteX18" fmla="*/ 612962 w 612962"/>
                <a:gd name="connsiteY18" fmla="*/ 50559 h 551411"/>
                <a:gd name="connsiteX19" fmla="*/ 612962 w 612962"/>
                <a:gd name="connsiteY19" fmla="*/ 50483 h 551411"/>
                <a:gd name="connsiteX20" fmla="*/ 562613 w 612962"/>
                <a:gd name="connsiteY20" fmla="*/ 0 h 551411"/>
                <a:gd name="connsiteX21" fmla="*/ 562613 w 612962"/>
                <a:gd name="connsiteY21" fmla="*/ 152 h 55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962" h="551411">
                  <a:moveTo>
                    <a:pt x="562613" y="152"/>
                  </a:moveTo>
                  <a:lnTo>
                    <a:pt x="297971" y="152"/>
                  </a:lnTo>
                  <a:cubicBezTo>
                    <a:pt x="172526" y="152"/>
                    <a:pt x="66942" y="90278"/>
                    <a:pt x="47092" y="214684"/>
                  </a:cubicBezTo>
                  <a:lnTo>
                    <a:pt x="42062" y="246612"/>
                  </a:lnTo>
                  <a:lnTo>
                    <a:pt x="4000" y="486823"/>
                  </a:lnTo>
                  <a:cubicBezTo>
                    <a:pt x="1629" y="499443"/>
                    <a:pt x="0" y="511178"/>
                    <a:pt x="0" y="515922"/>
                  </a:cubicBezTo>
                  <a:cubicBezTo>
                    <a:pt x="0" y="543544"/>
                    <a:pt x="23546" y="551412"/>
                    <a:pt x="45463" y="551412"/>
                  </a:cubicBezTo>
                  <a:cubicBezTo>
                    <a:pt x="75371" y="551412"/>
                    <a:pt x="97298" y="542801"/>
                    <a:pt x="102775" y="508054"/>
                  </a:cubicBezTo>
                  <a:lnTo>
                    <a:pt x="107518" y="477326"/>
                  </a:lnTo>
                  <a:cubicBezTo>
                    <a:pt x="107661" y="476583"/>
                    <a:pt x="107956" y="475840"/>
                    <a:pt x="108109" y="475098"/>
                  </a:cubicBezTo>
                  <a:lnTo>
                    <a:pt x="132398" y="320097"/>
                  </a:lnTo>
                  <a:cubicBezTo>
                    <a:pt x="133436" y="316535"/>
                    <a:pt x="135798" y="315201"/>
                    <a:pt x="140399" y="315201"/>
                  </a:cubicBezTo>
                  <a:lnTo>
                    <a:pt x="287160" y="315201"/>
                  </a:lnTo>
                  <a:cubicBezTo>
                    <a:pt x="328774" y="315201"/>
                    <a:pt x="347577" y="289217"/>
                    <a:pt x="347577" y="259223"/>
                  </a:cubicBezTo>
                  <a:cubicBezTo>
                    <a:pt x="347577" y="236363"/>
                    <a:pt x="336623" y="215884"/>
                    <a:pt x="305219" y="215884"/>
                  </a:cubicBezTo>
                  <a:lnTo>
                    <a:pt x="149581" y="215884"/>
                  </a:lnTo>
                  <a:cubicBezTo>
                    <a:pt x="167049" y="148476"/>
                    <a:pt x="227181" y="100965"/>
                    <a:pt x="297971" y="100965"/>
                  </a:cubicBezTo>
                  <a:lnTo>
                    <a:pt x="562613" y="100965"/>
                  </a:lnTo>
                  <a:cubicBezTo>
                    <a:pt x="590436" y="100950"/>
                    <a:pt x="612979" y="78381"/>
                    <a:pt x="612962" y="50559"/>
                  </a:cubicBezTo>
                  <a:cubicBezTo>
                    <a:pt x="612962" y="50533"/>
                    <a:pt x="612962" y="50508"/>
                    <a:pt x="612962" y="50483"/>
                  </a:cubicBezTo>
                  <a:cubicBezTo>
                    <a:pt x="612962" y="22574"/>
                    <a:pt x="590455" y="0"/>
                    <a:pt x="562613" y="0"/>
                  </a:cubicBezTo>
                  <a:lnTo>
                    <a:pt x="562613" y="152"/>
                  </a:lnTo>
                  <a:close/>
                </a:path>
              </a:pathLst>
            </a:custGeom>
            <a:solidFill>
              <a:srgbClr val="081835"/>
            </a:solidFill>
            <a:ln w="9525" cap="flat">
              <a:noFill/>
              <a:prstDash val="solid"/>
              <a:miter/>
            </a:ln>
          </p:spPr>
          <p:txBody>
            <a:bodyPr rtlCol="0" anchor="ctr"/>
            <a:lstStyle/>
            <a:p>
              <a:endParaRPr lang="en-GB" sz="1800"/>
            </a:p>
          </p:txBody>
        </p:sp>
        <p:sp>
          <p:nvSpPr>
            <p:cNvPr id="53" name="Freeform: Shape 58">
              <a:extLst>
                <a:ext uri="{FF2B5EF4-FFF2-40B4-BE49-F238E27FC236}">
                  <a16:creationId xmlns:a16="http://schemas.microsoft.com/office/drawing/2014/main" id="{385E5FE1-24B2-9E30-C4B9-26962A91F380}"/>
                </a:ext>
              </a:extLst>
            </p:cNvPr>
            <p:cNvSpPr/>
            <p:nvPr/>
          </p:nvSpPr>
          <p:spPr>
            <a:xfrm>
              <a:off x="3883503" y="1753181"/>
              <a:ext cx="348472" cy="386610"/>
            </a:xfrm>
            <a:custGeom>
              <a:avLst/>
              <a:gdLst>
                <a:gd name="connsiteX0" fmla="*/ 244954 w 348472"/>
                <a:gd name="connsiteY0" fmla="*/ 68590 h 386610"/>
                <a:gd name="connsiteX1" fmla="*/ 220513 w 348472"/>
                <a:gd name="connsiteY1" fmla="*/ 60722 h 386610"/>
                <a:gd name="connsiteX2" fmla="*/ 139360 w 348472"/>
                <a:gd name="connsiteY2" fmla="*/ 30728 h 386610"/>
                <a:gd name="connsiteX3" fmla="*/ 11849 w 348472"/>
                <a:gd name="connsiteY3" fmla="*/ 210674 h 386610"/>
                <a:gd name="connsiteX4" fmla="*/ 0 w 348472"/>
                <a:gd name="connsiteY4" fmla="*/ 310886 h 386610"/>
                <a:gd name="connsiteX5" fmla="*/ 47987 w 348472"/>
                <a:gd name="connsiteY5" fmla="*/ 386610 h 386610"/>
                <a:gd name="connsiteX6" fmla="*/ 44434 w 348472"/>
                <a:gd name="connsiteY6" fmla="*/ 355425 h 386610"/>
                <a:gd name="connsiteX7" fmla="*/ 56283 w 348472"/>
                <a:gd name="connsiteY7" fmla="*/ 255213 h 386610"/>
                <a:gd name="connsiteX8" fmla="*/ 183785 w 348472"/>
                <a:gd name="connsiteY8" fmla="*/ 75276 h 386610"/>
                <a:gd name="connsiteX9" fmla="*/ 264938 w 348472"/>
                <a:gd name="connsiteY9" fmla="*/ 105261 h 386610"/>
                <a:gd name="connsiteX10" fmla="*/ 289379 w 348472"/>
                <a:gd name="connsiteY10" fmla="*/ 113128 h 386610"/>
                <a:gd name="connsiteX11" fmla="*/ 348472 w 348472"/>
                <a:gd name="connsiteY11" fmla="*/ 53150 h 386610"/>
                <a:gd name="connsiteX12" fmla="*/ 328774 w 348472"/>
                <a:gd name="connsiteY12" fmla="*/ 17669 h 386610"/>
                <a:gd name="connsiteX13" fmla="*/ 302857 w 348472"/>
                <a:gd name="connsiteY13" fmla="*/ 0 h 386610"/>
                <a:gd name="connsiteX14" fmla="*/ 304038 w 348472"/>
                <a:gd name="connsiteY14" fmla="*/ 8611 h 386610"/>
                <a:gd name="connsiteX15" fmla="*/ 244954 w 348472"/>
                <a:gd name="connsiteY15" fmla="*/ 68590 h 38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472" h="386610">
                  <a:moveTo>
                    <a:pt x="244954" y="68590"/>
                  </a:moveTo>
                  <a:cubicBezTo>
                    <a:pt x="234001" y="68590"/>
                    <a:pt x="226886" y="65475"/>
                    <a:pt x="220513" y="60722"/>
                  </a:cubicBezTo>
                  <a:cubicBezTo>
                    <a:pt x="190605" y="36224"/>
                    <a:pt x="171650" y="30728"/>
                    <a:pt x="139360" y="30728"/>
                  </a:cubicBezTo>
                  <a:cubicBezTo>
                    <a:pt x="32290" y="30728"/>
                    <a:pt x="25918" y="136589"/>
                    <a:pt x="11849" y="210674"/>
                  </a:cubicBezTo>
                  <a:cubicBezTo>
                    <a:pt x="4001" y="250908"/>
                    <a:pt x="0" y="284169"/>
                    <a:pt x="0" y="310886"/>
                  </a:cubicBezTo>
                  <a:cubicBezTo>
                    <a:pt x="0" y="354235"/>
                    <a:pt x="14373" y="377990"/>
                    <a:pt x="47987" y="386610"/>
                  </a:cubicBezTo>
                  <a:cubicBezTo>
                    <a:pt x="45547" y="376398"/>
                    <a:pt x="44354" y="365926"/>
                    <a:pt x="44434" y="355425"/>
                  </a:cubicBezTo>
                  <a:cubicBezTo>
                    <a:pt x="44434" y="328555"/>
                    <a:pt x="48435" y="295446"/>
                    <a:pt x="56283" y="255213"/>
                  </a:cubicBezTo>
                  <a:cubicBezTo>
                    <a:pt x="70495" y="180985"/>
                    <a:pt x="76714" y="75276"/>
                    <a:pt x="183785" y="75276"/>
                  </a:cubicBezTo>
                  <a:cubicBezTo>
                    <a:pt x="216075" y="75276"/>
                    <a:pt x="235029" y="80762"/>
                    <a:pt x="264938" y="105261"/>
                  </a:cubicBezTo>
                  <a:cubicBezTo>
                    <a:pt x="271167" y="110014"/>
                    <a:pt x="278273" y="113128"/>
                    <a:pt x="289379" y="113128"/>
                  </a:cubicBezTo>
                  <a:cubicBezTo>
                    <a:pt x="320040" y="113128"/>
                    <a:pt x="348472" y="80762"/>
                    <a:pt x="348472" y="53150"/>
                  </a:cubicBezTo>
                  <a:cubicBezTo>
                    <a:pt x="348472" y="37414"/>
                    <a:pt x="339881" y="27908"/>
                    <a:pt x="328774" y="17669"/>
                  </a:cubicBezTo>
                  <a:cubicBezTo>
                    <a:pt x="321221" y="10839"/>
                    <a:pt x="312334" y="5048"/>
                    <a:pt x="302857" y="0"/>
                  </a:cubicBezTo>
                  <a:cubicBezTo>
                    <a:pt x="303447" y="2667"/>
                    <a:pt x="304038" y="5496"/>
                    <a:pt x="304038" y="8611"/>
                  </a:cubicBezTo>
                  <a:cubicBezTo>
                    <a:pt x="304038" y="36233"/>
                    <a:pt x="275749" y="68590"/>
                    <a:pt x="244954" y="68590"/>
                  </a:cubicBezTo>
                  <a:close/>
                </a:path>
              </a:pathLst>
            </a:custGeom>
            <a:solidFill>
              <a:srgbClr val="ED3B94"/>
            </a:solidFill>
            <a:ln w="9525" cap="flat">
              <a:noFill/>
              <a:prstDash val="solid"/>
              <a:miter/>
            </a:ln>
          </p:spPr>
          <p:txBody>
            <a:bodyPr rtlCol="0" anchor="ctr"/>
            <a:lstStyle/>
            <a:p>
              <a:endParaRPr lang="en-GB" sz="1800"/>
            </a:p>
          </p:txBody>
        </p:sp>
        <p:sp>
          <p:nvSpPr>
            <p:cNvPr id="54" name="Freeform: Shape 59">
              <a:extLst>
                <a:ext uri="{FF2B5EF4-FFF2-40B4-BE49-F238E27FC236}">
                  <a16:creationId xmlns:a16="http://schemas.microsoft.com/office/drawing/2014/main" id="{C454BA7F-430D-28AE-8955-382E7D33F1B8}"/>
                </a:ext>
              </a:extLst>
            </p:cNvPr>
            <p:cNvSpPr/>
            <p:nvPr/>
          </p:nvSpPr>
          <p:spPr>
            <a:xfrm>
              <a:off x="4033522" y="2011956"/>
              <a:ext cx="48615" cy="44538"/>
            </a:xfrm>
            <a:custGeom>
              <a:avLst/>
              <a:gdLst>
                <a:gd name="connsiteX0" fmla="*/ 48435 w 48615"/>
                <a:gd name="connsiteY0" fmla="*/ 7125 h 44538"/>
                <a:gd name="connsiteX1" fmla="*/ 42958 w 48615"/>
                <a:gd name="connsiteY1" fmla="*/ 0 h 44538"/>
                <a:gd name="connsiteX2" fmla="*/ 0 w 48615"/>
                <a:gd name="connsiteY2" fmla="*/ 0 h 44538"/>
                <a:gd name="connsiteX3" fmla="*/ 0 w 48615"/>
                <a:gd name="connsiteY3" fmla="*/ 1191 h 44538"/>
                <a:gd name="connsiteX4" fmla="*/ 41767 w 48615"/>
                <a:gd name="connsiteY4" fmla="*/ 44539 h 44538"/>
                <a:gd name="connsiteX5" fmla="*/ 42367 w 48615"/>
                <a:gd name="connsiteY5" fmla="*/ 44539 h 44538"/>
                <a:gd name="connsiteX6" fmla="*/ 43844 w 48615"/>
                <a:gd name="connsiteY6" fmla="*/ 37109 h 44538"/>
                <a:gd name="connsiteX7" fmla="*/ 48587 w 48615"/>
                <a:gd name="connsiteY7" fmla="*/ 7125 h 44538"/>
                <a:gd name="connsiteX8" fmla="*/ 48435 w 48615"/>
                <a:gd name="connsiteY8" fmla="*/ 7125 h 4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15" h="44538">
                  <a:moveTo>
                    <a:pt x="48435" y="7125"/>
                  </a:moveTo>
                  <a:cubicBezTo>
                    <a:pt x="49178" y="1638"/>
                    <a:pt x="47692" y="0"/>
                    <a:pt x="42958" y="0"/>
                  </a:cubicBezTo>
                  <a:lnTo>
                    <a:pt x="0" y="0"/>
                  </a:lnTo>
                  <a:lnTo>
                    <a:pt x="0" y="1191"/>
                  </a:lnTo>
                  <a:cubicBezTo>
                    <a:pt x="0" y="24051"/>
                    <a:pt x="10963" y="44539"/>
                    <a:pt x="41767" y="44539"/>
                  </a:cubicBezTo>
                  <a:lnTo>
                    <a:pt x="42367" y="44539"/>
                  </a:lnTo>
                  <a:cubicBezTo>
                    <a:pt x="42958" y="42015"/>
                    <a:pt x="43396" y="39643"/>
                    <a:pt x="43844" y="37109"/>
                  </a:cubicBezTo>
                  <a:lnTo>
                    <a:pt x="48587" y="7125"/>
                  </a:lnTo>
                  <a:lnTo>
                    <a:pt x="48435" y="7125"/>
                  </a:lnTo>
                  <a:close/>
                </a:path>
              </a:pathLst>
            </a:custGeom>
            <a:solidFill>
              <a:srgbClr val="ED3B94"/>
            </a:solidFill>
            <a:ln w="9525" cap="flat">
              <a:noFill/>
              <a:prstDash val="solid"/>
              <a:miter/>
            </a:ln>
          </p:spPr>
          <p:txBody>
            <a:bodyPr rtlCol="0" anchor="ctr"/>
            <a:lstStyle/>
            <a:p>
              <a:endParaRPr lang="en-GB" sz="1800"/>
            </a:p>
          </p:txBody>
        </p:sp>
        <p:sp>
          <p:nvSpPr>
            <p:cNvPr id="55" name="Freeform: Shape 60">
              <a:extLst>
                <a:ext uri="{FF2B5EF4-FFF2-40B4-BE49-F238E27FC236}">
                  <a16:creationId xmlns:a16="http://schemas.microsoft.com/office/drawing/2014/main" id="{943F78DB-6120-5AA1-CC96-3A5960DFB022}"/>
                </a:ext>
              </a:extLst>
            </p:cNvPr>
            <p:cNvSpPr/>
            <p:nvPr/>
          </p:nvSpPr>
          <p:spPr>
            <a:xfrm>
              <a:off x="3843517" y="1783908"/>
              <a:ext cx="721966" cy="502262"/>
            </a:xfrm>
            <a:custGeom>
              <a:avLst/>
              <a:gdLst>
                <a:gd name="connsiteX0" fmla="*/ 359283 w 721966"/>
                <a:gd name="connsiteY0" fmla="*/ 173860 h 502262"/>
                <a:gd name="connsiteX1" fmla="*/ 349063 w 721966"/>
                <a:gd name="connsiteY1" fmla="*/ 173860 h 502262"/>
                <a:gd name="connsiteX2" fmla="*/ 334547 w 721966"/>
                <a:gd name="connsiteY2" fmla="*/ 265909 h 502262"/>
                <a:gd name="connsiteX3" fmla="*/ 106928 w 721966"/>
                <a:gd name="connsiteY3" fmla="*/ 457724 h 502262"/>
                <a:gd name="connsiteX4" fmla="*/ 0 w 721966"/>
                <a:gd name="connsiteY4" fmla="*/ 433969 h 502262"/>
                <a:gd name="connsiteX5" fmla="*/ 151352 w 721966"/>
                <a:gd name="connsiteY5" fmla="*/ 502263 h 502262"/>
                <a:gd name="connsiteX6" fmla="*/ 378981 w 721966"/>
                <a:gd name="connsiteY6" fmla="*/ 310448 h 502262"/>
                <a:gd name="connsiteX7" fmla="*/ 393935 w 721966"/>
                <a:gd name="connsiteY7" fmla="*/ 215722 h 502262"/>
                <a:gd name="connsiteX8" fmla="*/ 359283 w 721966"/>
                <a:gd name="connsiteY8" fmla="*/ 173860 h 502262"/>
                <a:gd name="connsiteX9" fmla="*/ 561575 w 721966"/>
                <a:gd name="connsiteY9" fmla="*/ 224485 h 502262"/>
                <a:gd name="connsiteX10" fmla="*/ 689086 w 721966"/>
                <a:gd name="connsiteY10" fmla="*/ 44548 h 502262"/>
                <a:gd name="connsiteX11" fmla="*/ 721966 w 721966"/>
                <a:gd name="connsiteY11" fmla="*/ 49292 h 502262"/>
                <a:gd name="connsiteX12" fmla="*/ 644662 w 721966"/>
                <a:gd name="connsiteY12" fmla="*/ 0 h 502262"/>
                <a:gd name="connsiteX13" fmla="*/ 517150 w 721966"/>
                <a:gd name="connsiteY13" fmla="*/ 179946 h 502262"/>
                <a:gd name="connsiteX14" fmla="*/ 505301 w 721966"/>
                <a:gd name="connsiteY14" fmla="*/ 280159 h 502262"/>
                <a:gd name="connsiteX15" fmla="*/ 553288 w 721966"/>
                <a:gd name="connsiteY15" fmla="*/ 355883 h 502262"/>
                <a:gd name="connsiteX16" fmla="*/ 549735 w 721966"/>
                <a:gd name="connsiteY16" fmla="*/ 324698 h 502262"/>
                <a:gd name="connsiteX17" fmla="*/ 561575 w 721966"/>
                <a:gd name="connsiteY17" fmla="*/ 224495 h 50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1966" h="502262">
                  <a:moveTo>
                    <a:pt x="359283" y="173860"/>
                  </a:moveTo>
                  <a:lnTo>
                    <a:pt x="349063" y="173860"/>
                  </a:lnTo>
                  <a:lnTo>
                    <a:pt x="334547" y="265909"/>
                  </a:lnTo>
                  <a:cubicBezTo>
                    <a:pt x="314849" y="390620"/>
                    <a:pt x="243173" y="457724"/>
                    <a:pt x="106928" y="457724"/>
                  </a:cubicBezTo>
                  <a:cubicBezTo>
                    <a:pt x="64275" y="457724"/>
                    <a:pt x="28146" y="450294"/>
                    <a:pt x="0" y="433969"/>
                  </a:cubicBezTo>
                  <a:cubicBezTo>
                    <a:pt x="27546" y="482222"/>
                    <a:pt x="80715" y="502263"/>
                    <a:pt x="151352" y="502263"/>
                  </a:cubicBezTo>
                  <a:cubicBezTo>
                    <a:pt x="287607" y="502263"/>
                    <a:pt x="359283" y="435159"/>
                    <a:pt x="378981" y="310448"/>
                  </a:cubicBezTo>
                  <a:lnTo>
                    <a:pt x="393935" y="215722"/>
                  </a:lnTo>
                  <a:cubicBezTo>
                    <a:pt x="398678" y="185738"/>
                    <a:pt x="382086" y="173860"/>
                    <a:pt x="359283" y="173860"/>
                  </a:cubicBezTo>
                  <a:close/>
                  <a:moveTo>
                    <a:pt x="561575" y="224485"/>
                  </a:moveTo>
                  <a:cubicBezTo>
                    <a:pt x="575796" y="150257"/>
                    <a:pt x="582016" y="44548"/>
                    <a:pt x="689086" y="44548"/>
                  </a:cubicBezTo>
                  <a:cubicBezTo>
                    <a:pt x="701373" y="44548"/>
                    <a:pt x="712337" y="46177"/>
                    <a:pt x="721966" y="49292"/>
                  </a:cubicBezTo>
                  <a:cubicBezTo>
                    <a:pt x="712041" y="17383"/>
                    <a:pt x="685533" y="0"/>
                    <a:pt x="644662" y="0"/>
                  </a:cubicBezTo>
                  <a:cubicBezTo>
                    <a:pt x="537591" y="0"/>
                    <a:pt x="531219" y="105861"/>
                    <a:pt x="517150" y="179946"/>
                  </a:cubicBezTo>
                  <a:cubicBezTo>
                    <a:pt x="509302" y="220180"/>
                    <a:pt x="505301" y="253441"/>
                    <a:pt x="505301" y="280159"/>
                  </a:cubicBezTo>
                  <a:cubicBezTo>
                    <a:pt x="505301" y="323517"/>
                    <a:pt x="519665" y="347262"/>
                    <a:pt x="553288" y="355883"/>
                  </a:cubicBezTo>
                  <a:cubicBezTo>
                    <a:pt x="550848" y="345670"/>
                    <a:pt x="549655" y="335198"/>
                    <a:pt x="549735" y="324698"/>
                  </a:cubicBezTo>
                  <a:cubicBezTo>
                    <a:pt x="549735" y="297828"/>
                    <a:pt x="553736" y="264719"/>
                    <a:pt x="561575" y="224495"/>
                  </a:cubicBezTo>
                  <a:close/>
                </a:path>
              </a:pathLst>
            </a:custGeom>
            <a:solidFill>
              <a:srgbClr val="ED3B94"/>
            </a:solidFill>
            <a:ln w="9525" cap="flat">
              <a:noFill/>
              <a:prstDash val="solid"/>
              <a:miter/>
            </a:ln>
          </p:spPr>
          <p:txBody>
            <a:bodyPr rtlCol="0" anchor="ctr"/>
            <a:lstStyle/>
            <a:p>
              <a:endParaRPr lang="en-GB" sz="1800"/>
            </a:p>
          </p:txBody>
        </p:sp>
        <p:sp>
          <p:nvSpPr>
            <p:cNvPr id="56" name="Freeform: Shape 61">
              <a:extLst>
                <a:ext uri="{FF2B5EF4-FFF2-40B4-BE49-F238E27FC236}">
                  <a16:creationId xmlns:a16="http://schemas.microsoft.com/office/drawing/2014/main" id="{41C03F32-E81F-2442-BE49-45C6AC5E789C}"/>
                </a:ext>
              </a:extLst>
            </p:cNvPr>
            <p:cNvSpPr/>
            <p:nvPr/>
          </p:nvSpPr>
          <p:spPr>
            <a:xfrm>
              <a:off x="4308833" y="1754066"/>
              <a:ext cx="411260" cy="532257"/>
            </a:xfrm>
            <a:custGeom>
              <a:avLst/>
              <a:gdLst>
                <a:gd name="connsiteX0" fmla="*/ 345357 w 411260"/>
                <a:gd name="connsiteY0" fmla="*/ 0 h 532257"/>
                <a:gd name="connsiteX1" fmla="*/ 366836 w 411260"/>
                <a:gd name="connsiteY1" fmla="*/ 95317 h 532257"/>
                <a:gd name="connsiteX2" fmla="*/ 356616 w 411260"/>
                <a:gd name="connsiteY2" fmla="*/ 209788 h 532257"/>
                <a:gd name="connsiteX3" fmla="*/ 106928 w 411260"/>
                <a:gd name="connsiteY3" fmla="*/ 487718 h 532257"/>
                <a:gd name="connsiteX4" fmla="*/ 0 w 411260"/>
                <a:gd name="connsiteY4" fmla="*/ 463963 h 532257"/>
                <a:gd name="connsiteX5" fmla="*/ 151352 w 411260"/>
                <a:gd name="connsiteY5" fmla="*/ 532257 h 532257"/>
                <a:gd name="connsiteX6" fmla="*/ 401041 w 411260"/>
                <a:gd name="connsiteY6" fmla="*/ 254327 h 532257"/>
                <a:gd name="connsiteX7" fmla="*/ 411261 w 411260"/>
                <a:gd name="connsiteY7" fmla="*/ 139856 h 532257"/>
                <a:gd name="connsiteX8" fmla="*/ 345357 w 411260"/>
                <a:gd name="connsiteY8" fmla="*/ 0 h 53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260" h="532257">
                  <a:moveTo>
                    <a:pt x="345357" y="0"/>
                  </a:moveTo>
                  <a:cubicBezTo>
                    <a:pt x="359283" y="24355"/>
                    <a:pt x="366836" y="55683"/>
                    <a:pt x="366836" y="95317"/>
                  </a:cubicBezTo>
                  <a:cubicBezTo>
                    <a:pt x="366836" y="127683"/>
                    <a:pt x="362836" y="166430"/>
                    <a:pt x="356616" y="209788"/>
                  </a:cubicBezTo>
                  <a:cubicBezTo>
                    <a:pt x="330698" y="378743"/>
                    <a:pt x="298418" y="487718"/>
                    <a:pt x="106928" y="487718"/>
                  </a:cubicBezTo>
                  <a:cubicBezTo>
                    <a:pt x="64275" y="487718"/>
                    <a:pt x="28137" y="480289"/>
                    <a:pt x="0" y="463963"/>
                  </a:cubicBezTo>
                  <a:cubicBezTo>
                    <a:pt x="27546" y="512216"/>
                    <a:pt x="80715" y="532257"/>
                    <a:pt x="151352" y="532257"/>
                  </a:cubicBezTo>
                  <a:cubicBezTo>
                    <a:pt x="342690" y="532257"/>
                    <a:pt x="374980" y="423291"/>
                    <a:pt x="401041" y="254327"/>
                  </a:cubicBezTo>
                  <a:cubicBezTo>
                    <a:pt x="407413" y="210979"/>
                    <a:pt x="411261" y="172222"/>
                    <a:pt x="411261" y="139856"/>
                  </a:cubicBezTo>
                  <a:cubicBezTo>
                    <a:pt x="411261" y="69342"/>
                    <a:pt x="387563" y="24651"/>
                    <a:pt x="345357" y="0"/>
                  </a:cubicBezTo>
                  <a:close/>
                </a:path>
              </a:pathLst>
            </a:custGeom>
            <a:solidFill>
              <a:srgbClr val="ED3B94"/>
            </a:solidFill>
            <a:ln w="9525" cap="flat">
              <a:noFill/>
              <a:prstDash val="solid"/>
              <a:miter/>
            </a:ln>
          </p:spPr>
          <p:txBody>
            <a:bodyPr rtlCol="0" anchor="ctr"/>
            <a:lstStyle/>
            <a:p>
              <a:endParaRPr lang="en-GB" sz="1800"/>
            </a:p>
          </p:txBody>
        </p:sp>
        <p:sp>
          <p:nvSpPr>
            <p:cNvPr id="57" name="Freeform: Shape 62">
              <a:extLst>
                <a:ext uri="{FF2B5EF4-FFF2-40B4-BE49-F238E27FC236}">
                  <a16:creationId xmlns:a16="http://schemas.microsoft.com/office/drawing/2014/main" id="{1EDC5F1F-433E-5373-2D94-02CB829D9E01}"/>
                </a:ext>
              </a:extLst>
            </p:cNvPr>
            <p:cNvSpPr/>
            <p:nvPr/>
          </p:nvSpPr>
          <p:spPr>
            <a:xfrm>
              <a:off x="3777919" y="1686077"/>
              <a:ext cx="408289" cy="532095"/>
            </a:xfrm>
            <a:custGeom>
              <a:avLst/>
              <a:gdLst>
                <a:gd name="connsiteX0" fmla="*/ 55531 w 408289"/>
                <a:gd name="connsiteY0" fmla="*/ 322317 h 532095"/>
                <a:gd name="connsiteX1" fmla="*/ 305067 w 408289"/>
                <a:gd name="connsiteY1" fmla="*/ 44387 h 532095"/>
                <a:gd name="connsiteX2" fmla="*/ 408289 w 408289"/>
                <a:gd name="connsiteY2" fmla="*/ 67104 h 532095"/>
                <a:gd name="connsiteX3" fmla="*/ 389782 w 408289"/>
                <a:gd name="connsiteY3" fmla="*/ 40234 h 532095"/>
                <a:gd name="connsiteX4" fmla="*/ 260642 w 408289"/>
                <a:gd name="connsiteY4" fmla="*/ 0 h 532095"/>
                <a:gd name="connsiteX5" fmla="*/ 11106 w 408289"/>
                <a:gd name="connsiteY5" fmla="*/ 277778 h 532095"/>
                <a:gd name="connsiteX6" fmla="*/ 0 w 408289"/>
                <a:gd name="connsiteY6" fmla="*/ 393878 h 532095"/>
                <a:gd name="connsiteX7" fmla="*/ 65599 w 408289"/>
                <a:gd name="connsiteY7" fmla="*/ 532095 h 532095"/>
                <a:gd name="connsiteX8" fmla="*/ 44425 w 408289"/>
                <a:gd name="connsiteY8" fmla="*/ 438417 h 532095"/>
                <a:gd name="connsiteX9" fmla="*/ 55531 w 408289"/>
                <a:gd name="connsiteY9" fmla="*/ 322317 h 53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289" h="532095">
                  <a:moveTo>
                    <a:pt x="55531" y="322317"/>
                  </a:moveTo>
                  <a:cubicBezTo>
                    <a:pt x="80705" y="161230"/>
                    <a:pt x="115357" y="44387"/>
                    <a:pt x="305067" y="44387"/>
                  </a:cubicBezTo>
                  <a:cubicBezTo>
                    <a:pt x="338242" y="44387"/>
                    <a:pt x="377190" y="50921"/>
                    <a:pt x="408289" y="67104"/>
                  </a:cubicBezTo>
                  <a:cubicBezTo>
                    <a:pt x="405775" y="56264"/>
                    <a:pt x="398669" y="48397"/>
                    <a:pt x="389782" y="40234"/>
                  </a:cubicBezTo>
                  <a:cubicBezTo>
                    <a:pt x="357492" y="10982"/>
                    <a:pt x="303886" y="0"/>
                    <a:pt x="260642" y="0"/>
                  </a:cubicBezTo>
                  <a:cubicBezTo>
                    <a:pt x="70933" y="-152"/>
                    <a:pt x="36281" y="116691"/>
                    <a:pt x="11106" y="277778"/>
                  </a:cubicBezTo>
                  <a:cubicBezTo>
                    <a:pt x="3991" y="322021"/>
                    <a:pt x="0" y="360626"/>
                    <a:pt x="0" y="393878"/>
                  </a:cubicBezTo>
                  <a:cubicBezTo>
                    <a:pt x="0" y="464106"/>
                    <a:pt x="23984" y="507892"/>
                    <a:pt x="65599" y="532095"/>
                  </a:cubicBezTo>
                  <a:cubicBezTo>
                    <a:pt x="51978" y="508197"/>
                    <a:pt x="44425" y="477469"/>
                    <a:pt x="44425" y="438417"/>
                  </a:cubicBezTo>
                  <a:cubicBezTo>
                    <a:pt x="44425" y="405308"/>
                    <a:pt x="48425" y="366560"/>
                    <a:pt x="55531" y="322317"/>
                  </a:cubicBezTo>
                  <a:close/>
                </a:path>
              </a:pathLst>
            </a:custGeom>
            <a:solidFill>
              <a:srgbClr val="00ADEE"/>
            </a:solidFill>
            <a:ln w="9525" cap="flat">
              <a:noFill/>
              <a:prstDash val="solid"/>
              <a:miter/>
            </a:ln>
          </p:spPr>
          <p:txBody>
            <a:bodyPr rtlCol="0" anchor="ctr"/>
            <a:lstStyle/>
            <a:p>
              <a:endParaRPr lang="en-GB" sz="1800"/>
            </a:p>
          </p:txBody>
        </p:sp>
        <p:sp>
          <p:nvSpPr>
            <p:cNvPr id="58" name="Freeform: Shape 63">
              <a:extLst>
                <a:ext uri="{FF2B5EF4-FFF2-40B4-BE49-F238E27FC236}">
                  <a16:creationId xmlns:a16="http://schemas.microsoft.com/office/drawing/2014/main" id="{F199C9CC-2DB4-2AE9-8E1E-66D273570CF4}"/>
                </a:ext>
              </a:extLst>
            </p:cNvPr>
            <p:cNvSpPr/>
            <p:nvPr/>
          </p:nvSpPr>
          <p:spPr>
            <a:xfrm>
              <a:off x="3931490" y="1913229"/>
              <a:ext cx="262347" cy="275101"/>
            </a:xfrm>
            <a:custGeom>
              <a:avLst/>
              <a:gdLst>
                <a:gd name="connsiteX0" fmla="*/ 157124 w 262347"/>
                <a:gd name="connsiteY0" fmla="*/ 44539 h 275101"/>
                <a:gd name="connsiteX1" fmla="*/ 261090 w 262347"/>
                <a:gd name="connsiteY1" fmla="*/ 44539 h 275101"/>
                <a:gd name="connsiteX2" fmla="*/ 261537 w 262347"/>
                <a:gd name="connsiteY2" fmla="*/ 41872 h 275101"/>
                <a:gd name="connsiteX3" fmla="*/ 226876 w 262347"/>
                <a:gd name="connsiteY3" fmla="*/ 0 h 275101"/>
                <a:gd name="connsiteX4" fmla="*/ 112700 w 262347"/>
                <a:gd name="connsiteY4" fmla="*/ 0 h 275101"/>
                <a:gd name="connsiteX5" fmla="*/ 57607 w 262347"/>
                <a:gd name="connsiteY5" fmla="*/ 55226 h 275101"/>
                <a:gd name="connsiteX6" fmla="*/ 99374 w 262347"/>
                <a:gd name="connsiteY6" fmla="*/ 98584 h 275101"/>
                <a:gd name="connsiteX7" fmla="*/ 102184 w 262347"/>
                <a:gd name="connsiteY7" fmla="*/ 98584 h 275101"/>
                <a:gd name="connsiteX8" fmla="*/ 157277 w 262347"/>
                <a:gd name="connsiteY8" fmla="*/ 44387 h 275101"/>
                <a:gd name="connsiteX9" fmla="*/ 157124 w 262347"/>
                <a:gd name="connsiteY9" fmla="*/ 44539 h 275101"/>
                <a:gd name="connsiteX10" fmla="*/ 79077 w 262347"/>
                <a:gd name="connsiteY10" fmla="*/ 275101 h 275101"/>
                <a:gd name="connsiteX11" fmla="*/ 190148 w 262347"/>
                <a:gd name="connsiteY11" fmla="*/ 180384 h 275101"/>
                <a:gd name="connsiteX12" fmla="*/ 194891 w 262347"/>
                <a:gd name="connsiteY12" fmla="*/ 150390 h 275101"/>
                <a:gd name="connsiteX13" fmla="*/ 189414 w 262347"/>
                <a:gd name="connsiteY13" fmla="*/ 143266 h 275101"/>
                <a:gd name="connsiteX14" fmla="*/ 144247 w 262347"/>
                <a:gd name="connsiteY14" fmla="*/ 143266 h 275101"/>
                <a:gd name="connsiteX15" fmla="*/ 34652 w 262347"/>
                <a:gd name="connsiteY15" fmla="*/ 230562 h 275101"/>
                <a:gd name="connsiteX16" fmla="*/ 0 w 262347"/>
                <a:gd name="connsiteY16" fmla="*/ 226562 h 275101"/>
                <a:gd name="connsiteX17" fmla="*/ 79077 w 262347"/>
                <a:gd name="connsiteY17" fmla="*/ 275101 h 275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2347" h="275101">
                  <a:moveTo>
                    <a:pt x="157124" y="44539"/>
                  </a:moveTo>
                  <a:lnTo>
                    <a:pt x="261090" y="44539"/>
                  </a:lnTo>
                  <a:lnTo>
                    <a:pt x="261537" y="41872"/>
                  </a:lnTo>
                  <a:cubicBezTo>
                    <a:pt x="266271" y="11868"/>
                    <a:pt x="249688" y="0"/>
                    <a:pt x="226876" y="0"/>
                  </a:cubicBezTo>
                  <a:lnTo>
                    <a:pt x="112700" y="0"/>
                  </a:lnTo>
                  <a:cubicBezTo>
                    <a:pt x="76410" y="0"/>
                    <a:pt x="57607" y="25975"/>
                    <a:pt x="57607" y="55226"/>
                  </a:cubicBezTo>
                  <a:cubicBezTo>
                    <a:pt x="57607" y="78086"/>
                    <a:pt x="68561" y="98584"/>
                    <a:pt x="99374" y="98584"/>
                  </a:cubicBezTo>
                  <a:lnTo>
                    <a:pt x="102184" y="98584"/>
                  </a:lnTo>
                  <a:cubicBezTo>
                    <a:pt x="102632" y="69780"/>
                    <a:pt x="121434" y="44387"/>
                    <a:pt x="157277" y="44387"/>
                  </a:cubicBezTo>
                  <a:lnTo>
                    <a:pt x="157124" y="44539"/>
                  </a:lnTo>
                  <a:close/>
                  <a:moveTo>
                    <a:pt x="79077" y="275101"/>
                  </a:moveTo>
                  <a:cubicBezTo>
                    <a:pt x="140541" y="275101"/>
                    <a:pt x="180670" y="238735"/>
                    <a:pt x="190148" y="180384"/>
                  </a:cubicBezTo>
                  <a:lnTo>
                    <a:pt x="194891" y="150390"/>
                  </a:lnTo>
                  <a:cubicBezTo>
                    <a:pt x="195634" y="144904"/>
                    <a:pt x="194148" y="143266"/>
                    <a:pt x="189414" y="143266"/>
                  </a:cubicBezTo>
                  <a:lnTo>
                    <a:pt x="144247" y="143266"/>
                  </a:lnTo>
                  <a:cubicBezTo>
                    <a:pt x="132693" y="197310"/>
                    <a:pt x="93450" y="230562"/>
                    <a:pt x="34652" y="230562"/>
                  </a:cubicBezTo>
                  <a:cubicBezTo>
                    <a:pt x="21174" y="230562"/>
                    <a:pt x="9925" y="229229"/>
                    <a:pt x="0" y="226562"/>
                  </a:cubicBezTo>
                  <a:cubicBezTo>
                    <a:pt x="8287" y="260109"/>
                    <a:pt x="32576" y="275101"/>
                    <a:pt x="79077" y="275101"/>
                  </a:cubicBezTo>
                  <a:close/>
                </a:path>
              </a:pathLst>
            </a:custGeom>
            <a:solidFill>
              <a:srgbClr val="00ADEE"/>
            </a:solidFill>
            <a:ln w="9525" cap="flat">
              <a:noFill/>
              <a:prstDash val="solid"/>
              <a:miter/>
            </a:ln>
          </p:spPr>
          <p:txBody>
            <a:bodyPr rtlCol="0" anchor="ctr"/>
            <a:lstStyle/>
            <a:p>
              <a:endParaRPr lang="en-GB" sz="1800"/>
            </a:p>
          </p:txBody>
        </p:sp>
        <p:sp>
          <p:nvSpPr>
            <p:cNvPr id="59" name="Freeform: Shape 64">
              <a:extLst>
                <a:ext uri="{FF2B5EF4-FFF2-40B4-BE49-F238E27FC236}">
                  <a16:creationId xmlns:a16="http://schemas.microsoft.com/office/drawing/2014/main" id="{1D7F1F44-5462-2E26-E4EB-C64F744692FC}"/>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ED3B94"/>
            </a:solidFill>
            <a:ln w="9525" cap="flat">
              <a:noFill/>
              <a:prstDash val="solid"/>
              <a:miter/>
            </a:ln>
          </p:spPr>
          <p:txBody>
            <a:bodyPr rtlCol="0" anchor="ctr"/>
            <a:lstStyle/>
            <a:p>
              <a:endParaRPr lang="en-GB" sz="1800"/>
            </a:p>
          </p:txBody>
        </p:sp>
        <p:sp>
          <p:nvSpPr>
            <p:cNvPr id="60" name="Freeform: Shape 65">
              <a:extLst>
                <a:ext uri="{FF2B5EF4-FFF2-40B4-BE49-F238E27FC236}">
                  <a16:creationId xmlns:a16="http://schemas.microsoft.com/office/drawing/2014/main" id="{F0D15D62-5F55-A053-D94E-1A24FAD89FB5}"/>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FFFFFF"/>
            </a:solidFill>
            <a:ln w="9525" cap="flat">
              <a:noFill/>
              <a:prstDash val="solid"/>
              <a:miter/>
            </a:ln>
          </p:spPr>
          <p:txBody>
            <a:bodyPr rtlCol="0" anchor="ctr"/>
            <a:lstStyle/>
            <a:p>
              <a:endParaRPr lang="en-GB" sz="1800"/>
            </a:p>
          </p:txBody>
        </p:sp>
        <p:sp>
          <p:nvSpPr>
            <p:cNvPr id="61" name="Freeform: Shape 66">
              <a:extLst>
                <a:ext uri="{FF2B5EF4-FFF2-40B4-BE49-F238E27FC236}">
                  <a16:creationId xmlns:a16="http://schemas.microsoft.com/office/drawing/2014/main" id="{E639C25D-BF75-40C0-BEC7-1364920A806A}"/>
                </a:ext>
              </a:extLst>
            </p:cNvPr>
            <p:cNvSpPr/>
            <p:nvPr/>
          </p:nvSpPr>
          <p:spPr>
            <a:xfrm>
              <a:off x="4243377" y="1685925"/>
              <a:ext cx="410813" cy="532247"/>
            </a:xfrm>
            <a:custGeom>
              <a:avLst/>
              <a:gdLst>
                <a:gd name="connsiteX0" fmla="*/ 55540 w 410813"/>
                <a:gd name="connsiteY0" fmla="*/ 322469 h 532247"/>
                <a:gd name="connsiteX1" fmla="*/ 304333 w 410813"/>
                <a:gd name="connsiteY1" fmla="*/ 44539 h 532247"/>
                <a:gd name="connsiteX2" fmla="*/ 410813 w 410813"/>
                <a:gd name="connsiteY2" fmla="*/ 68142 h 532247"/>
                <a:gd name="connsiteX3" fmla="*/ 259909 w 410813"/>
                <a:gd name="connsiteY3" fmla="*/ 0 h 532247"/>
                <a:gd name="connsiteX4" fmla="*/ 11116 w 410813"/>
                <a:gd name="connsiteY4" fmla="*/ 277930 h 532247"/>
                <a:gd name="connsiteX5" fmla="*/ 0 w 410813"/>
                <a:gd name="connsiteY5" fmla="*/ 394030 h 532247"/>
                <a:gd name="connsiteX6" fmla="*/ 65608 w 410813"/>
                <a:gd name="connsiteY6" fmla="*/ 532248 h 532247"/>
                <a:gd name="connsiteX7" fmla="*/ 44425 w 410813"/>
                <a:gd name="connsiteY7" fmla="*/ 438569 h 532247"/>
                <a:gd name="connsiteX8" fmla="*/ 55540 w 410813"/>
                <a:gd name="connsiteY8" fmla="*/ 322469 h 5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813" h="532247">
                  <a:moveTo>
                    <a:pt x="55540" y="322469"/>
                  </a:moveTo>
                  <a:cubicBezTo>
                    <a:pt x="80715" y="161382"/>
                    <a:pt x="115357" y="44539"/>
                    <a:pt x="304333" y="44539"/>
                  </a:cubicBezTo>
                  <a:cubicBezTo>
                    <a:pt x="347129" y="44539"/>
                    <a:pt x="382972" y="51968"/>
                    <a:pt x="410813" y="68142"/>
                  </a:cubicBezTo>
                  <a:cubicBezTo>
                    <a:pt x="383572" y="20488"/>
                    <a:pt x="331280" y="0"/>
                    <a:pt x="259909" y="0"/>
                  </a:cubicBezTo>
                  <a:cubicBezTo>
                    <a:pt x="70933" y="0"/>
                    <a:pt x="36281" y="116843"/>
                    <a:pt x="11116" y="277930"/>
                  </a:cubicBezTo>
                  <a:cubicBezTo>
                    <a:pt x="4000" y="322174"/>
                    <a:pt x="0" y="360778"/>
                    <a:pt x="0" y="394030"/>
                  </a:cubicBezTo>
                  <a:cubicBezTo>
                    <a:pt x="0" y="464258"/>
                    <a:pt x="23993" y="508044"/>
                    <a:pt x="65608" y="532248"/>
                  </a:cubicBezTo>
                  <a:cubicBezTo>
                    <a:pt x="51987" y="508349"/>
                    <a:pt x="44425" y="477622"/>
                    <a:pt x="44425" y="438569"/>
                  </a:cubicBezTo>
                  <a:cubicBezTo>
                    <a:pt x="44425" y="405460"/>
                    <a:pt x="48425" y="366713"/>
                    <a:pt x="55540" y="322469"/>
                  </a:cubicBezTo>
                  <a:close/>
                </a:path>
              </a:pathLst>
            </a:custGeom>
            <a:solidFill>
              <a:srgbClr val="00ADEE"/>
            </a:solidFill>
            <a:ln w="9525" cap="flat">
              <a:noFill/>
              <a:prstDash val="solid"/>
              <a:miter/>
            </a:ln>
          </p:spPr>
          <p:txBody>
            <a:bodyPr rtlCol="0" anchor="ctr"/>
            <a:lstStyle/>
            <a:p>
              <a:endParaRPr lang="en-GB" sz="1800"/>
            </a:p>
          </p:txBody>
        </p:sp>
        <p:sp>
          <p:nvSpPr>
            <p:cNvPr id="62" name="Freeform: Shape 67">
              <a:extLst>
                <a:ext uri="{FF2B5EF4-FFF2-40B4-BE49-F238E27FC236}">
                  <a16:creationId xmlns:a16="http://schemas.microsoft.com/office/drawing/2014/main" id="{CD91D0E2-1B8B-77A6-A114-E8E51E29A64F}"/>
                </a:ext>
              </a:extLst>
            </p:cNvPr>
            <p:cNvSpPr/>
            <p:nvPr/>
          </p:nvSpPr>
          <p:spPr>
            <a:xfrm>
              <a:off x="4396949" y="1833200"/>
              <a:ext cx="217550" cy="355130"/>
            </a:xfrm>
            <a:custGeom>
              <a:avLst/>
              <a:gdLst>
                <a:gd name="connsiteX0" fmla="*/ 79086 w 217550"/>
                <a:gd name="connsiteY0" fmla="*/ 355130 h 355130"/>
                <a:gd name="connsiteX1" fmla="*/ 206597 w 217550"/>
                <a:gd name="connsiteY1" fmla="*/ 175203 h 355130"/>
                <a:gd name="connsiteX2" fmla="*/ 217551 w 217550"/>
                <a:gd name="connsiteY2" fmla="*/ 75724 h 355130"/>
                <a:gd name="connsiteX3" fmla="*/ 168535 w 217550"/>
                <a:gd name="connsiteY3" fmla="*/ 0 h 355130"/>
                <a:gd name="connsiteX4" fmla="*/ 173126 w 217550"/>
                <a:gd name="connsiteY4" fmla="*/ 31185 h 355130"/>
                <a:gd name="connsiteX5" fmla="*/ 162173 w 217550"/>
                <a:gd name="connsiteY5" fmla="*/ 130654 h 355130"/>
                <a:gd name="connsiteX6" fmla="*/ 34661 w 217550"/>
                <a:gd name="connsiteY6" fmla="*/ 310591 h 355130"/>
                <a:gd name="connsiteX7" fmla="*/ 0 w 217550"/>
                <a:gd name="connsiteY7" fmla="*/ 306591 h 355130"/>
                <a:gd name="connsiteX8" fmla="*/ 79086 w 217550"/>
                <a:gd name="connsiteY8" fmla="*/ 355130 h 35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550" h="355130">
                  <a:moveTo>
                    <a:pt x="79086" y="355130"/>
                  </a:moveTo>
                  <a:cubicBezTo>
                    <a:pt x="177575" y="355130"/>
                    <a:pt x="191643" y="278530"/>
                    <a:pt x="206597" y="175203"/>
                  </a:cubicBezTo>
                  <a:cubicBezTo>
                    <a:pt x="212074" y="135703"/>
                    <a:pt x="217551" y="102594"/>
                    <a:pt x="217551" y="75724"/>
                  </a:cubicBezTo>
                  <a:cubicBezTo>
                    <a:pt x="217551" y="35785"/>
                    <a:pt x="200377" y="9954"/>
                    <a:pt x="168535" y="0"/>
                  </a:cubicBezTo>
                  <a:cubicBezTo>
                    <a:pt x="171345" y="9211"/>
                    <a:pt x="173126" y="19602"/>
                    <a:pt x="173126" y="31185"/>
                  </a:cubicBezTo>
                  <a:cubicBezTo>
                    <a:pt x="173126" y="58045"/>
                    <a:pt x="167650" y="91164"/>
                    <a:pt x="162173" y="130654"/>
                  </a:cubicBezTo>
                  <a:cubicBezTo>
                    <a:pt x="147218" y="234134"/>
                    <a:pt x="132998" y="310591"/>
                    <a:pt x="34661" y="310591"/>
                  </a:cubicBezTo>
                  <a:cubicBezTo>
                    <a:pt x="21184" y="310591"/>
                    <a:pt x="9925" y="309258"/>
                    <a:pt x="0" y="306591"/>
                  </a:cubicBezTo>
                  <a:cubicBezTo>
                    <a:pt x="8296" y="340138"/>
                    <a:pt x="32575" y="355130"/>
                    <a:pt x="79086" y="355130"/>
                  </a:cubicBezTo>
                  <a:close/>
                </a:path>
              </a:pathLst>
            </a:custGeom>
            <a:solidFill>
              <a:srgbClr val="00ADEE"/>
            </a:solidFill>
            <a:ln w="9525" cap="flat">
              <a:noFill/>
              <a:prstDash val="solid"/>
              <a:miter/>
            </a:ln>
          </p:spPr>
          <p:txBody>
            <a:bodyPr rtlCol="0" anchor="ctr"/>
            <a:lstStyle/>
            <a:p>
              <a:endParaRPr lang="en-GB" sz="1800"/>
            </a:p>
          </p:txBody>
        </p:sp>
        <p:sp>
          <p:nvSpPr>
            <p:cNvPr id="63" name="Freeform: Shape 68">
              <a:extLst>
                <a:ext uri="{FF2B5EF4-FFF2-40B4-BE49-F238E27FC236}">
                  <a16:creationId xmlns:a16="http://schemas.microsoft.com/office/drawing/2014/main" id="{0C1FCD74-D410-C0C3-50F5-1B3C3A2C2141}"/>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ED3B94"/>
            </a:solidFill>
            <a:ln w="9525" cap="flat">
              <a:noFill/>
              <a:prstDash val="solid"/>
              <a:miter/>
            </a:ln>
          </p:spPr>
          <p:txBody>
            <a:bodyPr rtlCol="0" anchor="ctr"/>
            <a:lstStyle/>
            <a:p>
              <a:endParaRPr lang="en-GB" sz="1800"/>
            </a:p>
          </p:txBody>
        </p:sp>
        <p:sp>
          <p:nvSpPr>
            <p:cNvPr id="64" name="Freeform: Shape 69">
              <a:extLst>
                <a:ext uri="{FF2B5EF4-FFF2-40B4-BE49-F238E27FC236}">
                  <a16:creationId xmlns:a16="http://schemas.microsoft.com/office/drawing/2014/main" id="{858B1B49-A103-EA13-5024-3400865ADD41}"/>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FFFFFF"/>
            </a:solidFill>
            <a:ln w="9525" cap="flat">
              <a:noFill/>
              <a:prstDash val="solid"/>
              <a:miter/>
            </a:ln>
          </p:spPr>
          <p:txBody>
            <a:bodyPr rtlCol="0" anchor="ctr"/>
            <a:lstStyle/>
            <a:p>
              <a:endParaRPr lang="en-GB" sz="1800"/>
            </a:p>
          </p:txBody>
        </p:sp>
      </p:grpSp>
      <p:grpSp>
        <p:nvGrpSpPr>
          <p:cNvPr id="65" name="Group 64">
            <a:extLst>
              <a:ext uri="{FF2B5EF4-FFF2-40B4-BE49-F238E27FC236}">
                <a16:creationId xmlns:a16="http://schemas.microsoft.com/office/drawing/2014/main" id="{50B0B738-89C7-10D7-AF3A-1FCF929EA567}"/>
              </a:ext>
            </a:extLst>
          </p:cNvPr>
          <p:cNvGrpSpPr/>
          <p:nvPr/>
        </p:nvGrpSpPr>
        <p:grpSpPr>
          <a:xfrm>
            <a:off x="7247469" y="3984063"/>
            <a:ext cx="426530" cy="161253"/>
            <a:chOff x="6399138" y="1794304"/>
            <a:chExt cx="1373876" cy="530467"/>
          </a:xfrm>
        </p:grpSpPr>
        <p:sp>
          <p:nvSpPr>
            <p:cNvPr id="66" name="Freeform: Shape 71">
              <a:extLst>
                <a:ext uri="{FF2B5EF4-FFF2-40B4-BE49-F238E27FC236}">
                  <a16:creationId xmlns:a16="http://schemas.microsoft.com/office/drawing/2014/main" id="{726F58A3-DA8C-7443-6EB8-F02211489E26}"/>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endParaRPr lang="en-GB" sz="1800"/>
            </a:p>
          </p:txBody>
        </p:sp>
        <p:sp>
          <p:nvSpPr>
            <p:cNvPr id="67" name="Freeform: Shape 72">
              <a:extLst>
                <a:ext uri="{FF2B5EF4-FFF2-40B4-BE49-F238E27FC236}">
                  <a16:creationId xmlns:a16="http://schemas.microsoft.com/office/drawing/2014/main" id="{055F04A2-25DB-8162-A477-FF914D7A5256}"/>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endParaRPr lang="en-GB" sz="1800"/>
            </a:p>
          </p:txBody>
        </p:sp>
        <p:sp>
          <p:nvSpPr>
            <p:cNvPr id="68" name="Freeform: Shape 73">
              <a:extLst>
                <a:ext uri="{FF2B5EF4-FFF2-40B4-BE49-F238E27FC236}">
                  <a16:creationId xmlns:a16="http://schemas.microsoft.com/office/drawing/2014/main" id="{A0410D31-4809-C03E-ABC6-BB4E46DC908A}"/>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endParaRPr lang="en-GB" sz="1800"/>
            </a:p>
          </p:txBody>
        </p:sp>
        <p:sp>
          <p:nvSpPr>
            <p:cNvPr id="69" name="Freeform: Shape 74">
              <a:extLst>
                <a:ext uri="{FF2B5EF4-FFF2-40B4-BE49-F238E27FC236}">
                  <a16:creationId xmlns:a16="http://schemas.microsoft.com/office/drawing/2014/main" id="{CFB03005-1EAE-571E-7570-03A3B47DD6F9}"/>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endParaRPr lang="en-GB" sz="1800"/>
            </a:p>
          </p:txBody>
        </p:sp>
      </p:grpSp>
      <p:pic>
        <p:nvPicPr>
          <p:cNvPr id="70" name="Graphic 69">
            <a:extLst>
              <a:ext uri="{FF2B5EF4-FFF2-40B4-BE49-F238E27FC236}">
                <a16:creationId xmlns:a16="http://schemas.microsoft.com/office/drawing/2014/main" id="{49B77F4E-0547-5D44-06D9-C85C6F42E4F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69107" y="3859524"/>
            <a:ext cx="449826" cy="364596"/>
          </a:xfrm>
          <a:prstGeom prst="rect">
            <a:avLst/>
          </a:prstGeom>
        </p:spPr>
      </p:pic>
      <p:cxnSp>
        <p:nvCxnSpPr>
          <p:cNvPr id="71" name="Straight Connector 70">
            <a:extLst>
              <a:ext uri="{FF2B5EF4-FFF2-40B4-BE49-F238E27FC236}">
                <a16:creationId xmlns:a16="http://schemas.microsoft.com/office/drawing/2014/main" id="{778648E4-6C89-6A77-372A-5C8887CD3F43}"/>
              </a:ext>
            </a:extLst>
          </p:cNvPr>
          <p:cNvCxnSpPr>
            <a:cxnSpLocks/>
          </p:cNvCxnSpPr>
          <p:nvPr/>
        </p:nvCxnSpPr>
        <p:spPr>
          <a:xfrm>
            <a:off x="3336579" y="3769178"/>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A8A79B9-591E-14B7-2004-26CE6A9EB972}"/>
              </a:ext>
            </a:extLst>
          </p:cNvPr>
          <p:cNvCxnSpPr>
            <a:cxnSpLocks/>
          </p:cNvCxnSpPr>
          <p:nvPr/>
        </p:nvCxnSpPr>
        <p:spPr>
          <a:xfrm>
            <a:off x="6215089" y="3769178"/>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AA2A3D6-BB42-9D6E-C36D-9AD8F29D5986}"/>
              </a:ext>
            </a:extLst>
          </p:cNvPr>
          <p:cNvCxnSpPr>
            <a:cxnSpLocks/>
          </p:cNvCxnSpPr>
          <p:nvPr/>
        </p:nvCxnSpPr>
        <p:spPr>
          <a:xfrm>
            <a:off x="460374" y="4314466"/>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3F8E514-5D0F-C6F6-9836-D6F7252F6B62}"/>
              </a:ext>
            </a:extLst>
          </p:cNvPr>
          <p:cNvCxnSpPr>
            <a:cxnSpLocks/>
          </p:cNvCxnSpPr>
          <p:nvPr/>
        </p:nvCxnSpPr>
        <p:spPr>
          <a:xfrm>
            <a:off x="3336579" y="4314466"/>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099A11-E9FE-0373-0EE8-849DD7468C91}"/>
              </a:ext>
            </a:extLst>
          </p:cNvPr>
          <p:cNvCxnSpPr>
            <a:cxnSpLocks/>
          </p:cNvCxnSpPr>
          <p:nvPr/>
        </p:nvCxnSpPr>
        <p:spPr>
          <a:xfrm>
            <a:off x="6215089" y="4314466"/>
            <a:ext cx="2467291" cy="0"/>
          </a:xfrm>
          <a:prstGeom prst="line">
            <a:avLst/>
          </a:prstGeom>
          <a:ln w="6350" cap="rnd">
            <a:solidFill>
              <a:srgbClr val="F3F4F9"/>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B605EF8-B258-A375-108C-879A6FB14679}"/>
              </a:ext>
            </a:extLst>
          </p:cNvPr>
          <p:cNvSpPr txBox="1"/>
          <p:nvPr/>
        </p:nvSpPr>
        <p:spPr>
          <a:xfrm>
            <a:off x="460375" y="4695824"/>
            <a:ext cx="4137728" cy="447675"/>
          </a:xfrm>
          <a:prstGeom prst="rect">
            <a:avLst/>
          </a:prstGeom>
          <a:noFill/>
        </p:spPr>
        <p:txBody>
          <a:bodyPr wrap="square" lIns="0" tIns="0" rIns="0" bIns="0" anchor="ctr">
            <a:noAutofit/>
          </a:bodyPr>
          <a:lstStyle/>
          <a:p>
            <a:r>
              <a:rPr lang="fr-BE" sz="700" err="1">
                <a:solidFill>
                  <a:srgbClr val="000000"/>
                </a:solidFill>
                <a:effectLst/>
                <a:latin typeface="Proximus Light" pitchFamily="2" charset="77"/>
                <a:ea typeface="Times New Roman" panose="02020603050405020304" pitchFamily="18" charset="0"/>
                <a:cs typeface="Aptos" panose="020B0004020202020204" pitchFamily="34" charset="0"/>
              </a:rPr>
              <a:t>Subject</a:t>
            </a:r>
            <a:r>
              <a:rPr lang="fr-BE" sz="700">
                <a:solidFill>
                  <a:srgbClr val="000000"/>
                </a:solidFill>
                <a:effectLst/>
                <a:latin typeface="Proximus Light" pitchFamily="2" charset="77"/>
                <a:ea typeface="Times New Roman" panose="02020603050405020304" pitchFamily="18" charset="0"/>
                <a:cs typeface="Aptos" panose="020B0004020202020204" pitchFamily="34" charset="0"/>
              </a:rPr>
              <a:t> to the parties </a:t>
            </a:r>
            <a:r>
              <a:rPr lang="fr-BE" sz="700" err="1">
                <a:solidFill>
                  <a:srgbClr val="000000"/>
                </a:solidFill>
                <a:effectLst/>
                <a:latin typeface="Proximus Light" pitchFamily="2" charset="77"/>
                <a:ea typeface="Times New Roman" panose="02020603050405020304" pitchFamily="18" charset="0"/>
                <a:cs typeface="Aptos" panose="020B0004020202020204" pitchFamily="34" charset="0"/>
              </a:rPr>
              <a:t>reaching</a:t>
            </a:r>
            <a:r>
              <a:rPr lang="fr-BE" sz="700">
                <a:solidFill>
                  <a:srgbClr val="000000"/>
                </a:solidFill>
                <a:effectLst/>
                <a:latin typeface="Proximus Light" pitchFamily="2" charset="77"/>
                <a:ea typeface="Times New Roman" panose="02020603050405020304" pitchFamily="18" charset="0"/>
                <a:cs typeface="Aptos" panose="020B0004020202020204" pitchFamily="34" charset="0"/>
              </a:rPr>
              <a:t> a final agreement as </a:t>
            </a:r>
            <a:r>
              <a:rPr lang="fr-BE" sz="700" err="1">
                <a:solidFill>
                  <a:srgbClr val="000000"/>
                </a:solidFill>
                <a:effectLst/>
                <a:latin typeface="Proximus Light" pitchFamily="2" charset="77"/>
                <a:ea typeface="Times New Roman" panose="02020603050405020304" pitchFamily="18" charset="0"/>
                <a:cs typeface="Aptos" panose="020B0004020202020204" pitchFamily="34" charset="0"/>
              </a:rPr>
              <a:t>well</a:t>
            </a:r>
            <a:r>
              <a:rPr lang="fr-BE" sz="700">
                <a:solidFill>
                  <a:srgbClr val="000000"/>
                </a:solidFill>
                <a:effectLst/>
                <a:latin typeface="Proximus Light" pitchFamily="2" charset="77"/>
                <a:ea typeface="Times New Roman" panose="02020603050405020304" pitchFamily="18" charset="0"/>
                <a:cs typeface="Aptos" panose="020B0004020202020204" pitchFamily="34" charset="0"/>
              </a:rPr>
              <a:t> as </a:t>
            </a:r>
            <a:r>
              <a:rPr lang="fr-BE" sz="700" err="1">
                <a:solidFill>
                  <a:srgbClr val="000000"/>
                </a:solidFill>
                <a:effectLst/>
                <a:latin typeface="Proximus Light" pitchFamily="2" charset="77"/>
                <a:ea typeface="Times New Roman" panose="02020603050405020304" pitchFamily="18" charset="0"/>
                <a:cs typeface="Aptos" panose="020B0004020202020204" pitchFamily="34" charset="0"/>
              </a:rPr>
              <a:t>regulatory</a:t>
            </a:r>
            <a:r>
              <a:rPr lang="fr-BE" sz="700">
                <a:solidFill>
                  <a:srgbClr val="000000"/>
                </a:solidFill>
                <a:effectLst/>
                <a:latin typeface="Proximus Light" pitchFamily="2" charset="77"/>
                <a:ea typeface="Times New Roman" panose="02020603050405020304" pitchFamily="18" charset="0"/>
                <a:cs typeface="Aptos" panose="020B0004020202020204" pitchFamily="34" charset="0"/>
              </a:rPr>
              <a:t> and antitrust </a:t>
            </a:r>
            <a:r>
              <a:rPr lang="fr-BE" sz="700" err="1">
                <a:solidFill>
                  <a:srgbClr val="000000"/>
                </a:solidFill>
                <a:effectLst/>
                <a:latin typeface="Proximus Light" pitchFamily="2" charset="77"/>
                <a:ea typeface="Times New Roman" panose="02020603050405020304" pitchFamily="18" charset="0"/>
                <a:cs typeface="Aptos" panose="020B0004020202020204" pitchFamily="34" charset="0"/>
              </a:rPr>
              <a:t>approvals</a:t>
            </a:r>
            <a:endParaRPr lang="fr-BE" sz="700">
              <a:latin typeface="Proximus Light" pitchFamily="2" charset="77"/>
            </a:endParaRPr>
          </a:p>
        </p:txBody>
      </p:sp>
      <p:sp>
        <p:nvSpPr>
          <p:cNvPr id="4" name="TextBox 3">
            <a:extLst>
              <a:ext uri="{FF2B5EF4-FFF2-40B4-BE49-F238E27FC236}">
                <a16:creationId xmlns:a16="http://schemas.microsoft.com/office/drawing/2014/main" id="{47E676A9-DFC3-E890-5DE2-CB46713E4B3D}"/>
              </a:ext>
            </a:extLst>
          </p:cNvPr>
          <p:cNvSpPr txBox="1"/>
          <p:nvPr/>
        </p:nvSpPr>
        <p:spPr>
          <a:xfrm>
            <a:off x="7735395" y="3954229"/>
            <a:ext cx="997176" cy="220984"/>
          </a:xfrm>
          <a:prstGeom prst="rect">
            <a:avLst/>
          </a:prstGeom>
        </p:spPr>
        <p:txBody>
          <a:bodyPr vert="horz" wrap="square" lIns="0" tIns="0" rIns="0" bIns="0" numCol="1" spcCol="0" rtlCol="0" anchor="ctr" anchorCtr="0">
            <a:noAutofit/>
          </a:bodyPr>
          <a:lstStyle/>
          <a:p>
            <a:pPr algn="ctr"/>
            <a:r>
              <a:rPr lang="en-US" sz="900">
                <a:solidFill>
                  <a:srgbClr val="2A2234"/>
                </a:solidFill>
              </a:rPr>
              <a:t>+ in the South</a:t>
            </a:r>
            <a:endParaRPr lang="en-GB" sz="900">
              <a:solidFill>
                <a:srgbClr val="2A2234"/>
              </a:solidFill>
            </a:endParaRPr>
          </a:p>
        </p:txBody>
      </p:sp>
    </p:spTree>
    <p:extLst>
      <p:ext uri="{BB962C8B-B14F-4D97-AF65-F5344CB8AC3E}">
        <p14:creationId xmlns:p14="http://schemas.microsoft.com/office/powerpoint/2010/main" val="1521111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CDDD9C5C-3DCB-94FF-CB96-1D1CE122668A}"/>
              </a:ext>
            </a:extLst>
          </p:cNvPr>
          <p:cNvSpPr/>
          <p:nvPr/>
        </p:nvSpPr>
        <p:spPr>
          <a:xfrm>
            <a:off x="460375" y="450850"/>
            <a:ext cx="8221665" cy="4244975"/>
          </a:xfrm>
          <a:prstGeom prst="roundRect">
            <a:avLst>
              <a:gd name="adj" fmla="val 2317"/>
            </a:avLst>
          </a:prstGeom>
          <a:gradFill flip="none" rotWithShape="1">
            <a:gsLst>
              <a:gs pos="0">
                <a:schemeClr val="bg1"/>
              </a:gs>
              <a:gs pos="99000">
                <a:srgbClr val="41C3FF"/>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05213636-45E2-DAB2-F108-E99AAAB14A3D}"/>
              </a:ext>
            </a:extLst>
          </p:cNvPr>
          <p:cNvSpPr>
            <a:spLocks noGrp="1"/>
          </p:cNvSpPr>
          <p:nvPr>
            <p:ph type="title"/>
          </p:nvPr>
        </p:nvSpPr>
        <p:spPr>
          <a:xfrm>
            <a:off x="3935345" y="1221591"/>
            <a:ext cx="3821901" cy="898824"/>
          </a:xfrm>
        </p:spPr>
        <p:txBody>
          <a:bodyPr/>
          <a:lstStyle/>
          <a:p>
            <a:r>
              <a:rPr lang="en-GB" dirty="0">
                <a:solidFill>
                  <a:schemeClr val="tx1"/>
                </a:solidFill>
              </a:rPr>
              <a:t>What does HFC mean?</a:t>
            </a:r>
            <a:endParaRPr lang="en-BE" dirty="0">
              <a:solidFill>
                <a:schemeClr val="tx1"/>
              </a:solidFill>
            </a:endParaRPr>
          </a:p>
        </p:txBody>
      </p:sp>
      <p:sp>
        <p:nvSpPr>
          <p:cNvPr id="4" name="Title 1">
            <a:extLst>
              <a:ext uri="{FF2B5EF4-FFF2-40B4-BE49-F238E27FC236}">
                <a16:creationId xmlns:a16="http://schemas.microsoft.com/office/drawing/2014/main" id="{7E6777C0-FEF5-A488-2ABA-CAA4DE3E27B5}"/>
              </a:ext>
            </a:extLst>
          </p:cNvPr>
          <p:cNvSpPr txBox="1">
            <a:spLocks/>
          </p:cNvSpPr>
          <p:nvPr/>
        </p:nvSpPr>
        <p:spPr>
          <a:xfrm>
            <a:off x="3935345" y="1997673"/>
            <a:ext cx="4031374"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nSpc>
                <a:spcPct val="107000"/>
              </a:lnSpc>
              <a:spcAft>
                <a:spcPts val="800"/>
              </a:spcAft>
              <a:buFont typeface="+mj-lt"/>
              <a:buAutoNum type="arabicPeriod"/>
            </a:pPr>
            <a:r>
              <a:rPr lang="en-US" sz="1800" b="0" kern="100" dirty="0">
                <a:solidFill>
                  <a:schemeClr val="tx1"/>
                </a:solidFill>
                <a:effectLst/>
                <a:latin typeface="Proximus Light" pitchFamily="2" charset="77"/>
                <a:ea typeface="Aptos" panose="020B0004020202020204" pitchFamily="34" charset="0"/>
                <a:cs typeface="Arial" panose="020B0604020202020204" pitchFamily="34" charset="0"/>
              </a:rPr>
              <a:t>Half Fiber Connectivity</a:t>
            </a:r>
          </a:p>
          <a:p>
            <a:pPr marL="342900" indent="-342900">
              <a:lnSpc>
                <a:spcPct val="107000"/>
              </a:lnSpc>
              <a:spcAft>
                <a:spcPts val="800"/>
              </a:spcAft>
              <a:buFont typeface="+mj-lt"/>
              <a:buAutoNum type="arabicPeriod"/>
            </a:pPr>
            <a:r>
              <a:rPr lang="en-US" sz="1800" b="0" kern="100" dirty="0">
                <a:solidFill>
                  <a:schemeClr val="tx1"/>
                </a:solidFill>
                <a:effectLst/>
                <a:latin typeface="Proximus Light" pitchFamily="2" charset="77"/>
                <a:ea typeface="Aptos" panose="020B0004020202020204" pitchFamily="34" charset="0"/>
                <a:cs typeface="Arial" panose="020B0604020202020204" pitchFamily="34" charset="0"/>
              </a:rPr>
              <a:t>Hybrid Fiber Communication</a:t>
            </a:r>
          </a:p>
          <a:p>
            <a:pPr marL="342900" indent="-342900">
              <a:lnSpc>
                <a:spcPct val="107000"/>
              </a:lnSpc>
              <a:spcAft>
                <a:spcPts val="800"/>
              </a:spcAft>
              <a:buFont typeface="+mj-lt"/>
              <a:buAutoNum type="arabicPeriod"/>
            </a:pPr>
            <a:r>
              <a:rPr lang="en-US" sz="1800" b="0" kern="100" dirty="0">
                <a:solidFill>
                  <a:schemeClr val="tx1"/>
                </a:solidFill>
                <a:effectLst/>
                <a:latin typeface="Proximus Light" pitchFamily="2" charset="77"/>
                <a:ea typeface="Aptos" panose="020B0004020202020204" pitchFamily="34" charset="0"/>
                <a:cs typeface="Arial" panose="020B0604020202020204" pitchFamily="34" charset="0"/>
              </a:rPr>
              <a:t>Hybrid Fiber Coax</a:t>
            </a:r>
            <a:endParaRPr lang="en-BE" sz="1800" b="0" kern="100" dirty="0">
              <a:solidFill>
                <a:schemeClr val="tx1"/>
              </a:solidFill>
              <a:latin typeface="Proximus Light" pitchFamily="2" charset="77"/>
              <a:ea typeface="Aptos" panose="020B0004020202020204" pitchFamily="34" charset="0"/>
              <a:cs typeface="Arial" panose="020B0604020202020204" pitchFamily="34" charset="0"/>
            </a:endParaRPr>
          </a:p>
          <a:p>
            <a:pPr marL="342900" indent="-342900">
              <a:lnSpc>
                <a:spcPct val="107000"/>
              </a:lnSpc>
              <a:spcAft>
                <a:spcPts val="800"/>
              </a:spcAft>
              <a:buFont typeface="+mj-lt"/>
              <a:buAutoNum type="arabicPeriod"/>
            </a:pPr>
            <a:r>
              <a:rPr lang="en-US" sz="1800" b="0" kern="100" dirty="0">
                <a:solidFill>
                  <a:schemeClr val="tx1"/>
                </a:solidFill>
                <a:effectLst/>
                <a:latin typeface="Proximus Light" pitchFamily="2" charset="77"/>
                <a:ea typeface="Aptos" panose="020B0004020202020204" pitchFamily="34" charset="0"/>
                <a:cs typeface="Arial" panose="020B0604020202020204" pitchFamily="34" charset="0"/>
              </a:rPr>
              <a:t>Harmony Fun Courage</a:t>
            </a:r>
          </a:p>
        </p:txBody>
      </p:sp>
      <p:grpSp>
        <p:nvGrpSpPr>
          <p:cNvPr id="13" name="Group 12">
            <a:extLst>
              <a:ext uri="{FF2B5EF4-FFF2-40B4-BE49-F238E27FC236}">
                <a16:creationId xmlns:a16="http://schemas.microsoft.com/office/drawing/2014/main" id="{044797D5-D853-423A-06EB-63B2CB8753DC}"/>
              </a:ext>
            </a:extLst>
          </p:cNvPr>
          <p:cNvGrpSpPr/>
          <p:nvPr/>
        </p:nvGrpSpPr>
        <p:grpSpPr>
          <a:xfrm>
            <a:off x="1034715" y="1330467"/>
            <a:ext cx="2376000" cy="2850482"/>
            <a:chOff x="1034715" y="1437623"/>
            <a:chExt cx="2376000" cy="2850482"/>
          </a:xfrm>
        </p:grpSpPr>
        <p:sp>
          <p:nvSpPr>
            <p:cNvPr id="7" name="Rounded Rectangle 6">
              <a:extLst>
                <a:ext uri="{FF2B5EF4-FFF2-40B4-BE49-F238E27FC236}">
                  <a16:creationId xmlns:a16="http://schemas.microsoft.com/office/drawing/2014/main" id="{C1BA3B7E-81A9-FD3E-65A2-F6B826BE8C87}"/>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9" name="Group 8">
              <a:extLst>
                <a:ext uri="{FF2B5EF4-FFF2-40B4-BE49-F238E27FC236}">
                  <a16:creationId xmlns:a16="http://schemas.microsoft.com/office/drawing/2014/main" id="{C943C788-72ED-8F9C-3D37-0C0B16A083F3}"/>
                </a:ext>
              </a:extLst>
            </p:cNvPr>
            <p:cNvGrpSpPr/>
            <p:nvPr/>
          </p:nvGrpSpPr>
          <p:grpSpPr>
            <a:xfrm>
              <a:off x="1758834" y="3919743"/>
              <a:ext cx="948471" cy="263470"/>
              <a:chOff x="5411538" y="379361"/>
              <a:chExt cx="613934" cy="170541"/>
            </a:xfrm>
            <a:solidFill>
              <a:srgbClr val="000000"/>
            </a:solidFill>
          </p:grpSpPr>
          <p:sp>
            <p:nvSpPr>
              <p:cNvPr id="10" name="Freeform 9">
                <a:extLst>
                  <a:ext uri="{FF2B5EF4-FFF2-40B4-BE49-F238E27FC236}">
                    <a16:creationId xmlns:a16="http://schemas.microsoft.com/office/drawing/2014/main" id="{4035EDD6-56F8-9F12-E983-496FBE49796D}"/>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1" name="Freeform 10">
                <a:extLst>
                  <a:ext uri="{FF2B5EF4-FFF2-40B4-BE49-F238E27FC236}">
                    <a16:creationId xmlns:a16="http://schemas.microsoft.com/office/drawing/2014/main" id="{22813B0E-7E32-7C8C-A74E-B2D2CC4BE867}"/>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2" name="Freeform 11">
                <a:extLst>
                  <a:ext uri="{FF2B5EF4-FFF2-40B4-BE49-F238E27FC236}">
                    <a16:creationId xmlns:a16="http://schemas.microsoft.com/office/drawing/2014/main" id="{61E1A541-AE26-5BEF-481E-4A2486E11931}"/>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5" name="Afbeelding 4">
              <a:extLst>
                <a:ext uri="{FF2B5EF4-FFF2-40B4-BE49-F238E27FC236}">
                  <a16:creationId xmlns:a16="http://schemas.microsoft.com/office/drawing/2014/main" id="{22911268-D445-85AB-7A11-19E64317FF8C}"/>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952131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A5CEF-ED40-9C12-0E07-60E3E7C250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114F65-A483-30C4-D493-B0223490A310}"/>
              </a:ext>
            </a:extLst>
          </p:cNvPr>
          <p:cNvSpPr>
            <a:spLocks noGrp="1"/>
          </p:cNvSpPr>
          <p:nvPr>
            <p:ph type="title"/>
          </p:nvPr>
        </p:nvSpPr>
        <p:spPr>
          <a:xfrm>
            <a:off x="1226989" y="377826"/>
            <a:ext cx="7455051" cy="660092"/>
          </a:xfrm>
        </p:spPr>
        <p:txBody>
          <a:bodyPr anchor="ctr"/>
          <a:lstStyle/>
          <a:p>
            <a:r>
              <a:rPr lang="en-BE">
                <a:solidFill>
                  <a:srgbClr val="2A2234"/>
                </a:solidFill>
              </a:rPr>
              <a:t>Gigabit for all </a:t>
            </a:r>
            <a:r>
              <a:rPr lang="en-BE" b="0">
                <a:solidFill>
                  <a:srgbClr val="2A2234"/>
                </a:solidFill>
                <a:latin typeface="Proximus Light" pitchFamily="2" charset="77"/>
              </a:rPr>
              <a:t>in 2025</a:t>
            </a:r>
          </a:p>
        </p:txBody>
      </p:sp>
      <p:sp>
        <p:nvSpPr>
          <p:cNvPr id="39" name="!!OVAL_network">
            <a:extLst>
              <a:ext uri="{FF2B5EF4-FFF2-40B4-BE49-F238E27FC236}">
                <a16:creationId xmlns:a16="http://schemas.microsoft.com/office/drawing/2014/main" id="{25FA8D25-1415-4AAF-3401-6CB4BDE95945}"/>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5" name="Graphic 4">
            <a:extLst>
              <a:ext uri="{FF2B5EF4-FFF2-40B4-BE49-F238E27FC236}">
                <a16:creationId xmlns:a16="http://schemas.microsoft.com/office/drawing/2014/main" id="{0B2E85C9-73A1-40B2-9CE7-BED2A79695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89" y="502486"/>
            <a:ext cx="410773" cy="410773"/>
          </a:xfrm>
          <a:prstGeom prst="rect">
            <a:avLst/>
          </a:prstGeom>
        </p:spPr>
      </p:pic>
      <p:sp>
        <p:nvSpPr>
          <p:cNvPr id="4" name="Text Placeholder 4">
            <a:extLst>
              <a:ext uri="{FF2B5EF4-FFF2-40B4-BE49-F238E27FC236}">
                <a16:creationId xmlns:a16="http://schemas.microsoft.com/office/drawing/2014/main" id="{3FA7659F-8BE9-5213-5A53-DEB93956556E}"/>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99000">
                      <a:srgbClr val="41C3FF"/>
                    </a:gs>
                  </a:gsLst>
                  <a:lin ang="3000000" scaled="0"/>
                </a:gradFill>
                <a:latin typeface="Proximus ExtraBold" pitchFamily="2" charset="77"/>
              </a:rPr>
              <a:t>1</a:t>
            </a:r>
          </a:p>
          <a:p>
            <a:pPr marL="0" indent="0" defTabSz="914241">
              <a:lnSpc>
                <a:spcPct val="110000"/>
              </a:lnSpc>
              <a:spcBef>
                <a:spcPts val="0"/>
              </a:spcBef>
              <a:spcAft>
                <a:spcPts val="1200"/>
              </a:spcAft>
              <a:buClr>
                <a:srgbClr val="5C2D91"/>
              </a:buClr>
              <a:buNone/>
              <a:defRPr/>
            </a:pPr>
            <a:r>
              <a:rPr lang="en-US" sz="1100" b="1" dirty="0">
                <a:solidFill>
                  <a:srgbClr val="141C24"/>
                </a:solidFill>
                <a:latin typeface="Proximus ExtraBold" pitchFamily="2" charset="77"/>
              </a:rPr>
              <a:t>We continue a high pace in fiber rollout </a:t>
            </a:r>
            <a:endParaRPr lang="en-US" sz="1100" dirty="0">
              <a:solidFill>
                <a:srgbClr val="141C24"/>
              </a:solidFill>
              <a:latin typeface="Proximus Light" pitchFamily="2" charset="77"/>
            </a:endParaRPr>
          </a:p>
          <a:p>
            <a:pPr marL="0" indent="0" defTabSz="914241">
              <a:lnSpc>
                <a:spcPct val="110000"/>
              </a:lnSpc>
              <a:spcBef>
                <a:spcPts val="0"/>
              </a:spcBef>
              <a:spcAft>
                <a:spcPts val="1200"/>
              </a:spcAft>
              <a:buClr>
                <a:srgbClr val="5C2D91"/>
              </a:buClr>
              <a:buNone/>
              <a:defRPr/>
            </a:pPr>
            <a:r>
              <a:rPr lang="en-US" sz="1100" kern="100" dirty="0">
                <a:effectLst/>
                <a:latin typeface="Proximus Light" pitchFamily="2" charset="77"/>
                <a:ea typeface="Aptos" panose="020B0004020202020204" pitchFamily="34" charset="0"/>
                <a:cs typeface="Arial" panose="020B0604020202020204" pitchFamily="34" charset="0"/>
              </a:rPr>
              <a:t>A total of 476K homes passed have been built in 2024, in 2025 we target a total of 354K homes passed</a:t>
            </a:r>
            <a:endParaRPr lang="en-US" sz="1100" b="1" dirty="0">
              <a:solidFill>
                <a:srgbClr val="141C24"/>
              </a:solidFill>
              <a:latin typeface="Proximus ExtraBold" pitchFamily="2" charset="77"/>
            </a:endParaRPr>
          </a:p>
        </p:txBody>
      </p:sp>
      <p:sp>
        <p:nvSpPr>
          <p:cNvPr id="6" name="Text Placeholder 4">
            <a:extLst>
              <a:ext uri="{FF2B5EF4-FFF2-40B4-BE49-F238E27FC236}">
                <a16:creationId xmlns:a16="http://schemas.microsoft.com/office/drawing/2014/main" id="{73127CBA-6F20-A513-F9DC-EBBEA394FE45}"/>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rgbClr val="41C3FF"/>
                    </a:gs>
                  </a:gsLst>
                  <a:lin ang="3000000" scaled="0"/>
                </a:gradFill>
                <a:latin typeface="Proximus ExtraBold" pitchFamily="2" charset="77"/>
              </a:rPr>
              <a:t>2</a:t>
            </a:r>
            <a:endParaRPr lang="en-US" sz="1200" b="1" dirty="0">
              <a:gradFill>
                <a:gsLst>
                  <a:gs pos="0">
                    <a:schemeClr val="bg1"/>
                  </a:gs>
                  <a:gs pos="100000">
                    <a:srgbClr val="41C3FF"/>
                  </a:gs>
                </a:gsLst>
                <a:lin ang="3000000" scaled="0"/>
              </a:gradFill>
              <a:latin typeface="Proximus ExtraBold" pitchFamily="2" charset="77"/>
            </a:endParaRPr>
          </a:p>
          <a:p>
            <a:pPr marL="0" indent="0" defTabSz="914241">
              <a:lnSpc>
                <a:spcPct val="110000"/>
              </a:lnSpc>
              <a:spcBef>
                <a:spcPts val="0"/>
              </a:spcBef>
              <a:spcAft>
                <a:spcPts val="1200"/>
              </a:spcAft>
              <a:buClr>
                <a:srgbClr val="5C2D91"/>
              </a:buClr>
              <a:buNone/>
              <a:defRPr/>
            </a:pPr>
            <a:br>
              <a:rPr lang="en-US" sz="1100" b="1" dirty="0">
                <a:solidFill>
                  <a:srgbClr val="141C24"/>
                </a:solidFill>
                <a:latin typeface="Proximus ExtraBold" pitchFamily="2" charset="77"/>
              </a:rPr>
            </a:br>
            <a:br>
              <a:rPr lang="en-US" sz="1100" b="1" dirty="0">
                <a:solidFill>
                  <a:srgbClr val="141C24"/>
                </a:solidFill>
                <a:latin typeface="Proximus ExtraBold" pitchFamily="2" charset="77"/>
              </a:rPr>
            </a:br>
            <a:r>
              <a:rPr lang="en-US" sz="1100" b="1" dirty="0">
                <a:solidFill>
                  <a:srgbClr val="141C24"/>
                </a:solidFill>
                <a:latin typeface="Proximus ExtraBold" pitchFamily="2" charset="77"/>
              </a:rPr>
              <a:t>Operational alignment &amp; main deployment engine</a:t>
            </a:r>
          </a:p>
          <a:p>
            <a:pPr marL="0" indent="0" defTabSz="914241">
              <a:lnSpc>
                <a:spcPct val="110000"/>
              </a:lnSpc>
              <a:spcBef>
                <a:spcPts val="0"/>
              </a:spcBef>
              <a:spcAft>
                <a:spcPts val="1200"/>
              </a:spcAft>
              <a:buClr>
                <a:srgbClr val="5C2D91"/>
              </a:buClr>
              <a:buNone/>
              <a:defRPr/>
            </a:pPr>
            <a:r>
              <a:rPr lang="en-US" sz="1100" kern="100" dirty="0">
                <a:latin typeface="Proximus Light" pitchFamily="2" charset="77"/>
                <a:cs typeface="Arial" panose="020B0604020202020204" pitchFamily="34" charset="0"/>
              </a:rPr>
              <a:t>Transform from pro-active to re-active home connect &amp; and deploy the highest volume of homes passed</a:t>
            </a:r>
          </a:p>
          <a:p>
            <a:pPr marL="0" indent="0" defTabSz="914241">
              <a:lnSpc>
                <a:spcPct val="110000"/>
              </a:lnSpc>
              <a:spcBef>
                <a:spcPts val="0"/>
              </a:spcBef>
              <a:spcAft>
                <a:spcPts val="1200"/>
              </a:spcAft>
              <a:buClr>
                <a:srgbClr val="5C2D91"/>
              </a:buClr>
              <a:buNone/>
              <a:defRPr/>
            </a:pPr>
            <a:endParaRPr lang="en-US" sz="1100" dirty="0">
              <a:solidFill>
                <a:srgbClr val="141C24"/>
              </a:solidFill>
              <a:latin typeface="Proximus Light" pitchFamily="2" charset="77"/>
            </a:endParaRPr>
          </a:p>
        </p:txBody>
      </p:sp>
      <p:pic>
        <p:nvPicPr>
          <p:cNvPr id="7" name="Picture 5" descr="Wij maken Vlaanderen klaar voor internet via fiber">
            <a:extLst>
              <a:ext uri="{FF2B5EF4-FFF2-40B4-BE49-F238E27FC236}">
                <a16:creationId xmlns:a16="http://schemas.microsoft.com/office/drawing/2014/main" id="{505C44E9-5EAF-7788-14B6-7097F7116558}"/>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75333" y="2195973"/>
            <a:ext cx="1342063" cy="37577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a:extLst>
              <a:ext uri="{FF2B5EF4-FFF2-40B4-BE49-F238E27FC236}">
                <a16:creationId xmlns:a16="http://schemas.microsoft.com/office/drawing/2014/main" id="{443EB20C-2BAE-1399-E4E5-B124089B09FA}"/>
              </a:ext>
            </a:extLst>
          </p:cNvPr>
          <p:cNvSpPr txBox="1">
            <a:spLocks/>
          </p:cNvSpPr>
          <p:nvPr/>
        </p:nvSpPr>
        <p:spPr>
          <a:xfrm>
            <a:off x="4684265" y="2749623"/>
            <a:ext cx="1884240" cy="2736777"/>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rgbClr val="41C3FF"/>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US" sz="1100" b="1">
                <a:solidFill>
                  <a:srgbClr val="141C24"/>
                </a:solidFill>
                <a:latin typeface="Proximus ExtraBold" pitchFamily="2" charset="77"/>
              </a:rPr>
              <a:t>Closing &amp; signing fiber collaboration agreements</a:t>
            </a:r>
            <a:endParaRPr lang="en-US" sz="1100">
              <a:solidFill>
                <a:srgbClr val="141C24"/>
              </a:solidFill>
              <a:latin typeface="Proximus Light" pitchFamily="2" charset="77"/>
            </a:endParaRPr>
          </a:p>
        </p:txBody>
      </p:sp>
      <p:sp>
        <p:nvSpPr>
          <p:cNvPr id="9" name="Text Placeholder 4">
            <a:extLst>
              <a:ext uri="{FF2B5EF4-FFF2-40B4-BE49-F238E27FC236}">
                <a16:creationId xmlns:a16="http://schemas.microsoft.com/office/drawing/2014/main" id="{2AE2EBEB-1953-3855-78D6-529ADCDD2E33}"/>
              </a:ext>
            </a:extLst>
          </p:cNvPr>
          <p:cNvSpPr txBox="1">
            <a:spLocks/>
          </p:cNvSpPr>
          <p:nvPr/>
        </p:nvSpPr>
        <p:spPr>
          <a:xfrm>
            <a:off x="6796210" y="1387107"/>
            <a:ext cx="1884240" cy="2016051"/>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rgbClr val="41C3FF"/>
                    </a:gs>
                  </a:gsLst>
                  <a:lin ang="3000000" scaled="0"/>
                </a:gradFill>
                <a:latin typeface="Proximus ExtraBold" pitchFamily="2" charset="77"/>
              </a:rPr>
              <a:t>4</a:t>
            </a:r>
          </a:p>
          <a:p>
            <a:pPr marL="0" indent="0" defTabSz="914241">
              <a:lnSpc>
                <a:spcPct val="110000"/>
              </a:lnSpc>
              <a:spcBef>
                <a:spcPts val="0"/>
              </a:spcBef>
              <a:spcAft>
                <a:spcPts val="1200"/>
              </a:spcAft>
              <a:buClr>
                <a:srgbClr val="5C2D91"/>
              </a:buClr>
              <a:buNone/>
              <a:defRPr/>
            </a:pPr>
            <a:r>
              <a:rPr lang="en-US" sz="1100" b="1" dirty="0">
                <a:solidFill>
                  <a:srgbClr val="141C24"/>
                </a:solidFill>
                <a:latin typeface="Proximus ExtraBold" pitchFamily="2" charset="77"/>
              </a:rPr>
              <a:t>Preparing teams, tools &amp; processes </a:t>
            </a:r>
            <a:endParaRPr lang="en-US" sz="1100" b="1" dirty="0">
              <a:solidFill>
                <a:srgbClr val="141C24"/>
              </a:solidFill>
              <a:latin typeface="Proximus Light" pitchFamily="2" charset="77"/>
            </a:endParaRPr>
          </a:p>
          <a:p>
            <a:pPr marL="0" indent="0" defTabSz="914241">
              <a:lnSpc>
                <a:spcPct val="110000"/>
              </a:lnSpc>
              <a:spcBef>
                <a:spcPts val="0"/>
              </a:spcBef>
              <a:spcAft>
                <a:spcPts val="1200"/>
              </a:spcAft>
              <a:buClr>
                <a:srgbClr val="5C2D91"/>
              </a:buClr>
              <a:buNone/>
              <a:defRPr/>
            </a:pPr>
            <a:r>
              <a:rPr lang="en-US" sz="1100" kern="100" dirty="0">
                <a:latin typeface="Proximus Light" pitchFamily="2" charset="77"/>
                <a:cs typeface="Arial" panose="020B0604020202020204" pitchFamily="34" charset="0"/>
              </a:rPr>
              <a:t>Materializing the ice breaker concept</a:t>
            </a:r>
          </a:p>
        </p:txBody>
      </p:sp>
      <p:sp>
        <p:nvSpPr>
          <p:cNvPr id="10" name="Rounded Rectangle 9">
            <a:extLst>
              <a:ext uri="{FF2B5EF4-FFF2-40B4-BE49-F238E27FC236}">
                <a16:creationId xmlns:a16="http://schemas.microsoft.com/office/drawing/2014/main" id="{21271212-E0FD-0975-19D3-582CEE8B84A3}"/>
              </a:ext>
            </a:extLst>
          </p:cNvPr>
          <p:cNvSpPr/>
          <p:nvPr/>
        </p:nvSpPr>
        <p:spPr>
          <a:xfrm>
            <a:off x="4684265" y="1393460"/>
            <a:ext cx="1884240" cy="1186230"/>
          </a:xfrm>
          <a:prstGeom prst="roundRect">
            <a:avLst>
              <a:gd name="adj" fmla="val 13679"/>
            </a:avLst>
          </a:prstGeom>
          <a:blipFill>
            <a:blip r:embed="rId6"/>
            <a:srcRect/>
            <a:stretch>
              <a:fillRect l="-1" t="-20146" r="-21482" b="-841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1" name="Rounded Rectangle 10">
            <a:extLst>
              <a:ext uri="{FF2B5EF4-FFF2-40B4-BE49-F238E27FC236}">
                <a16:creationId xmlns:a16="http://schemas.microsoft.com/office/drawing/2014/main" id="{040CBA89-CE75-BC3E-A0C6-C120EC74A864}"/>
              </a:ext>
            </a:extLst>
          </p:cNvPr>
          <p:cNvSpPr/>
          <p:nvPr/>
        </p:nvSpPr>
        <p:spPr>
          <a:xfrm>
            <a:off x="6796210" y="3543300"/>
            <a:ext cx="1884240" cy="2016050"/>
          </a:xfrm>
          <a:prstGeom prst="roundRect">
            <a:avLst>
              <a:gd name="adj" fmla="val 11458"/>
            </a:avLst>
          </a:prstGeom>
          <a:blipFill>
            <a:blip r:embed="rId7"/>
            <a:srcRect/>
            <a:stretch>
              <a:fillRect l="-19183" r="-19183" b="13760"/>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Tree>
    <p:extLst>
      <p:ext uri="{BB962C8B-B14F-4D97-AF65-F5344CB8AC3E}">
        <p14:creationId xmlns:p14="http://schemas.microsoft.com/office/powerpoint/2010/main" val="4158682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BB065-D486-B6EA-9005-FC8204C4C498}"/>
            </a:ext>
          </a:extLst>
        </p:cNvPr>
        <p:cNvGrpSpPr/>
        <p:nvPr/>
      </p:nvGrpSpPr>
      <p:grpSpPr>
        <a:xfrm>
          <a:off x="0" y="0"/>
          <a:ext cx="0" cy="0"/>
          <a:chOff x="0" y="0"/>
          <a:chExt cx="0" cy="0"/>
        </a:xfrm>
      </p:grpSpPr>
      <p:pic>
        <p:nvPicPr>
          <p:cNvPr id="16" name="Picture 15" descr="A tall metal tower with a crane&#10;&#10;Description automatically generated">
            <a:extLst>
              <a:ext uri="{FF2B5EF4-FFF2-40B4-BE49-F238E27FC236}">
                <a16:creationId xmlns:a16="http://schemas.microsoft.com/office/drawing/2014/main" id="{A6CC8AAA-669E-B61A-49C8-E79C0917791C}"/>
              </a:ext>
            </a:extLst>
          </p:cNvPr>
          <p:cNvPicPr>
            <a:picLocks noChangeAspect="1"/>
          </p:cNvPicPr>
          <p:nvPr/>
        </p:nvPicPr>
        <p:blipFill rotWithShape="1">
          <a:blip r:embed="rId3"/>
          <a:srcRect t="5440" b="15846"/>
          <a:stretch/>
        </p:blipFill>
        <p:spPr>
          <a:xfrm>
            <a:off x="4572002" y="383872"/>
            <a:ext cx="4108450" cy="4311954"/>
          </a:xfrm>
          <a:prstGeom prst="roundRect">
            <a:avLst>
              <a:gd name="adj" fmla="val 4637"/>
            </a:avLst>
          </a:prstGeom>
        </p:spPr>
      </p:pic>
      <p:sp>
        <p:nvSpPr>
          <p:cNvPr id="2" name="Title 1">
            <a:extLst>
              <a:ext uri="{FF2B5EF4-FFF2-40B4-BE49-F238E27FC236}">
                <a16:creationId xmlns:a16="http://schemas.microsoft.com/office/drawing/2014/main" id="{5A4A605C-C4A3-9164-972B-4D625499DAA5}"/>
              </a:ext>
            </a:extLst>
          </p:cNvPr>
          <p:cNvSpPr>
            <a:spLocks noGrp="1"/>
          </p:cNvSpPr>
          <p:nvPr>
            <p:ph type="title"/>
          </p:nvPr>
        </p:nvSpPr>
        <p:spPr>
          <a:xfrm>
            <a:off x="1226990" y="377827"/>
            <a:ext cx="7455051" cy="660092"/>
          </a:xfrm>
        </p:spPr>
        <p:txBody>
          <a:bodyPr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2400">
                <a:solidFill>
                  <a:srgbClr val="2A2234"/>
                </a:solidFill>
              </a:rPr>
              <a:t>Mobile leadership</a:t>
            </a:r>
          </a:p>
        </p:txBody>
      </p:sp>
      <p:sp>
        <p:nvSpPr>
          <p:cNvPr id="39" name="!!OVAL_network">
            <a:extLst>
              <a:ext uri="{FF2B5EF4-FFF2-40B4-BE49-F238E27FC236}">
                <a16:creationId xmlns:a16="http://schemas.microsoft.com/office/drawing/2014/main" id="{BE1A9000-5FAF-1778-01D1-5764A260C911}"/>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40808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267879DF-B556-825E-5486-5C95818AE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868" y="514469"/>
            <a:ext cx="285017" cy="386809"/>
          </a:xfrm>
          <a:prstGeom prst="rect">
            <a:avLst/>
          </a:prstGeom>
        </p:spPr>
      </p:pic>
      <p:sp>
        <p:nvSpPr>
          <p:cNvPr id="5" name="TextBox 4">
            <a:extLst>
              <a:ext uri="{FF2B5EF4-FFF2-40B4-BE49-F238E27FC236}">
                <a16:creationId xmlns:a16="http://schemas.microsoft.com/office/drawing/2014/main" id="{66F5D826-DC70-5B2C-A8AD-04F1011E749B}"/>
              </a:ext>
            </a:extLst>
          </p:cNvPr>
          <p:cNvSpPr txBox="1"/>
          <p:nvPr/>
        </p:nvSpPr>
        <p:spPr>
          <a:xfrm>
            <a:off x="460375" y="1038225"/>
            <a:ext cx="4111626" cy="3657600"/>
          </a:xfrm>
          <a:prstGeom prst="rect">
            <a:avLst/>
          </a:prstGeom>
        </p:spPr>
        <p:txBody>
          <a:bodyPr vert="horz" wrap="square" lIns="0" tIns="0" rIns="0" bIns="0" numCol="1" spcCol="0" rtlCol="0" anchor="ctr" anchorCtr="0">
            <a:noAutofit/>
          </a:bodyP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408094">
              <a:lnSpc>
                <a:spcPct val="90000"/>
              </a:lnSpc>
            </a:pPr>
            <a:r>
              <a:rPr lang="en-GB" sz="3200">
                <a:solidFill>
                  <a:srgbClr val="2A2234"/>
                </a:solidFill>
                <a:latin typeface="Proximus Light" pitchFamily="2" charset="77"/>
              </a:rPr>
              <a:t>Sustain</a:t>
            </a:r>
            <a:br>
              <a:rPr lang="en-GB" sz="3200">
                <a:solidFill>
                  <a:srgbClr val="2A2234"/>
                </a:solidFill>
                <a:latin typeface="Proximus Light" pitchFamily="2" charset="77"/>
              </a:rPr>
            </a:br>
            <a:r>
              <a:rPr lang="en-GB" sz="3200" b="1">
                <a:gradFill flip="none" rotWithShape="1">
                  <a:gsLst>
                    <a:gs pos="0">
                      <a:srgbClr val="5C2D91"/>
                    </a:gs>
                    <a:gs pos="99000">
                      <a:srgbClr val="41C3FF"/>
                    </a:gs>
                  </a:gsLst>
                  <a:lin ang="0" scaled="1"/>
                  <a:tileRect/>
                </a:gradFill>
                <a:latin typeface="Proximus ExtraBold" pitchFamily="2" charset="77"/>
              </a:rPr>
              <a:t>fastest</a:t>
            </a:r>
            <a:r>
              <a:rPr lang="en-GB" sz="3200" b="1">
                <a:gradFill flip="none" rotWithShape="1">
                  <a:gsLst>
                    <a:gs pos="0">
                      <a:srgbClr val="5C2D91"/>
                    </a:gs>
                    <a:gs pos="99000">
                      <a:schemeClr val="accent5"/>
                    </a:gs>
                  </a:gsLst>
                  <a:lin ang="0" scaled="1"/>
                  <a:tileRect/>
                </a:gradFill>
                <a:latin typeface="Proximus ExtraBold" pitchFamily="2" charset="77"/>
              </a:rPr>
              <a:t> </a:t>
            </a:r>
          </a:p>
          <a:p>
            <a:pPr defTabSz="408094">
              <a:lnSpc>
                <a:spcPct val="90000"/>
              </a:lnSpc>
            </a:pPr>
            <a:r>
              <a:rPr lang="en-GB" sz="3200" b="1">
                <a:gradFill flip="none" rotWithShape="1">
                  <a:gsLst>
                    <a:gs pos="0">
                      <a:srgbClr val="5C2D91"/>
                    </a:gs>
                    <a:gs pos="99000">
                      <a:srgbClr val="41C3FF"/>
                    </a:gs>
                  </a:gsLst>
                  <a:lin ang="0" scaled="1"/>
                  <a:tileRect/>
                </a:gradFill>
                <a:latin typeface="Proximus ExtraBold" pitchFamily="2" charset="77"/>
              </a:rPr>
              <a:t>network</a:t>
            </a:r>
            <a:r>
              <a:rPr lang="en-GB" sz="3200" b="1">
                <a:gradFill flip="none" rotWithShape="1">
                  <a:gsLst>
                    <a:gs pos="0">
                      <a:srgbClr val="5C2D91"/>
                    </a:gs>
                    <a:gs pos="99000">
                      <a:schemeClr val="accent5"/>
                    </a:gs>
                  </a:gsLst>
                  <a:lin ang="0" scaled="1"/>
                  <a:tileRect/>
                </a:gradFill>
                <a:latin typeface="Proximus ExtraBold" pitchFamily="2" charset="77"/>
              </a:rPr>
              <a:t> </a:t>
            </a:r>
            <a:r>
              <a:rPr lang="en-GB" sz="3200">
                <a:solidFill>
                  <a:srgbClr val="2A2234"/>
                </a:solidFill>
                <a:latin typeface="Proximus Light" pitchFamily="2" charset="77"/>
              </a:rPr>
              <a:t>claim</a:t>
            </a:r>
            <a:r>
              <a:rPr lang="en-GB" sz="3200" b="1">
                <a:gradFill flip="none" rotWithShape="1">
                  <a:gsLst>
                    <a:gs pos="0">
                      <a:srgbClr val="5C2D91"/>
                    </a:gs>
                    <a:gs pos="99000">
                      <a:srgbClr val="EE2E5D"/>
                    </a:gs>
                  </a:gsLst>
                  <a:lin ang="0" scaled="1"/>
                  <a:tileRect/>
                </a:gradFill>
                <a:latin typeface="Proximus ExtraBold" pitchFamily="2" charset="77"/>
              </a:rPr>
              <a:t> </a:t>
            </a:r>
            <a:r>
              <a:rPr lang="en-GB" sz="3200">
                <a:solidFill>
                  <a:srgbClr val="000000"/>
                </a:solidFill>
                <a:latin typeface="Proximus Light" pitchFamily="2" charset="77"/>
              </a:rPr>
              <a:t>&amp; excel in </a:t>
            </a:r>
            <a:r>
              <a:rPr lang="en-GB" sz="3200" b="1">
                <a:gradFill flip="none" rotWithShape="1">
                  <a:gsLst>
                    <a:gs pos="0">
                      <a:srgbClr val="5C2D91"/>
                    </a:gs>
                    <a:gs pos="99000">
                      <a:srgbClr val="41C3FF"/>
                    </a:gs>
                  </a:gsLst>
                  <a:lin ang="0" scaled="1"/>
                  <a:tileRect/>
                </a:gradFill>
                <a:latin typeface="Proximus ExtraBold" pitchFamily="2" charset="77"/>
              </a:rPr>
              <a:t>customer</a:t>
            </a:r>
            <a:r>
              <a:rPr lang="en-GB" sz="3200" b="1">
                <a:gradFill flip="none" rotWithShape="1">
                  <a:gsLst>
                    <a:gs pos="0">
                      <a:srgbClr val="5C2D91"/>
                    </a:gs>
                    <a:gs pos="99000">
                      <a:schemeClr val="accent5"/>
                    </a:gs>
                  </a:gsLst>
                  <a:lin ang="0" scaled="1"/>
                  <a:tileRect/>
                </a:gradFill>
                <a:latin typeface="Proximus ExtraBold" pitchFamily="2" charset="77"/>
              </a:rPr>
              <a:t> </a:t>
            </a:r>
            <a:r>
              <a:rPr lang="en-GB" sz="3200" b="1">
                <a:gradFill flip="none" rotWithShape="1">
                  <a:gsLst>
                    <a:gs pos="0">
                      <a:srgbClr val="5C2D91"/>
                    </a:gs>
                    <a:gs pos="99000">
                      <a:srgbClr val="41C3FF"/>
                    </a:gs>
                  </a:gsLst>
                  <a:lin ang="0" scaled="1"/>
                  <a:tileRect/>
                </a:gradFill>
                <a:latin typeface="Proximus ExtraBold" pitchFamily="2" charset="77"/>
              </a:rPr>
              <a:t>experience</a:t>
            </a:r>
          </a:p>
        </p:txBody>
      </p:sp>
    </p:spTree>
    <p:extLst>
      <p:ext uri="{BB962C8B-B14F-4D97-AF65-F5344CB8AC3E}">
        <p14:creationId xmlns:p14="http://schemas.microsoft.com/office/powerpoint/2010/main" val="426214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AECC35D4-C368-1E64-3E5F-4E5FC51729E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4A9B1B75-8558-8138-7662-DDBC7337CD05}"/>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11500" b="1">
                <a:solidFill>
                  <a:srgbClr val="2A2234"/>
                </a:solidFill>
                <a:latin typeface="Proximus ExtraBold" pitchFamily="2" charset="77"/>
              </a:rPr>
              <a:t>Welcome</a:t>
            </a:r>
            <a:endParaRPr lang="en-GB" sz="11500" b="1">
              <a:gradFill flip="none" rotWithShape="1">
                <a:gsLst>
                  <a:gs pos="36000">
                    <a:schemeClr val="tx2"/>
                  </a:gs>
                  <a:gs pos="99000">
                    <a:schemeClr val="bg1"/>
                  </a:gs>
                </a:gsLst>
                <a:lin ang="18900000" scaled="1"/>
                <a:tileRect/>
              </a:gradFill>
              <a:latin typeface="Proximus ExtraBold" pitchFamily="2" charset="77"/>
            </a:endParaRPr>
          </a:p>
        </p:txBody>
      </p:sp>
      <p:sp>
        <p:nvSpPr>
          <p:cNvPr id="2" name="TextBox 1">
            <a:extLst>
              <a:ext uri="{FF2B5EF4-FFF2-40B4-BE49-F238E27FC236}">
                <a16:creationId xmlns:a16="http://schemas.microsoft.com/office/drawing/2014/main" id="{9CE51A23-0AA9-0C16-BA5E-1071A964897E}"/>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26194385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FBD5D-0471-6708-C65B-077D618356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85391B-6066-9C95-59B1-6AE0166A26D1}"/>
              </a:ext>
            </a:extLst>
          </p:cNvPr>
          <p:cNvSpPr>
            <a:spLocks noGrp="1"/>
          </p:cNvSpPr>
          <p:nvPr>
            <p:ph type="title"/>
          </p:nvPr>
        </p:nvSpPr>
        <p:spPr>
          <a:xfrm>
            <a:off x="1226990" y="377827"/>
            <a:ext cx="7455051" cy="660092"/>
          </a:xfrm>
        </p:spPr>
        <p:txBody>
          <a:bodyPr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2400">
                <a:solidFill>
                  <a:srgbClr val="2A2234"/>
                </a:solidFill>
              </a:rPr>
              <a:t>Mobile leadership</a:t>
            </a:r>
          </a:p>
        </p:txBody>
      </p:sp>
      <p:sp>
        <p:nvSpPr>
          <p:cNvPr id="39" name="!!OVAL_network">
            <a:extLst>
              <a:ext uri="{FF2B5EF4-FFF2-40B4-BE49-F238E27FC236}">
                <a16:creationId xmlns:a16="http://schemas.microsoft.com/office/drawing/2014/main" id="{483F5B93-8273-D3E4-1B8A-FDE8981855E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40808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1F293004-7C22-AAF0-352A-76127E610F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1868" y="514469"/>
            <a:ext cx="285017" cy="386809"/>
          </a:xfrm>
          <a:prstGeom prst="rect">
            <a:avLst/>
          </a:prstGeom>
        </p:spPr>
      </p:pic>
      <p:pic>
        <p:nvPicPr>
          <p:cNvPr id="4" name="Picture 3">
            <a:extLst>
              <a:ext uri="{FF2B5EF4-FFF2-40B4-BE49-F238E27FC236}">
                <a16:creationId xmlns:a16="http://schemas.microsoft.com/office/drawing/2014/main" id="{88DFE028-6FCE-772F-D465-452F7D583FA8}"/>
              </a:ext>
            </a:extLst>
          </p:cNvPr>
          <p:cNvPicPr>
            <a:picLocks noChangeAspect="1"/>
          </p:cNvPicPr>
          <p:nvPr/>
        </p:nvPicPr>
        <p:blipFill>
          <a:blip r:embed="rId5"/>
          <a:stretch>
            <a:fillRect/>
          </a:stretch>
        </p:blipFill>
        <p:spPr>
          <a:xfrm>
            <a:off x="460376" y="1210805"/>
            <a:ext cx="3672295" cy="3001984"/>
          </a:xfrm>
          <a:prstGeom prst="rect">
            <a:avLst/>
          </a:prstGeom>
        </p:spPr>
      </p:pic>
      <p:pic>
        <p:nvPicPr>
          <p:cNvPr id="6" name="Graphic 5">
            <a:extLst>
              <a:ext uri="{FF2B5EF4-FFF2-40B4-BE49-F238E27FC236}">
                <a16:creationId xmlns:a16="http://schemas.microsoft.com/office/drawing/2014/main" id="{E233754A-3362-4896-B030-C999E87268A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971834" y="2197704"/>
            <a:ext cx="881302" cy="514092"/>
          </a:xfrm>
          <a:prstGeom prst="rect">
            <a:avLst/>
          </a:prstGeom>
        </p:spPr>
      </p:pic>
      <p:sp>
        <p:nvSpPr>
          <p:cNvPr id="8" name="TextBox 7">
            <a:extLst>
              <a:ext uri="{FF2B5EF4-FFF2-40B4-BE49-F238E27FC236}">
                <a16:creationId xmlns:a16="http://schemas.microsoft.com/office/drawing/2014/main" id="{24F49550-F095-3E28-39F2-62B63DF0AB74}"/>
              </a:ext>
            </a:extLst>
          </p:cNvPr>
          <p:cNvSpPr txBox="1"/>
          <p:nvPr/>
        </p:nvSpPr>
        <p:spPr>
          <a:xfrm>
            <a:off x="460375" y="3458375"/>
            <a:ext cx="2217512" cy="754891"/>
          </a:xfrm>
          <a:prstGeom prst="rect">
            <a:avLst/>
          </a:prstGeom>
          <a:noFill/>
        </p:spPr>
        <p:txBody>
          <a:bodyPr wrap="square" lIns="0" tIns="0" rIns="0" bIns="0" anchor="b">
            <a:noAutofit/>
          </a:bodyP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r>
              <a:rPr lang="en-US" sz="1400">
                <a:solidFill>
                  <a:srgbClr val="01112B"/>
                </a:solidFill>
                <a:latin typeface="Proximus Light" pitchFamily="2" charset="77"/>
              </a:rPr>
              <a:t>By 2026:</a:t>
            </a:r>
          </a:p>
          <a:p>
            <a:pPr defTabSz="685783">
              <a:defRPr/>
            </a:pPr>
            <a:r>
              <a:rPr lang="en-BE" sz="1400" b="1">
                <a:solidFill>
                  <a:schemeClr val="accent6"/>
                </a:solidFill>
                <a:effectLst/>
                <a:latin typeface="Arial Black" panose="020B0604020202020204" pitchFamily="34" charset="0"/>
                <a:cs typeface="Arial Black" panose="020B0604020202020204" pitchFamily="34" charset="0"/>
              </a:rPr>
              <a:t>~</a:t>
            </a:r>
            <a:r>
              <a:rPr lang="en-BE" sz="1400" b="1">
                <a:effectLst/>
                <a:latin typeface="Montserrat" pitchFamily="2" charset="77"/>
              </a:rPr>
              <a:t> </a:t>
            </a:r>
            <a:r>
              <a:rPr lang="en-US" sz="1400" b="1">
                <a:solidFill>
                  <a:srgbClr val="01112B"/>
                </a:solidFill>
                <a:latin typeface="Proximus ExtraBold" pitchFamily="2" charset="77"/>
              </a:rPr>
              <a:t>98% indoor</a:t>
            </a:r>
            <a:br>
              <a:rPr lang="en-US" sz="1400" b="1">
                <a:solidFill>
                  <a:srgbClr val="01112B"/>
                </a:solidFill>
                <a:latin typeface="Proximus ExtraBold" pitchFamily="2" charset="77"/>
              </a:rPr>
            </a:br>
            <a:r>
              <a:rPr lang="en-BE" sz="1400" b="1">
                <a:solidFill>
                  <a:schemeClr val="accent6"/>
                </a:solidFill>
                <a:effectLst/>
                <a:latin typeface="Arial Black" panose="020B0604020202020204" pitchFamily="34" charset="0"/>
                <a:cs typeface="Arial Black" panose="020B0604020202020204" pitchFamily="34" charset="0"/>
              </a:rPr>
              <a:t>~</a:t>
            </a:r>
            <a:r>
              <a:rPr lang="en-BE" sz="1400" b="1">
                <a:effectLst/>
                <a:latin typeface="Montserrat" pitchFamily="2" charset="77"/>
              </a:rPr>
              <a:t> </a:t>
            </a:r>
            <a:r>
              <a:rPr lang="en-US" sz="1400" b="1">
                <a:solidFill>
                  <a:srgbClr val="01112B"/>
                </a:solidFill>
                <a:latin typeface="Proximus ExtraBold" pitchFamily="2" charset="77"/>
              </a:rPr>
              <a:t>100% outdoor</a:t>
            </a:r>
            <a:endParaRPr lang="en-GB" sz="1400" b="1">
              <a:solidFill>
                <a:srgbClr val="01112B"/>
              </a:solidFill>
              <a:latin typeface="Proximus ExtraBold" pitchFamily="2" charset="77"/>
            </a:endParaRPr>
          </a:p>
        </p:txBody>
      </p:sp>
      <p:grpSp>
        <p:nvGrpSpPr>
          <p:cNvPr id="23" name="Group 22">
            <a:extLst>
              <a:ext uri="{FF2B5EF4-FFF2-40B4-BE49-F238E27FC236}">
                <a16:creationId xmlns:a16="http://schemas.microsoft.com/office/drawing/2014/main" id="{22DCC68B-1217-847F-AA7C-1F9965E0943E}"/>
              </a:ext>
            </a:extLst>
          </p:cNvPr>
          <p:cNvGrpSpPr/>
          <p:nvPr/>
        </p:nvGrpSpPr>
        <p:grpSpPr>
          <a:xfrm>
            <a:off x="6689097" y="1617879"/>
            <a:ext cx="1991354" cy="2755322"/>
            <a:chOff x="6689096" y="2169846"/>
            <a:chExt cx="1991354" cy="2755322"/>
          </a:xfrm>
        </p:grpSpPr>
        <p:sp>
          <p:nvSpPr>
            <p:cNvPr id="18" name="Text Placeholder 4">
              <a:extLst>
                <a:ext uri="{FF2B5EF4-FFF2-40B4-BE49-F238E27FC236}">
                  <a16:creationId xmlns:a16="http://schemas.microsoft.com/office/drawing/2014/main" id="{9041FDF8-BEEC-FFE6-BEAF-00D5B8943E36}"/>
                </a:ext>
              </a:extLst>
            </p:cNvPr>
            <p:cNvSpPr txBox="1">
              <a:spLocks/>
            </p:cNvSpPr>
            <p:nvPr/>
          </p:nvSpPr>
          <p:spPr>
            <a:xfrm>
              <a:off x="6689096" y="2169846"/>
              <a:ext cx="1991354" cy="12960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buClr>
                  <a:srgbClr val="5C2D91"/>
                </a:buClr>
                <a:buNone/>
                <a:defRPr/>
              </a:pPr>
              <a:r>
                <a:rPr lang="en-US" sz="1200" b="1">
                  <a:solidFill>
                    <a:srgbClr val="141C24"/>
                  </a:solidFill>
                  <a:latin typeface="Proximus ExtraBold" pitchFamily="2" charset="77"/>
                </a:rPr>
                <a:t>Simplify, modernize and automate </a:t>
              </a:r>
              <a:r>
                <a:rPr lang="en-US" sz="1200" b="1">
                  <a:solidFill>
                    <a:srgbClr val="141C24"/>
                  </a:solidFill>
                  <a:latin typeface="Proximus Bold" panose="00000500000000000000" pitchFamily="2" charset="0"/>
                </a:rPr>
                <a:t>mobile network </a:t>
              </a:r>
              <a:r>
                <a:rPr lang="en-US" sz="1200">
                  <a:solidFill>
                    <a:srgbClr val="141C24"/>
                  </a:solidFill>
                  <a:latin typeface="Proximus" panose="00000500000000000000" pitchFamily="2" charset="0"/>
                </a:rPr>
                <a:t>to excel in efficiency</a:t>
              </a:r>
            </a:p>
          </p:txBody>
        </p:sp>
        <p:sp>
          <p:nvSpPr>
            <p:cNvPr id="19" name="Text Placeholder 4">
              <a:extLst>
                <a:ext uri="{FF2B5EF4-FFF2-40B4-BE49-F238E27FC236}">
                  <a16:creationId xmlns:a16="http://schemas.microsoft.com/office/drawing/2014/main" id="{C32A09E1-4DF8-1347-41CD-F2BD2DB04912}"/>
                </a:ext>
              </a:extLst>
            </p:cNvPr>
            <p:cNvSpPr txBox="1">
              <a:spLocks/>
            </p:cNvSpPr>
            <p:nvPr/>
          </p:nvSpPr>
          <p:spPr>
            <a:xfrm>
              <a:off x="6689096" y="3629168"/>
              <a:ext cx="1991354" cy="12960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buClr>
                  <a:srgbClr val="5C2D91"/>
                </a:buClr>
                <a:buNone/>
                <a:defRPr/>
              </a:pPr>
              <a:r>
                <a:rPr lang="en-US" sz="1200">
                  <a:solidFill>
                    <a:srgbClr val="141C24"/>
                  </a:solidFill>
                  <a:latin typeface="Proximus Light" pitchFamily="2" charset="77"/>
                </a:rPr>
                <a:t>Implement 5G SA to deploy </a:t>
              </a:r>
              <a:r>
                <a:rPr lang="en-US" sz="1200">
                  <a:solidFill>
                    <a:srgbClr val="141C24"/>
                  </a:solidFill>
                  <a:latin typeface="Proximus ExtraBold" panose="00000900000000000000" pitchFamily="2" charset="0"/>
                </a:rPr>
                <a:t>full innovation potential of 5G</a:t>
              </a:r>
            </a:p>
          </p:txBody>
        </p:sp>
      </p:grpSp>
      <p:sp>
        <p:nvSpPr>
          <p:cNvPr id="20" name="Text Placeholder 4">
            <a:extLst>
              <a:ext uri="{FF2B5EF4-FFF2-40B4-BE49-F238E27FC236}">
                <a16:creationId xmlns:a16="http://schemas.microsoft.com/office/drawing/2014/main" id="{48257BF6-39DB-A403-8531-BA5A352105EF}"/>
              </a:ext>
            </a:extLst>
          </p:cNvPr>
          <p:cNvSpPr txBox="1">
            <a:spLocks/>
          </p:cNvSpPr>
          <p:nvPr/>
        </p:nvSpPr>
        <p:spPr>
          <a:xfrm>
            <a:off x="4556022" y="969879"/>
            <a:ext cx="1991354" cy="12960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buClr>
                <a:srgbClr val="5C2D91"/>
              </a:buClr>
              <a:buNone/>
              <a:defRPr/>
            </a:pPr>
            <a:r>
              <a:rPr lang="en-US" sz="1200">
                <a:solidFill>
                  <a:srgbClr val="141C24"/>
                </a:solidFill>
                <a:latin typeface="Proximus" panose="00000500000000000000" pitchFamily="2" charset="0"/>
              </a:rPr>
              <a:t>Offer </a:t>
            </a:r>
            <a:r>
              <a:rPr lang="en-US" sz="1200">
                <a:solidFill>
                  <a:srgbClr val="141C24"/>
                </a:solidFill>
                <a:latin typeface="Proximus ExtraBold" panose="00000900000000000000" pitchFamily="2" charset="0"/>
              </a:rPr>
              <a:t>best Speed </a:t>
            </a:r>
            <a:r>
              <a:rPr lang="en-US" sz="1200">
                <a:solidFill>
                  <a:srgbClr val="141C24"/>
                </a:solidFill>
                <a:latin typeface="Proximus" panose="00000500000000000000" pitchFamily="2" charset="0"/>
              </a:rPr>
              <a:t>and </a:t>
            </a:r>
            <a:r>
              <a:rPr lang="en-US" sz="1200">
                <a:solidFill>
                  <a:srgbClr val="141C24"/>
                </a:solidFill>
                <a:latin typeface="Proximus ExtraBold" panose="00000900000000000000" pitchFamily="2" charset="0"/>
              </a:rPr>
              <a:t>Coverage</a:t>
            </a:r>
            <a:r>
              <a:rPr lang="en-US" sz="1200">
                <a:solidFill>
                  <a:srgbClr val="141C24"/>
                </a:solidFill>
                <a:latin typeface="Proximus" panose="00000500000000000000" pitchFamily="2" charset="0"/>
              </a:rPr>
              <a:t> </a:t>
            </a:r>
          </a:p>
        </p:txBody>
      </p:sp>
      <p:sp>
        <p:nvSpPr>
          <p:cNvPr id="24" name="Text Placeholder 4">
            <a:extLst>
              <a:ext uri="{FF2B5EF4-FFF2-40B4-BE49-F238E27FC236}">
                <a16:creationId xmlns:a16="http://schemas.microsoft.com/office/drawing/2014/main" id="{9C603315-1DB1-3449-E7A7-4BA7B6D6623C}"/>
              </a:ext>
            </a:extLst>
          </p:cNvPr>
          <p:cNvSpPr txBox="1">
            <a:spLocks/>
          </p:cNvSpPr>
          <p:nvPr/>
        </p:nvSpPr>
        <p:spPr>
          <a:xfrm>
            <a:off x="4556021" y="2425816"/>
            <a:ext cx="1991354" cy="1377900"/>
          </a:xfrm>
          <a:prstGeom prst="roundRect">
            <a:avLst>
              <a:gd name="adj" fmla="val 9566"/>
            </a:avLst>
          </a:prstGeom>
          <a:solidFill>
            <a:schemeClr val="tx1"/>
          </a:solidFill>
          <a:effectLst>
            <a:outerShdw blurRad="508000" dist="38100" dir="5400000" algn="t" rotWithShape="0">
              <a:prstClr val="black">
                <a:alpha val="15000"/>
              </a:prstClr>
            </a:outerShdw>
          </a:effectLst>
        </p:spPr>
        <p:txBody>
          <a:bodyPr lIns="144000" tIns="180000" rIns="144000" bIns="18000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buClr>
                <a:srgbClr val="5C2D91"/>
              </a:buClr>
              <a:buNone/>
              <a:defRPr/>
            </a:pPr>
            <a:r>
              <a:rPr lang="en-US" sz="1200">
                <a:solidFill>
                  <a:srgbClr val="141C24"/>
                </a:solidFill>
                <a:latin typeface="Proximus ExtraBold" panose="00000900000000000000" pitchFamily="2" charset="0"/>
              </a:rPr>
              <a:t>Best customer experience </a:t>
            </a:r>
          </a:p>
          <a:p>
            <a:pPr marL="0" indent="0" defTabSz="914219">
              <a:buClr>
                <a:srgbClr val="5C2D91"/>
              </a:buClr>
              <a:buNone/>
              <a:defRPr/>
            </a:pPr>
            <a:r>
              <a:rPr lang="en-US" sz="1200">
                <a:solidFill>
                  <a:srgbClr val="141C24"/>
                </a:solidFill>
                <a:latin typeface="Proximus" panose="00000500000000000000" pitchFamily="2" charset="0"/>
              </a:rPr>
              <a:t>building on </a:t>
            </a:r>
            <a:r>
              <a:rPr lang="en-US" sz="1200">
                <a:solidFill>
                  <a:srgbClr val="141C24"/>
                </a:solidFill>
                <a:latin typeface="Proximus ExtraBold" panose="00000900000000000000" pitchFamily="2" charset="0"/>
              </a:rPr>
              <a:t>coverage, optimization, spectrum leadership</a:t>
            </a:r>
          </a:p>
        </p:txBody>
      </p:sp>
    </p:spTree>
    <p:extLst>
      <p:ext uri="{BB962C8B-B14F-4D97-AF65-F5344CB8AC3E}">
        <p14:creationId xmlns:p14="http://schemas.microsoft.com/office/powerpoint/2010/main" val="3534903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2BF5F-5413-C846-A6B9-CE4BA873C1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BE44BA-1108-1881-B57C-6B543501728F}"/>
              </a:ext>
            </a:extLst>
          </p:cNvPr>
          <p:cNvSpPr>
            <a:spLocks noGrp="1"/>
          </p:cNvSpPr>
          <p:nvPr>
            <p:ph type="title"/>
          </p:nvPr>
        </p:nvSpPr>
        <p:spPr>
          <a:xfrm>
            <a:off x="1226990" y="377827"/>
            <a:ext cx="7455051" cy="660092"/>
          </a:xfrm>
        </p:spPr>
        <p:txBody>
          <a:bodyPr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2400">
                <a:solidFill>
                  <a:srgbClr val="2A2234"/>
                </a:solidFill>
              </a:rPr>
              <a:t>Mobile leadership </a:t>
            </a:r>
            <a:r>
              <a:rPr lang="en-BE" sz="2400" b="0">
                <a:solidFill>
                  <a:srgbClr val="2A2234"/>
                </a:solidFill>
                <a:latin typeface="Proximus Light"/>
              </a:rPr>
              <a:t>in 2025</a:t>
            </a:r>
            <a:endParaRPr lang="en-GB" sz="2400">
              <a:solidFill>
                <a:srgbClr val="2A2234"/>
              </a:solidFill>
              <a:latin typeface="Proximus Light"/>
            </a:endParaRPr>
          </a:p>
        </p:txBody>
      </p:sp>
      <p:sp>
        <p:nvSpPr>
          <p:cNvPr id="39" name="!!OVAL_network">
            <a:extLst>
              <a:ext uri="{FF2B5EF4-FFF2-40B4-BE49-F238E27FC236}">
                <a16:creationId xmlns:a16="http://schemas.microsoft.com/office/drawing/2014/main" id="{B59AF520-90FD-59E2-3DD0-F9C7FDC620D2}"/>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40808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D8DB1E6C-CD58-B446-1631-C515ADA7C7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1868" y="514469"/>
            <a:ext cx="285017" cy="386809"/>
          </a:xfrm>
          <a:prstGeom prst="rect">
            <a:avLst/>
          </a:prstGeom>
        </p:spPr>
      </p:pic>
      <p:sp>
        <p:nvSpPr>
          <p:cNvPr id="5" name="Text Placeholder 4">
            <a:extLst>
              <a:ext uri="{FF2B5EF4-FFF2-40B4-BE49-F238E27FC236}">
                <a16:creationId xmlns:a16="http://schemas.microsoft.com/office/drawing/2014/main" id="{1F8262CC-5D85-582A-B519-CA06D4B2FB82}"/>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dirty="0">
                <a:gradFill>
                  <a:gsLst>
                    <a:gs pos="0">
                      <a:srgbClr val="5C2D91"/>
                    </a:gs>
                    <a:gs pos="100000">
                      <a:srgbClr val="41C3FF"/>
                    </a:gs>
                  </a:gsLst>
                  <a:lin ang="3000000" scaled="0"/>
                </a:gradFill>
                <a:latin typeface="Proximus ExtraBold" pitchFamily="2" charset="77"/>
              </a:rPr>
              <a:t>1</a:t>
            </a:r>
          </a:p>
          <a:p>
            <a:pPr marL="0" indent="0" defTabSz="914219">
              <a:lnSpc>
                <a:spcPct val="110000"/>
              </a:lnSpc>
              <a:spcBef>
                <a:spcPts val="0"/>
              </a:spcBef>
              <a:spcAft>
                <a:spcPts val="1200"/>
              </a:spcAft>
              <a:buClr>
                <a:srgbClr val="5C2D91"/>
              </a:buClr>
              <a:buNone/>
              <a:defRPr/>
            </a:pPr>
            <a:r>
              <a:rPr lang="en-US" sz="1100" dirty="0">
                <a:solidFill>
                  <a:srgbClr val="141C24"/>
                </a:solidFill>
                <a:latin typeface="Proximus ExtraBold" panose="00000900000000000000" pitchFamily="2" charset="0"/>
              </a:rPr>
              <a:t>Bring Aurora </a:t>
            </a:r>
            <a:r>
              <a:rPr lang="en-US" sz="1100" dirty="0">
                <a:solidFill>
                  <a:srgbClr val="141C24"/>
                </a:solidFill>
                <a:latin typeface="Proximus" panose="00000500000000000000" pitchFamily="2" charset="0"/>
              </a:rPr>
              <a:t>(swap to Nokia)</a:t>
            </a:r>
            <a:r>
              <a:rPr lang="en-US" sz="1100" dirty="0">
                <a:solidFill>
                  <a:srgbClr val="141C24"/>
                </a:solidFill>
                <a:latin typeface="Proximus ExtraBold" panose="00000900000000000000" pitchFamily="2" charset="0"/>
              </a:rPr>
              <a:t> near completion </a:t>
            </a:r>
            <a:r>
              <a:rPr lang="en-US" sz="1100" dirty="0">
                <a:solidFill>
                  <a:srgbClr val="141C24"/>
                </a:solidFill>
                <a:latin typeface="Proximus Light" pitchFamily="2" charset="77"/>
              </a:rPr>
              <a:t>(+1000 sites, &gt; 85% done) to maintain coverage leadership</a:t>
            </a:r>
          </a:p>
          <a:p>
            <a:pPr marL="0" indent="0" defTabSz="914219">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Further </a:t>
            </a:r>
            <a:r>
              <a:rPr lang="en-US" sz="1100" dirty="0">
                <a:solidFill>
                  <a:srgbClr val="141C24"/>
                </a:solidFill>
                <a:latin typeface="Proximus ExtraBold" panose="00000900000000000000" pitchFamily="2" charset="0"/>
              </a:rPr>
              <a:t>deploy ‘full 5G’  </a:t>
            </a:r>
            <a:r>
              <a:rPr lang="en-US" sz="1100" dirty="0">
                <a:solidFill>
                  <a:srgbClr val="141C24"/>
                </a:solidFill>
                <a:latin typeface="Proximus Light" pitchFamily="2" charset="77"/>
              </a:rPr>
              <a:t>to keep speed advantage</a:t>
            </a:r>
            <a:endParaRPr lang="en-US" sz="1100" b="1" dirty="0">
              <a:solidFill>
                <a:srgbClr val="141C24"/>
              </a:solidFill>
              <a:latin typeface="Proximus ExtraBold" pitchFamily="2" charset="77"/>
            </a:endParaRPr>
          </a:p>
        </p:txBody>
      </p:sp>
      <p:sp>
        <p:nvSpPr>
          <p:cNvPr id="6" name="Text Placeholder 4">
            <a:extLst>
              <a:ext uri="{FF2B5EF4-FFF2-40B4-BE49-F238E27FC236}">
                <a16:creationId xmlns:a16="http://schemas.microsoft.com/office/drawing/2014/main" id="{EE6C2F5E-DAA8-5293-2D39-2673823743A8}"/>
              </a:ext>
            </a:extLst>
          </p:cNvPr>
          <p:cNvSpPr txBox="1">
            <a:spLocks/>
          </p:cNvSpPr>
          <p:nvPr/>
        </p:nvSpPr>
        <p:spPr>
          <a:xfrm>
            <a:off x="2572320" y="1387107"/>
            <a:ext cx="1884240" cy="244829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a:gradFill>
                  <a:gsLst>
                    <a:gs pos="0">
                      <a:srgbClr val="5C2D91"/>
                    </a:gs>
                    <a:gs pos="100000">
                      <a:srgbClr val="41C3FF"/>
                    </a:gs>
                  </a:gsLst>
                  <a:lin ang="3000000" scaled="0"/>
                </a:gradFill>
                <a:latin typeface="Proximus ExtraBold" pitchFamily="2" charset="77"/>
              </a:rPr>
              <a:t>2</a:t>
            </a:r>
            <a:endParaRPr lang="en-US" sz="1200" b="1">
              <a:gradFill>
                <a:gsLst>
                  <a:gs pos="0">
                    <a:srgbClr val="5C2D91"/>
                  </a:gs>
                  <a:gs pos="100000">
                    <a:srgbClr val="41C3FF"/>
                  </a:gs>
                </a:gsLst>
                <a:lin ang="3000000" scaled="0"/>
              </a:gradFill>
              <a:latin typeface="Proximus ExtraBold" pitchFamily="2" charset="77"/>
            </a:endParaRPr>
          </a:p>
          <a:p>
            <a:pPr marL="0" indent="0" defTabSz="914219">
              <a:lnSpc>
                <a:spcPct val="110000"/>
              </a:lnSpc>
              <a:spcBef>
                <a:spcPts val="0"/>
              </a:spcBef>
              <a:spcAft>
                <a:spcPts val="1200"/>
              </a:spcAft>
              <a:buClr>
                <a:srgbClr val="5C2D91"/>
              </a:buClr>
              <a:buNone/>
              <a:defRPr/>
            </a:pPr>
            <a:r>
              <a:rPr lang="en-US" sz="1100" b="1" err="1">
                <a:solidFill>
                  <a:srgbClr val="141C24"/>
                </a:solidFill>
                <a:latin typeface="Proximus ExtraBold" pitchFamily="2" charset="77"/>
              </a:rPr>
              <a:t>Outphase</a:t>
            </a:r>
            <a:r>
              <a:rPr lang="en-US" sz="1100" b="1">
                <a:solidFill>
                  <a:srgbClr val="141C24"/>
                </a:solidFill>
                <a:latin typeface="Proximus ExtraBold" pitchFamily="2" charset="77"/>
              </a:rPr>
              <a:t> legacy </a:t>
            </a:r>
            <a:br>
              <a:rPr lang="en-US" sz="1100" b="1">
                <a:solidFill>
                  <a:srgbClr val="141C24"/>
                </a:solidFill>
                <a:latin typeface="Proximus ExtraBold" pitchFamily="2" charset="77"/>
              </a:rPr>
            </a:br>
            <a:r>
              <a:rPr lang="en-US" sz="1100" b="1">
                <a:solidFill>
                  <a:srgbClr val="141C24"/>
                </a:solidFill>
                <a:latin typeface="Proximus ExtraBold" pitchFamily="2" charset="77"/>
              </a:rPr>
              <a:t>3G network </a:t>
            </a:r>
            <a:r>
              <a:rPr lang="en-US" sz="1100">
                <a:solidFill>
                  <a:srgbClr val="141C24"/>
                </a:solidFill>
                <a:latin typeface="Proximus Light" pitchFamily="2" charset="77"/>
              </a:rPr>
              <a:t>in 1H2025 to </a:t>
            </a:r>
            <a:r>
              <a:rPr lang="en-US" sz="1100" b="1">
                <a:solidFill>
                  <a:srgbClr val="141C24"/>
                </a:solidFill>
                <a:latin typeface="Proximus ExtraBold" pitchFamily="2" charset="77"/>
              </a:rPr>
              <a:t>simplify </a:t>
            </a:r>
            <a:r>
              <a:rPr lang="en-US" sz="1100">
                <a:solidFill>
                  <a:srgbClr val="141C24"/>
                </a:solidFill>
                <a:latin typeface="Proximus Light" pitchFamily="2" charset="77"/>
              </a:rPr>
              <a:t>the network &amp; </a:t>
            </a:r>
            <a:r>
              <a:rPr lang="en-US" sz="1100" b="1">
                <a:solidFill>
                  <a:srgbClr val="141C24"/>
                </a:solidFill>
                <a:latin typeface="Proximus ExtraBold" pitchFamily="2" charset="77"/>
              </a:rPr>
              <a:t>reuse resources </a:t>
            </a:r>
            <a:r>
              <a:rPr lang="en-US" sz="1100">
                <a:solidFill>
                  <a:srgbClr val="141C24"/>
                </a:solidFill>
                <a:latin typeface="Proximus Light" pitchFamily="2" charset="77"/>
              </a:rPr>
              <a:t>for new technologies</a:t>
            </a:r>
          </a:p>
        </p:txBody>
      </p:sp>
      <p:sp>
        <p:nvSpPr>
          <p:cNvPr id="8" name="Text Placeholder 4">
            <a:extLst>
              <a:ext uri="{FF2B5EF4-FFF2-40B4-BE49-F238E27FC236}">
                <a16:creationId xmlns:a16="http://schemas.microsoft.com/office/drawing/2014/main" id="{0A113E97-FF46-AE95-6556-1991DF5C87E6}"/>
              </a:ext>
            </a:extLst>
          </p:cNvPr>
          <p:cNvSpPr txBox="1">
            <a:spLocks/>
          </p:cNvSpPr>
          <p:nvPr/>
        </p:nvSpPr>
        <p:spPr>
          <a:xfrm>
            <a:off x="4684265" y="1393460"/>
            <a:ext cx="1884240" cy="343318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08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a:gradFill>
                  <a:gsLst>
                    <a:gs pos="0">
                      <a:srgbClr val="5C2D91"/>
                    </a:gs>
                    <a:gs pos="100000">
                      <a:srgbClr val="41C3FF"/>
                    </a:gs>
                  </a:gsLst>
                  <a:lin ang="3000000" scaled="0"/>
                </a:gradFill>
                <a:latin typeface="Proximus ExtraBold" pitchFamily="2" charset="77"/>
              </a:rPr>
              <a:t>3</a:t>
            </a:r>
          </a:p>
          <a:p>
            <a:pPr marL="0" indent="0" defTabSz="914219">
              <a:lnSpc>
                <a:spcPct val="110000"/>
              </a:lnSpc>
              <a:spcBef>
                <a:spcPts val="0"/>
              </a:spcBef>
              <a:spcAft>
                <a:spcPts val="1200"/>
              </a:spcAft>
              <a:buClr>
                <a:srgbClr val="5C2D91"/>
              </a:buClr>
              <a:buNone/>
              <a:defRPr/>
            </a:pPr>
            <a:r>
              <a:rPr lang="en-US" sz="1100">
                <a:solidFill>
                  <a:srgbClr val="141C24"/>
                </a:solidFill>
                <a:latin typeface="Proximus Light" pitchFamily="2" charset="77"/>
              </a:rPr>
              <a:t>Support </a:t>
            </a:r>
            <a:r>
              <a:rPr lang="en-US" sz="1100" b="1">
                <a:solidFill>
                  <a:srgbClr val="141C24"/>
                </a:solidFill>
                <a:latin typeface="Proximus ExtraBold" pitchFamily="2" charset="77"/>
              </a:rPr>
              <a:t>increasing traffic</a:t>
            </a:r>
            <a:r>
              <a:rPr lang="en-US" sz="1100">
                <a:solidFill>
                  <a:srgbClr val="141C24"/>
                </a:solidFill>
                <a:latin typeface="Proximus Light" pitchFamily="2" charset="77"/>
              </a:rPr>
              <a:t> of Proximus &amp; DIGI customers without negatively impacting </a:t>
            </a:r>
            <a:r>
              <a:rPr lang="en-US" sz="1100" b="1">
                <a:solidFill>
                  <a:srgbClr val="141C24"/>
                </a:solidFill>
                <a:latin typeface="Proximus ExtraBold" pitchFamily="2" charset="77"/>
              </a:rPr>
              <a:t>mobile customer experience </a:t>
            </a:r>
          </a:p>
          <a:p>
            <a:pPr marL="0" indent="0" defTabSz="914219">
              <a:lnSpc>
                <a:spcPct val="110000"/>
              </a:lnSpc>
              <a:spcBef>
                <a:spcPts val="0"/>
              </a:spcBef>
              <a:spcAft>
                <a:spcPts val="1200"/>
              </a:spcAft>
              <a:buClr>
                <a:srgbClr val="5C2D91"/>
              </a:buClr>
              <a:buNone/>
              <a:defRPr/>
            </a:pPr>
            <a:r>
              <a:rPr lang="en-US" sz="1100" b="1">
                <a:solidFill>
                  <a:srgbClr val="141C24"/>
                </a:solidFill>
                <a:latin typeface="Proximus ExtraBold" pitchFamily="2" charset="77"/>
              </a:rPr>
              <a:t>Evolve mobile network monitoring </a:t>
            </a:r>
            <a:r>
              <a:rPr lang="en-US" sz="1100">
                <a:solidFill>
                  <a:srgbClr val="141C24"/>
                </a:solidFill>
                <a:latin typeface="Proximus" panose="00000500000000000000" pitchFamily="2" charset="0"/>
              </a:rPr>
              <a:t>(via </a:t>
            </a:r>
            <a:r>
              <a:rPr lang="en-US" sz="1100" err="1">
                <a:solidFill>
                  <a:srgbClr val="141C24"/>
                </a:solidFill>
                <a:latin typeface="Proximus" panose="00000500000000000000" pitchFamily="2" charset="0"/>
              </a:rPr>
              <a:t>Mwingz</a:t>
            </a:r>
            <a:r>
              <a:rPr lang="en-US" sz="1100">
                <a:solidFill>
                  <a:srgbClr val="141C24"/>
                </a:solidFill>
                <a:latin typeface="Proximus" panose="00000500000000000000" pitchFamily="2" charset="0"/>
              </a:rPr>
              <a:t>)</a:t>
            </a:r>
            <a:r>
              <a:rPr lang="en-US" sz="1100" b="1">
                <a:solidFill>
                  <a:srgbClr val="141C24"/>
                </a:solidFill>
                <a:latin typeface="Proximus ExtraBold" pitchFamily="2" charset="77"/>
              </a:rPr>
              <a:t> to best in class data and IT tools </a:t>
            </a:r>
          </a:p>
        </p:txBody>
      </p:sp>
      <p:sp>
        <p:nvSpPr>
          <p:cNvPr id="9" name="Text Placeholder 4">
            <a:extLst>
              <a:ext uri="{FF2B5EF4-FFF2-40B4-BE49-F238E27FC236}">
                <a16:creationId xmlns:a16="http://schemas.microsoft.com/office/drawing/2014/main" id="{5BA85B9C-E268-8AB3-14DE-B73339E9DFE8}"/>
              </a:ext>
            </a:extLst>
          </p:cNvPr>
          <p:cNvSpPr txBox="1">
            <a:spLocks/>
          </p:cNvSpPr>
          <p:nvPr/>
        </p:nvSpPr>
        <p:spPr>
          <a:xfrm>
            <a:off x="6796210" y="2746780"/>
            <a:ext cx="1884240" cy="2739620"/>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a:gradFill>
                  <a:gsLst>
                    <a:gs pos="0">
                      <a:srgbClr val="5C2D91"/>
                    </a:gs>
                    <a:gs pos="100000">
                      <a:srgbClr val="41C3FF"/>
                    </a:gs>
                  </a:gsLst>
                  <a:lin ang="3000000" scaled="0"/>
                </a:gradFill>
                <a:latin typeface="Proximus ExtraBold" pitchFamily="2" charset="77"/>
              </a:rPr>
              <a:t>4</a:t>
            </a:r>
          </a:p>
          <a:p>
            <a:pPr marL="0" indent="0" defTabSz="914219">
              <a:lnSpc>
                <a:spcPct val="110000"/>
              </a:lnSpc>
              <a:spcBef>
                <a:spcPts val="0"/>
              </a:spcBef>
              <a:spcAft>
                <a:spcPts val="1200"/>
              </a:spcAft>
              <a:buClr>
                <a:srgbClr val="5C2D91"/>
              </a:buClr>
              <a:buNone/>
              <a:defRPr/>
            </a:pPr>
            <a:r>
              <a:rPr lang="en-US" sz="1100" b="1">
                <a:solidFill>
                  <a:srgbClr val="141C24"/>
                </a:solidFill>
                <a:latin typeface="Proximus ExtraBold" pitchFamily="2" charset="77"/>
              </a:rPr>
              <a:t>Complete CORE migration and deploy a dedicated IOT service slice </a:t>
            </a:r>
            <a:r>
              <a:rPr lang="en-US" sz="1100">
                <a:solidFill>
                  <a:srgbClr val="141C24"/>
                </a:solidFill>
                <a:latin typeface="Proximus Light" pitchFamily="2" charset="77"/>
              </a:rPr>
              <a:t>by 3Q2025 and 5G SIM by end of 2025</a:t>
            </a:r>
          </a:p>
        </p:txBody>
      </p:sp>
      <p:sp>
        <p:nvSpPr>
          <p:cNvPr id="7" name="Rounded Rectangle 6">
            <a:extLst>
              <a:ext uri="{FF2B5EF4-FFF2-40B4-BE49-F238E27FC236}">
                <a16:creationId xmlns:a16="http://schemas.microsoft.com/office/drawing/2014/main" id="{34A2E903-FD18-8633-D21F-A57C645EE1E7}"/>
              </a:ext>
            </a:extLst>
          </p:cNvPr>
          <p:cNvSpPr/>
          <p:nvPr/>
        </p:nvSpPr>
        <p:spPr>
          <a:xfrm>
            <a:off x="6796210" y="377827"/>
            <a:ext cx="1884240" cy="2193924"/>
          </a:xfrm>
          <a:prstGeom prst="roundRect">
            <a:avLst>
              <a:gd name="adj" fmla="val 10110"/>
            </a:avLst>
          </a:prstGeom>
          <a:blipFill>
            <a:blip r:embed="rId5"/>
            <a:srcRect/>
            <a:stretch>
              <a:fillRect t="-7256" b="-7256"/>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err="1">
              <a:solidFill>
                <a:srgbClr val="FFFFFF"/>
              </a:solidFill>
              <a:latin typeface="Proximus Bold" panose="00000500000000000000" pitchFamily="2" charset="0"/>
              <a:cs typeface="Proximus Bold"/>
            </a:endParaRPr>
          </a:p>
        </p:txBody>
      </p:sp>
      <p:sp>
        <p:nvSpPr>
          <p:cNvPr id="11" name="Rounded Rectangle 10">
            <a:extLst>
              <a:ext uri="{FF2B5EF4-FFF2-40B4-BE49-F238E27FC236}">
                <a16:creationId xmlns:a16="http://schemas.microsoft.com/office/drawing/2014/main" id="{1F5BEF83-95A4-66F0-75A4-7D537522C76E}"/>
              </a:ext>
            </a:extLst>
          </p:cNvPr>
          <p:cNvSpPr/>
          <p:nvPr/>
        </p:nvSpPr>
        <p:spPr>
          <a:xfrm>
            <a:off x="2572319" y="4021460"/>
            <a:ext cx="1884240" cy="1400996"/>
          </a:xfrm>
          <a:prstGeom prst="roundRect">
            <a:avLst>
              <a:gd name="adj" fmla="val 13132"/>
            </a:avLst>
          </a:prstGeom>
          <a:blipFill>
            <a:blip r:embed="rId6"/>
            <a:srcRect/>
            <a:stretch>
              <a:fillRect l="-5800" t="-10368" r="-5800" b="10368"/>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err="1">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5144102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615B1-CCED-63A1-6186-84907DC1DD5D}"/>
            </a:ext>
          </a:extLst>
        </p:cNvPr>
        <p:cNvGrpSpPr/>
        <p:nvPr/>
      </p:nvGrpSpPr>
      <p:grpSpPr>
        <a:xfrm>
          <a:off x="0" y="0"/>
          <a:ext cx="0" cy="0"/>
          <a:chOff x="0" y="0"/>
          <a:chExt cx="0" cy="0"/>
        </a:xfrm>
      </p:grpSpPr>
      <p:pic>
        <p:nvPicPr>
          <p:cNvPr id="9" name="Picture 8" descr="A person sitting on a wooden floor&#10;&#10;Description automatically generated">
            <a:extLst>
              <a:ext uri="{FF2B5EF4-FFF2-40B4-BE49-F238E27FC236}">
                <a16:creationId xmlns:a16="http://schemas.microsoft.com/office/drawing/2014/main" id="{62F226CC-2598-ABEB-A15E-F431DFA4D60E}"/>
              </a:ext>
            </a:extLst>
          </p:cNvPr>
          <p:cNvPicPr>
            <a:picLocks noChangeAspect="1"/>
          </p:cNvPicPr>
          <p:nvPr/>
        </p:nvPicPr>
        <p:blipFill>
          <a:blip r:embed="rId3"/>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79959609-829B-95CB-3162-62160A2051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38766215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72CF2-F201-6FE6-AC00-DD462742E391}"/>
            </a:ext>
          </a:extLst>
        </p:cNvPr>
        <p:cNvGrpSpPr/>
        <p:nvPr/>
      </p:nvGrpSpPr>
      <p:grpSpPr>
        <a:xfrm>
          <a:off x="0" y="0"/>
          <a:ext cx="0" cy="0"/>
          <a:chOff x="0" y="0"/>
          <a:chExt cx="0" cy="0"/>
        </a:xfrm>
      </p:grpSpPr>
      <p:sp>
        <p:nvSpPr>
          <p:cNvPr id="15" name="Text Placeholder 4">
            <a:extLst>
              <a:ext uri="{FF2B5EF4-FFF2-40B4-BE49-F238E27FC236}">
                <a16:creationId xmlns:a16="http://schemas.microsoft.com/office/drawing/2014/main" id="{C5452DFF-9BBC-7DEC-A7A1-1A4721233CF8}"/>
              </a:ext>
            </a:extLst>
          </p:cNvPr>
          <p:cNvSpPr txBox="1">
            <a:spLocks/>
          </p:cNvSpPr>
          <p:nvPr/>
        </p:nvSpPr>
        <p:spPr>
          <a:xfrm>
            <a:off x="460374" y="3303136"/>
            <a:ext cx="8220076" cy="1172091"/>
          </a:xfrm>
          <a:prstGeom prst="roundRect">
            <a:avLst>
              <a:gd name="adj" fmla="val 15319"/>
            </a:avLst>
          </a:prstGeom>
          <a:gradFill flip="none" rotWithShape="1">
            <a:gsLst>
              <a:gs pos="0">
                <a:schemeClr val="bg1"/>
              </a:gs>
              <a:gs pos="99000">
                <a:srgbClr val="41C3FF"/>
              </a:gs>
            </a:gsLst>
            <a:lin ang="2700000" scaled="1"/>
            <a:tileRect/>
          </a:gradFill>
          <a:effectLst>
            <a:outerShdw blurRad="508000" dist="38100" dir="5400000" algn="t" rotWithShape="0">
              <a:prstClr val="black">
                <a:alpha val="15000"/>
              </a:prstClr>
            </a:outerShdw>
          </a:effectLst>
        </p:spPr>
        <p:txBody>
          <a:bodyPr lIns="180000" tIns="81000" rIns="180000" bIns="180000" anchor="b"/>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19">
              <a:lnSpc>
                <a:spcPct val="110000"/>
              </a:lnSpc>
              <a:spcBef>
                <a:spcPts val="0"/>
              </a:spcBef>
              <a:spcAft>
                <a:spcPts val="450"/>
              </a:spcAft>
              <a:buClr>
                <a:srgbClr val="5C2D91"/>
              </a:buClr>
              <a:buNone/>
              <a:defRPr/>
            </a:pPr>
            <a:r>
              <a:rPr lang="en-US" sz="1350" b="1">
                <a:solidFill>
                  <a:schemeClr val="tx1"/>
                </a:solidFill>
                <a:latin typeface="Proximus Bold" pitchFamily="2" charset="77"/>
              </a:rPr>
              <a:t>End-to-end 3 year roadmap</a:t>
            </a:r>
          </a:p>
        </p:txBody>
      </p:sp>
      <p:sp>
        <p:nvSpPr>
          <p:cNvPr id="2" name="Text Placeholder 4">
            <a:extLst>
              <a:ext uri="{FF2B5EF4-FFF2-40B4-BE49-F238E27FC236}">
                <a16:creationId xmlns:a16="http://schemas.microsoft.com/office/drawing/2014/main" id="{986E303F-704F-344A-F6C3-98A95353A95E}"/>
              </a:ext>
            </a:extLst>
          </p:cNvPr>
          <p:cNvSpPr txBox="1">
            <a:spLocks/>
          </p:cNvSpPr>
          <p:nvPr/>
        </p:nvSpPr>
        <p:spPr>
          <a:xfrm>
            <a:off x="460374" y="2659514"/>
            <a:ext cx="8220076" cy="1172091"/>
          </a:xfrm>
          <a:prstGeom prst="roundRect">
            <a:avLst>
              <a:gd name="adj" fmla="val 12430"/>
            </a:avLst>
          </a:prstGeom>
          <a:solidFill>
            <a:schemeClr val="tx1"/>
          </a:solidFill>
          <a:effectLst>
            <a:outerShdw blurRad="508000" dist="38100" dir="5400000" algn="t" rotWithShape="0">
              <a:prstClr val="black">
                <a:alpha val="15000"/>
              </a:prstClr>
            </a:outerShdw>
          </a:effectLst>
        </p:spPr>
        <p:txBody>
          <a:bodyPr lIns="180000" tIns="81000" rIns="180000" bIns="180000" anchor="b"/>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19">
              <a:lnSpc>
                <a:spcPct val="110000"/>
              </a:lnSpc>
              <a:spcBef>
                <a:spcPts val="0"/>
              </a:spcBef>
              <a:spcAft>
                <a:spcPts val="450"/>
              </a:spcAft>
              <a:buClr>
                <a:srgbClr val="5C2D91"/>
              </a:buClr>
              <a:buNone/>
              <a:defRPr/>
            </a:pPr>
            <a:r>
              <a:rPr lang="en-US" sz="1350" b="1">
                <a:solidFill>
                  <a:srgbClr val="141C24"/>
                </a:solidFill>
                <a:latin typeface="Proximus Light" pitchFamily="2" charset="77"/>
              </a:rPr>
              <a:t>Harmonize processes for customer journey, servicing &amp; operations</a:t>
            </a:r>
          </a:p>
        </p:txBody>
      </p:sp>
      <p:sp>
        <p:nvSpPr>
          <p:cNvPr id="74" name="Round Single Corner of Rectangle 73">
            <a:extLst>
              <a:ext uri="{FF2B5EF4-FFF2-40B4-BE49-F238E27FC236}">
                <a16:creationId xmlns:a16="http://schemas.microsoft.com/office/drawing/2014/main" id="{6D135D7A-5052-9AC6-4150-5F76E0712533}"/>
              </a:ext>
            </a:extLst>
          </p:cNvPr>
          <p:cNvSpPr/>
          <p:nvPr/>
        </p:nvSpPr>
        <p:spPr>
          <a:xfrm flipH="1" flipV="1">
            <a:off x="460374" y="2345560"/>
            <a:ext cx="4556704" cy="900000"/>
          </a:xfrm>
          <a:prstGeom prst="round1Rect">
            <a:avLst>
              <a:gd name="adj" fmla="val 17327"/>
            </a:avLst>
          </a:prstGeom>
          <a:gradFill flip="none" rotWithShape="1">
            <a:gsLst>
              <a:gs pos="0">
                <a:srgbClr val="B31F7E"/>
              </a:gs>
              <a:gs pos="99000">
                <a:schemeClr val="bg1"/>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79" name="Round Single Corner of Rectangle 78">
            <a:extLst>
              <a:ext uri="{FF2B5EF4-FFF2-40B4-BE49-F238E27FC236}">
                <a16:creationId xmlns:a16="http://schemas.microsoft.com/office/drawing/2014/main" id="{0AA095B3-E761-B9FD-AED5-78DB587BDBF0}"/>
              </a:ext>
            </a:extLst>
          </p:cNvPr>
          <p:cNvSpPr/>
          <p:nvPr/>
        </p:nvSpPr>
        <p:spPr>
          <a:xfrm flipH="1" flipV="1">
            <a:off x="5017077" y="2345560"/>
            <a:ext cx="1849180" cy="900000"/>
          </a:xfrm>
          <a:prstGeom prst="round1Rect">
            <a:avLst>
              <a:gd name="adj" fmla="val 0"/>
            </a:avLst>
          </a:prstGeom>
          <a:gradFill flip="none" rotWithShape="1">
            <a:gsLst>
              <a:gs pos="0">
                <a:srgbClr val="B31F7E"/>
              </a:gs>
              <a:gs pos="99000">
                <a:schemeClr val="accent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80" name="Round Single Corner of Rectangle 79">
            <a:extLst>
              <a:ext uri="{FF2B5EF4-FFF2-40B4-BE49-F238E27FC236}">
                <a16:creationId xmlns:a16="http://schemas.microsoft.com/office/drawing/2014/main" id="{FB240E1F-07B3-2335-8AD1-6A83E6D0152E}"/>
              </a:ext>
            </a:extLst>
          </p:cNvPr>
          <p:cNvSpPr/>
          <p:nvPr/>
        </p:nvSpPr>
        <p:spPr>
          <a:xfrm flipH="1" flipV="1">
            <a:off x="6865538" y="2345560"/>
            <a:ext cx="917999" cy="900000"/>
          </a:xfrm>
          <a:prstGeom prst="round1Rect">
            <a:avLst>
              <a:gd name="adj" fmla="val 0"/>
            </a:avLst>
          </a:prstGeom>
          <a:gradFill flip="none" rotWithShape="1">
            <a:gsLst>
              <a:gs pos="0">
                <a:srgbClr val="0070C0"/>
              </a:gs>
              <a:gs pos="99000">
                <a:schemeClr val="bg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81" name="Round Single Corner of Rectangle 80">
            <a:extLst>
              <a:ext uri="{FF2B5EF4-FFF2-40B4-BE49-F238E27FC236}">
                <a16:creationId xmlns:a16="http://schemas.microsoft.com/office/drawing/2014/main" id="{35B8654A-D356-D706-FE91-C9225971010C}"/>
              </a:ext>
            </a:extLst>
          </p:cNvPr>
          <p:cNvSpPr/>
          <p:nvPr/>
        </p:nvSpPr>
        <p:spPr>
          <a:xfrm flipV="1">
            <a:off x="7762452" y="2345560"/>
            <a:ext cx="917999" cy="900000"/>
          </a:xfrm>
          <a:prstGeom prst="round1Rect">
            <a:avLst>
              <a:gd name="adj" fmla="val 19792"/>
            </a:avLst>
          </a:prstGeom>
          <a:gradFill flip="none" rotWithShape="1">
            <a:gsLst>
              <a:gs pos="0">
                <a:srgbClr val="002060"/>
              </a:gs>
              <a:gs pos="99000">
                <a:srgbClr val="0070C0"/>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5" name="Graphic 4">
            <a:extLst>
              <a:ext uri="{FF2B5EF4-FFF2-40B4-BE49-F238E27FC236}">
                <a16:creationId xmlns:a16="http://schemas.microsoft.com/office/drawing/2014/main" id="{AB3C7D95-C8AC-97CA-4249-1E538080F0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990" y="502487"/>
            <a:ext cx="410773" cy="410773"/>
          </a:xfrm>
          <a:prstGeom prst="rect">
            <a:avLst/>
          </a:prstGeom>
        </p:spPr>
      </p:pic>
      <p:sp>
        <p:nvSpPr>
          <p:cNvPr id="9" name="Round Single Corner of Rectangle 8">
            <a:extLst>
              <a:ext uri="{FF2B5EF4-FFF2-40B4-BE49-F238E27FC236}">
                <a16:creationId xmlns:a16="http://schemas.microsoft.com/office/drawing/2014/main" id="{13314657-1366-BAD3-7560-29C035793136}"/>
              </a:ext>
            </a:extLst>
          </p:cNvPr>
          <p:cNvSpPr/>
          <p:nvPr/>
        </p:nvSpPr>
        <p:spPr>
          <a:xfrm flipH="1">
            <a:off x="460375" y="1429909"/>
            <a:ext cx="900000" cy="900000"/>
          </a:xfrm>
          <a:prstGeom prst="round1Rect">
            <a:avLst>
              <a:gd name="adj" fmla="val 17327"/>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1" name="Rectangle 10">
            <a:extLst>
              <a:ext uri="{FF2B5EF4-FFF2-40B4-BE49-F238E27FC236}">
                <a16:creationId xmlns:a16="http://schemas.microsoft.com/office/drawing/2014/main" id="{3FA0D7F2-70D7-3B9F-D83E-3ADEE82CAEC7}"/>
              </a:ext>
            </a:extLst>
          </p:cNvPr>
          <p:cNvSpPr/>
          <p:nvPr/>
        </p:nvSpPr>
        <p:spPr>
          <a:xfrm>
            <a:off x="1374551"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2" name="Rectangle 11">
            <a:extLst>
              <a:ext uri="{FF2B5EF4-FFF2-40B4-BE49-F238E27FC236}">
                <a16:creationId xmlns:a16="http://schemas.microsoft.com/office/drawing/2014/main" id="{52979172-8D21-5653-5C35-874E37A60A4B}"/>
              </a:ext>
            </a:extLst>
          </p:cNvPr>
          <p:cNvSpPr/>
          <p:nvPr/>
        </p:nvSpPr>
        <p:spPr>
          <a:xfrm>
            <a:off x="3202903"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3" name="Rectangle 12">
            <a:extLst>
              <a:ext uri="{FF2B5EF4-FFF2-40B4-BE49-F238E27FC236}">
                <a16:creationId xmlns:a16="http://schemas.microsoft.com/office/drawing/2014/main" id="{1337406D-35F4-B0B6-327E-023EAA41A73A}"/>
              </a:ext>
            </a:extLst>
          </p:cNvPr>
          <p:cNvSpPr/>
          <p:nvPr/>
        </p:nvSpPr>
        <p:spPr>
          <a:xfrm>
            <a:off x="4117079" y="1429909"/>
            <a:ext cx="1808247"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16" name="Rectangle 15">
            <a:extLst>
              <a:ext uri="{FF2B5EF4-FFF2-40B4-BE49-F238E27FC236}">
                <a16:creationId xmlns:a16="http://schemas.microsoft.com/office/drawing/2014/main" id="{FCAFB7F6-C059-1569-F15A-E5FC852E0F00}"/>
              </a:ext>
            </a:extLst>
          </p:cNvPr>
          <p:cNvSpPr/>
          <p:nvPr/>
        </p:nvSpPr>
        <p:spPr>
          <a:xfrm>
            <a:off x="5945431"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19" name="Picture 18" descr="A blue text on a white background&#10;&#10;Description automatically generated">
            <a:extLst>
              <a:ext uri="{FF2B5EF4-FFF2-40B4-BE49-F238E27FC236}">
                <a16:creationId xmlns:a16="http://schemas.microsoft.com/office/drawing/2014/main" id="{5D949377-6E46-F234-A20A-7A0C5DCF53D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458662" y="1749773"/>
            <a:ext cx="709965" cy="198792"/>
          </a:xfrm>
          <a:prstGeom prst="rect">
            <a:avLst/>
          </a:prstGeom>
        </p:spPr>
      </p:pic>
      <p:sp>
        <p:nvSpPr>
          <p:cNvPr id="20" name="Rectangle 19">
            <a:extLst>
              <a:ext uri="{FF2B5EF4-FFF2-40B4-BE49-F238E27FC236}">
                <a16:creationId xmlns:a16="http://schemas.microsoft.com/office/drawing/2014/main" id="{8695DFEF-1F86-09D6-C257-DBA675B0CFCD}"/>
              </a:ext>
            </a:extLst>
          </p:cNvPr>
          <p:cNvSpPr/>
          <p:nvPr/>
        </p:nvSpPr>
        <p:spPr>
          <a:xfrm>
            <a:off x="2288727" y="1429909"/>
            <a:ext cx="900000" cy="900000"/>
          </a:xfrm>
          <a:prstGeom prst="rect">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25" name="Graphic 23">
            <a:extLst>
              <a:ext uri="{FF2B5EF4-FFF2-40B4-BE49-F238E27FC236}">
                <a16:creationId xmlns:a16="http://schemas.microsoft.com/office/drawing/2014/main" id="{890BC5AE-8799-33CA-814E-8F196909946D}"/>
              </a:ext>
            </a:extLst>
          </p:cNvPr>
          <p:cNvPicPr>
            <a:picLocks noChangeAspect="1"/>
          </p:cNvPicPr>
          <p:nvPr/>
        </p:nvPicPr>
        <p:blipFill rotWithShape="1">
          <a:blip r:embed="rId6"/>
          <a:srcRect l="806" r="806"/>
          <a:stretch/>
        </p:blipFill>
        <p:spPr>
          <a:xfrm>
            <a:off x="6161071" y="1641709"/>
            <a:ext cx="468720" cy="476400"/>
          </a:xfrm>
          <a:prstGeom prst="rect">
            <a:avLst/>
          </a:prstGeom>
        </p:spPr>
      </p:pic>
      <p:grpSp>
        <p:nvGrpSpPr>
          <p:cNvPr id="30" name="Group 29">
            <a:extLst>
              <a:ext uri="{FF2B5EF4-FFF2-40B4-BE49-F238E27FC236}">
                <a16:creationId xmlns:a16="http://schemas.microsoft.com/office/drawing/2014/main" id="{0A49AC58-75CE-CAC0-06D5-9AC1DAB6D3E6}"/>
              </a:ext>
            </a:extLst>
          </p:cNvPr>
          <p:cNvGrpSpPr/>
          <p:nvPr/>
        </p:nvGrpSpPr>
        <p:grpSpPr>
          <a:xfrm>
            <a:off x="4735371" y="1809791"/>
            <a:ext cx="571641" cy="163356"/>
            <a:chOff x="6399138" y="1794304"/>
            <a:chExt cx="1373876" cy="530467"/>
          </a:xfrm>
        </p:grpSpPr>
        <p:sp>
          <p:nvSpPr>
            <p:cNvPr id="31" name="Freeform: Shape 40">
              <a:extLst>
                <a:ext uri="{FF2B5EF4-FFF2-40B4-BE49-F238E27FC236}">
                  <a16:creationId xmlns:a16="http://schemas.microsoft.com/office/drawing/2014/main" id="{BB186D73-CBFD-57A5-162D-BEA2C9092546}"/>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2" name="Freeform: Shape 41">
              <a:extLst>
                <a:ext uri="{FF2B5EF4-FFF2-40B4-BE49-F238E27FC236}">
                  <a16:creationId xmlns:a16="http://schemas.microsoft.com/office/drawing/2014/main" id="{B9D8E30F-35C1-7B40-FE15-1565DB3F7596}"/>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3" name="Freeform: Shape 42">
              <a:extLst>
                <a:ext uri="{FF2B5EF4-FFF2-40B4-BE49-F238E27FC236}">
                  <a16:creationId xmlns:a16="http://schemas.microsoft.com/office/drawing/2014/main" id="{D3C1F4E2-3943-14EF-2199-6D547FF9C46B}"/>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4" name="Freeform: Shape 43">
              <a:extLst>
                <a:ext uri="{FF2B5EF4-FFF2-40B4-BE49-F238E27FC236}">
                  <a16:creationId xmlns:a16="http://schemas.microsoft.com/office/drawing/2014/main" id="{DA257778-ED0E-2FDA-9CC3-9B100D2856D7}"/>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pPr defTabSz="408094"/>
              <a:endParaRPr lang="en-GB" sz="1800">
                <a:solidFill>
                  <a:srgbClr val="FFFFFF"/>
                </a:solidFill>
                <a:latin typeface="Proximus"/>
              </a:endParaRPr>
            </a:p>
          </p:txBody>
        </p:sp>
      </p:grpSp>
      <p:grpSp>
        <p:nvGrpSpPr>
          <p:cNvPr id="35" name="Group 34">
            <a:extLst>
              <a:ext uri="{FF2B5EF4-FFF2-40B4-BE49-F238E27FC236}">
                <a16:creationId xmlns:a16="http://schemas.microsoft.com/office/drawing/2014/main" id="{81BB3DAA-89FD-2EF4-02CF-AF95365C7C73}"/>
              </a:ext>
            </a:extLst>
          </p:cNvPr>
          <p:cNvGrpSpPr/>
          <p:nvPr/>
        </p:nvGrpSpPr>
        <p:grpSpPr>
          <a:xfrm>
            <a:off x="3364899" y="1640829"/>
            <a:ext cx="559895" cy="498684"/>
            <a:chOff x="3700462" y="1685925"/>
            <a:chExt cx="1743074" cy="1771649"/>
          </a:xfrm>
        </p:grpSpPr>
        <p:sp>
          <p:nvSpPr>
            <p:cNvPr id="36" name="Freeform: Shape 54">
              <a:extLst>
                <a:ext uri="{FF2B5EF4-FFF2-40B4-BE49-F238E27FC236}">
                  <a16:creationId xmlns:a16="http://schemas.microsoft.com/office/drawing/2014/main" id="{ADDF469B-78F7-C441-9399-5BA59337A9DA}"/>
                </a:ext>
              </a:extLst>
            </p:cNvPr>
            <p:cNvSpPr/>
            <p:nvPr/>
          </p:nvSpPr>
          <p:spPr>
            <a:xfrm>
              <a:off x="4116609" y="3047361"/>
              <a:ext cx="1260138" cy="172964"/>
            </a:xfrm>
            <a:custGeom>
              <a:avLst/>
              <a:gdLst>
                <a:gd name="connsiteX0" fmla="*/ 3400 w 1260138"/>
                <a:gd name="connsiteY0" fmla="*/ 86411 h 172964"/>
                <a:gd name="connsiteX1" fmla="*/ 80858 w 1260138"/>
                <a:gd name="connsiteY1" fmla="*/ 152 h 172964"/>
                <a:gd name="connsiteX2" fmla="*/ 120996 w 1260138"/>
                <a:gd name="connsiteY2" fmla="*/ 12621 h 172964"/>
                <a:gd name="connsiteX3" fmla="*/ 127064 w 1260138"/>
                <a:gd name="connsiteY3" fmla="*/ 23603 h 172964"/>
                <a:gd name="connsiteX4" fmla="*/ 108699 w 1260138"/>
                <a:gd name="connsiteY4" fmla="*/ 42167 h 172964"/>
                <a:gd name="connsiteX5" fmla="*/ 101146 w 1260138"/>
                <a:gd name="connsiteY5" fmla="*/ 39643 h 172964"/>
                <a:gd name="connsiteX6" fmla="*/ 75971 w 1260138"/>
                <a:gd name="connsiteY6" fmla="*/ 30290 h 172964"/>
                <a:gd name="connsiteX7" fmla="*/ 36433 w 1260138"/>
                <a:gd name="connsiteY7" fmla="*/ 86106 h 172964"/>
                <a:gd name="connsiteX8" fmla="*/ 32728 w 1260138"/>
                <a:gd name="connsiteY8" fmla="*/ 117138 h 172964"/>
                <a:gd name="connsiteX9" fmla="*/ 58350 w 1260138"/>
                <a:gd name="connsiteY9" fmla="*/ 141932 h 172964"/>
                <a:gd name="connsiteX10" fmla="*/ 92850 w 1260138"/>
                <a:gd name="connsiteY10" fmla="*/ 112538 h 172964"/>
                <a:gd name="connsiteX11" fmla="*/ 94336 w 1260138"/>
                <a:gd name="connsiteY11" fmla="*/ 103184 h 172964"/>
                <a:gd name="connsiteX12" fmla="*/ 92554 w 1260138"/>
                <a:gd name="connsiteY12" fmla="*/ 100955 h 172964"/>
                <a:gd name="connsiteX13" fmla="*/ 78343 w 1260138"/>
                <a:gd name="connsiteY13" fmla="*/ 100955 h 172964"/>
                <a:gd name="connsiteX14" fmla="*/ 65456 w 1260138"/>
                <a:gd name="connsiteY14" fmla="*/ 87449 h 172964"/>
                <a:gd name="connsiteX15" fmla="*/ 82487 w 1260138"/>
                <a:gd name="connsiteY15" fmla="*/ 70371 h 172964"/>
                <a:gd name="connsiteX16" fmla="*/ 117881 w 1260138"/>
                <a:gd name="connsiteY16" fmla="*/ 70371 h 172964"/>
                <a:gd name="connsiteX17" fmla="*/ 128692 w 1260138"/>
                <a:gd name="connsiteY17" fmla="*/ 83287 h 172964"/>
                <a:gd name="connsiteX18" fmla="*/ 124101 w 1260138"/>
                <a:gd name="connsiteY18" fmla="*/ 112681 h 172964"/>
                <a:gd name="connsiteX19" fmla="*/ 53464 w 1260138"/>
                <a:gd name="connsiteY19" fmla="*/ 172222 h 172964"/>
                <a:gd name="connsiteX20" fmla="*/ 0 w 1260138"/>
                <a:gd name="connsiteY20" fmla="*/ 122034 h 172964"/>
                <a:gd name="connsiteX21" fmla="*/ 3410 w 1260138"/>
                <a:gd name="connsiteY21" fmla="*/ 86106 h 172964"/>
                <a:gd name="connsiteX22" fmla="*/ 3410 w 1260138"/>
                <a:gd name="connsiteY22" fmla="*/ 86411 h 172964"/>
                <a:gd name="connsiteX23" fmla="*/ 156391 w 1260138"/>
                <a:gd name="connsiteY23" fmla="*/ 171631 h 172964"/>
                <a:gd name="connsiteX24" fmla="*/ 144685 w 1260138"/>
                <a:gd name="connsiteY24" fmla="*/ 157229 h 172964"/>
                <a:gd name="connsiteX25" fmla="*/ 167354 w 1260138"/>
                <a:gd name="connsiteY25" fmla="*/ 13659 h 172964"/>
                <a:gd name="connsiteX26" fmla="*/ 185118 w 1260138"/>
                <a:gd name="connsiteY26" fmla="*/ 152 h 172964"/>
                <a:gd name="connsiteX27" fmla="*/ 199339 w 1260138"/>
                <a:gd name="connsiteY27" fmla="*/ 11135 h 172964"/>
                <a:gd name="connsiteX28" fmla="*/ 198149 w 1260138"/>
                <a:gd name="connsiteY28" fmla="*/ 20193 h 172964"/>
                <a:gd name="connsiteX29" fmla="*/ 179346 w 1260138"/>
                <a:gd name="connsiteY29" fmla="*/ 138522 h 172964"/>
                <a:gd name="connsiteX30" fmla="*/ 181270 w 1260138"/>
                <a:gd name="connsiteY30" fmla="*/ 140741 h 172964"/>
                <a:gd name="connsiteX31" fmla="*/ 232362 w 1260138"/>
                <a:gd name="connsiteY31" fmla="*/ 140741 h 172964"/>
                <a:gd name="connsiteX32" fmla="*/ 245545 w 1260138"/>
                <a:gd name="connsiteY32" fmla="*/ 154257 h 172964"/>
                <a:gd name="connsiteX33" fmla="*/ 226733 w 1260138"/>
                <a:gd name="connsiteY33" fmla="*/ 171631 h 172964"/>
                <a:gd name="connsiteX34" fmla="*/ 156391 w 1260138"/>
                <a:gd name="connsiteY34" fmla="*/ 171631 h 172964"/>
                <a:gd name="connsiteX35" fmla="*/ 291751 w 1260138"/>
                <a:gd name="connsiteY35" fmla="*/ 163611 h 172964"/>
                <a:gd name="connsiteX36" fmla="*/ 277825 w 1260138"/>
                <a:gd name="connsiteY36" fmla="*/ 172669 h 172964"/>
                <a:gd name="connsiteX37" fmla="*/ 260937 w 1260138"/>
                <a:gd name="connsiteY37" fmla="*/ 159896 h 172964"/>
                <a:gd name="connsiteX38" fmla="*/ 263166 w 1260138"/>
                <a:gd name="connsiteY38" fmla="*/ 152029 h 172964"/>
                <a:gd name="connsiteX39" fmla="*/ 330098 w 1260138"/>
                <a:gd name="connsiteY39" fmla="*/ 22422 h 172964"/>
                <a:gd name="connsiteX40" fmla="*/ 356911 w 1260138"/>
                <a:gd name="connsiteY40" fmla="*/ 152 h 172964"/>
                <a:gd name="connsiteX41" fmla="*/ 377485 w 1260138"/>
                <a:gd name="connsiteY41" fmla="*/ 22422 h 172964"/>
                <a:gd name="connsiteX42" fmla="*/ 404155 w 1260138"/>
                <a:gd name="connsiteY42" fmla="*/ 153219 h 172964"/>
                <a:gd name="connsiteX43" fmla="*/ 404889 w 1260138"/>
                <a:gd name="connsiteY43" fmla="*/ 159601 h 172964"/>
                <a:gd name="connsiteX44" fmla="*/ 385782 w 1260138"/>
                <a:gd name="connsiteY44" fmla="*/ 172517 h 172964"/>
                <a:gd name="connsiteX45" fmla="*/ 374828 w 1260138"/>
                <a:gd name="connsiteY45" fmla="*/ 163163 h 172964"/>
                <a:gd name="connsiteX46" fmla="*/ 370237 w 1260138"/>
                <a:gd name="connsiteY46" fmla="*/ 140894 h 172964"/>
                <a:gd name="connsiteX47" fmla="*/ 367122 w 1260138"/>
                <a:gd name="connsiteY47" fmla="*/ 137484 h 172964"/>
                <a:gd name="connsiteX48" fmla="*/ 307753 w 1260138"/>
                <a:gd name="connsiteY48" fmla="*/ 137484 h 172964"/>
                <a:gd name="connsiteX49" fmla="*/ 303600 w 1260138"/>
                <a:gd name="connsiteY49" fmla="*/ 140894 h 172964"/>
                <a:gd name="connsiteX50" fmla="*/ 291903 w 1260138"/>
                <a:gd name="connsiteY50" fmla="*/ 163458 h 172964"/>
                <a:gd name="connsiteX51" fmla="*/ 291751 w 1260138"/>
                <a:gd name="connsiteY51" fmla="*/ 163611 h 172964"/>
                <a:gd name="connsiteX52" fmla="*/ 360902 w 1260138"/>
                <a:gd name="connsiteY52" fmla="*/ 106747 h 172964"/>
                <a:gd name="connsiteX53" fmla="*/ 363426 w 1260138"/>
                <a:gd name="connsiteY53" fmla="*/ 104966 h 172964"/>
                <a:gd name="connsiteX54" fmla="*/ 363131 w 1260138"/>
                <a:gd name="connsiteY54" fmla="*/ 101851 h 172964"/>
                <a:gd name="connsiteX55" fmla="*/ 354540 w 1260138"/>
                <a:gd name="connsiteY55" fmla="*/ 47654 h 172964"/>
                <a:gd name="connsiteX56" fmla="*/ 352320 w 1260138"/>
                <a:gd name="connsiteY56" fmla="*/ 39786 h 172964"/>
                <a:gd name="connsiteX57" fmla="*/ 347872 w 1260138"/>
                <a:gd name="connsiteY57" fmla="*/ 47654 h 172964"/>
                <a:gd name="connsiteX58" fmla="*/ 321659 w 1260138"/>
                <a:gd name="connsiteY58" fmla="*/ 101851 h 172964"/>
                <a:gd name="connsiteX59" fmla="*/ 320478 w 1260138"/>
                <a:gd name="connsiteY59" fmla="*/ 105261 h 172964"/>
                <a:gd name="connsiteX60" fmla="*/ 322402 w 1260138"/>
                <a:gd name="connsiteY60" fmla="*/ 106747 h 172964"/>
                <a:gd name="connsiteX61" fmla="*/ 360902 w 1260138"/>
                <a:gd name="connsiteY61" fmla="*/ 106747 h 172964"/>
                <a:gd name="connsiteX62" fmla="*/ 498186 w 1260138"/>
                <a:gd name="connsiteY62" fmla="*/ 30290 h 172964"/>
                <a:gd name="connsiteX63" fmla="*/ 472564 w 1260138"/>
                <a:gd name="connsiteY63" fmla="*/ 48101 h 172964"/>
                <a:gd name="connsiteX64" fmla="*/ 490337 w 1260138"/>
                <a:gd name="connsiteY64" fmla="*/ 65027 h 172964"/>
                <a:gd name="connsiteX65" fmla="*/ 511073 w 1260138"/>
                <a:gd name="connsiteY65" fmla="*/ 75124 h 172964"/>
                <a:gd name="connsiteX66" fmla="*/ 545583 w 1260138"/>
                <a:gd name="connsiteY66" fmla="*/ 120853 h 172964"/>
                <a:gd name="connsiteX67" fmla="*/ 482489 w 1260138"/>
                <a:gd name="connsiteY67" fmla="*/ 172517 h 172964"/>
                <a:gd name="connsiteX68" fmla="*/ 423405 w 1260138"/>
                <a:gd name="connsiteY68" fmla="*/ 148314 h 172964"/>
                <a:gd name="connsiteX69" fmla="*/ 420291 w 1260138"/>
                <a:gd name="connsiteY69" fmla="*/ 140303 h 172964"/>
                <a:gd name="connsiteX70" fmla="*/ 438807 w 1260138"/>
                <a:gd name="connsiteY70" fmla="*/ 123082 h 172964"/>
                <a:gd name="connsiteX71" fmla="*/ 449313 w 1260138"/>
                <a:gd name="connsiteY71" fmla="*/ 128426 h 172964"/>
                <a:gd name="connsiteX72" fmla="*/ 485013 w 1260138"/>
                <a:gd name="connsiteY72" fmla="*/ 142380 h 172964"/>
                <a:gd name="connsiteX73" fmla="*/ 511816 w 1260138"/>
                <a:gd name="connsiteY73" fmla="*/ 123520 h 172964"/>
                <a:gd name="connsiteX74" fmla="*/ 495224 w 1260138"/>
                <a:gd name="connsiteY74" fmla="*/ 104223 h 172964"/>
                <a:gd name="connsiteX75" fmla="*/ 473897 w 1260138"/>
                <a:gd name="connsiteY75" fmla="*/ 94126 h 172964"/>
                <a:gd name="connsiteX76" fmla="*/ 438655 w 1260138"/>
                <a:gd name="connsiteY76" fmla="*/ 49292 h 172964"/>
                <a:gd name="connsiteX77" fmla="*/ 499967 w 1260138"/>
                <a:gd name="connsiteY77" fmla="*/ 0 h 172964"/>
                <a:gd name="connsiteX78" fmla="*/ 550316 w 1260138"/>
                <a:gd name="connsiteY78" fmla="*/ 16631 h 172964"/>
                <a:gd name="connsiteX79" fmla="*/ 555650 w 1260138"/>
                <a:gd name="connsiteY79" fmla="*/ 27165 h 172964"/>
                <a:gd name="connsiteX80" fmla="*/ 538467 w 1260138"/>
                <a:gd name="connsiteY80" fmla="*/ 44396 h 172964"/>
                <a:gd name="connsiteX81" fmla="*/ 528257 w 1260138"/>
                <a:gd name="connsiteY81" fmla="*/ 40529 h 172964"/>
                <a:gd name="connsiteX82" fmla="*/ 497891 w 1260138"/>
                <a:gd name="connsiteY82" fmla="*/ 30290 h 172964"/>
                <a:gd name="connsiteX83" fmla="*/ 498186 w 1260138"/>
                <a:gd name="connsiteY83" fmla="*/ 30290 h 172964"/>
                <a:gd name="connsiteX84" fmla="*/ 620668 w 1260138"/>
                <a:gd name="connsiteY84" fmla="*/ 32071 h 172964"/>
                <a:gd name="connsiteX85" fmla="*/ 618296 w 1260138"/>
                <a:gd name="connsiteY85" fmla="*/ 34300 h 172964"/>
                <a:gd name="connsiteX86" fmla="*/ 613115 w 1260138"/>
                <a:gd name="connsiteY86" fmla="*/ 66065 h 172964"/>
                <a:gd name="connsiteX87" fmla="*/ 615039 w 1260138"/>
                <a:gd name="connsiteY87" fmla="*/ 68294 h 172964"/>
                <a:gd name="connsiteX88" fmla="*/ 661387 w 1260138"/>
                <a:gd name="connsiteY88" fmla="*/ 68294 h 172964"/>
                <a:gd name="connsiteX89" fmla="*/ 674570 w 1260138"/>
                <a:gd name="connsiteY89" fmla="*/ 81810 h 172964"/>
                <a:gd name="connsiteX90" fmla="*/ 655758 w 1260138"/>
                <a:gd name="connsiteY90" fmla="*/ 99174 h 172964"/>
                <a:gd name="connsiteX91" fmla="*/ 610153 w 1260138"/>
                <a:gd name="connsiteY91" fmla="*/ 99174 h 172964"/>
                <a:gd name="connsiteX92" fmla="*/ 607486 w 1260138"/>
                <a:gd name="connsiteY92" fmla="*/ 101403 h 172964"/>
                <a:gd name="connsiteX93" fmla="*/ 598446 w 1260138"/>
                <a:gd name="connsiteY93" fmla="*/ 159153 h 172964"/>
                <a:gd name="connsiteX94" fmla="*/ 580682 w 1260138"/>
                <a:gd name="connsiteY94" fmla="*/ 172669 h 172964"/>
                <a:gd name="connsiteX95" fmla="*/ 566461 w 1260138"/>
                <a:gd name="connsiteY95" fmla="*/ 161677 h 172964"/>
                <a:gd name="connsiteX96" fmla="*/ 567642 w 1260138"/>
                <a:gd name="connsiteY96" fmla="*/ 152629 h 172964"/>
                <a:gd name="connsiteX97" fmla="*/ 589417 w 1260138"/>
                <a:gd name="connsiteY97" fmla="*/ 15735 h 172964"/>
                <a:gd name="connsiteX98" fmla="*/ 605561 w 1260138"/>
                <a:gd name="connsiteY98" fmla="*/ 1333 h 172964"/>
                <a:gd name="connsiteX99" fmla="*/ 688343 w 1260138"/>
                <a:gd name="connsiteY99" fmla="*/ 1333 h 172964"/>
                <a:gd name="connsiteX100" fmla="*/ 701526 w 1260138"/>
                <a:gd name="connsiteY100" fmla="*/ 14850 h 172964"/>
                <a:gd name="connsiteX101" fmla="*/ 682714 w 1260138"/>
                <a:gd name="connsiteY101" fmla="*/ 32223 h 172964"/>
                <a:gd name="connsiteX102" fmla="*/ 620668 w 1260138"/>
                <a:gd name="connsiteY102" fmla="*/ 32223 h 172964"/>
                <a:gd name="connsiteX103" fmla="*/ 620668 w 1260138"/>
                <a:gd name="connsiteY103" fmla="*/ 32071 h 172964"/>
                <a:gd name="connsiteX104" fmla="*/ 703155 w 1260138"/>
                <a:gd name="connsiteY104" fmla="*/ 163611 h 172964"/>
                <a:gd name="connsiteX105" fmla="*/ 689229 w 1260138"/>
                <a:gd name="connsiteY105" fmla="*/ 172669 h 172964"/>
                <a:gd name="connsiteX106" fmla="*/ 672351 w 1260138"/>
                <a:gd name="connsiteY106" fmla="*/ 159896 h 172964"/>
                <a:gd name="connsiteX107" fmla="*/ 674570 w 1260138"/>
                <a:gd name="connsiteY107" fmla="*/ 152029 h 172964"/>
                <a:gd name="connsiteX108" fmla="*/ 741512 w 1260138"/>
                <a:gd name="connsiteY108" fmla="*/ 22422 h 172964"/>
                <a:gd name="connsiteX109" fmla="*/ 768315 w 1260138"/>
                <a:gd name="connsiteY109" fmla="*/ 152 h 172964"/>
                <a:gd name="connsiteX110" fmla="*/ 788756 w 1260138"/>
                <a:gd name="connsiteY110" fmla="*/ 22422 h 172964"/>
                <a:gd name="connsiteX111" fmla="*/ 815407 w 1260138"/>
                <a:gd name="connsiteY111" fmla="*/ 153219 h 172964"/>
                <a:gd name="connsiteX112" fmla="*/ 816150 w 1260138"/>
                <a:gd name="connsiteY112" fmla="*/ 159601 h 172964"/>
                <a:gd name="connsiteX113" fmla="*/ 797043 w 1260138"/>
                <a:gd name="connsiteY113" fmla="*/ 172517 h 172964"/>
                <a:gd name="connsiteX114" fmla="*/ 786089 w 1260138"/>
                <a:gd name="connsiteY114" fmla="*/ 163163 h 172964"/>
                <a:gd name="connsiteX115" fmla="*/ 781498 w 1260138"/>
                <a:gd name="connsiteY115" fmla="*/ 140894 h 172964"/>
                <a:gd name="connsiteX116" fmla="*/ 778383 w 1260138"/>
                <a:gd name="connsiteY116" fmla="*/ 137484 h 172964"/>
                <a:gd name="connsiteX117" fmla="*/ 718995 w 1260138"/>
                <a:gd name="connsiteY117" fmla="*/ 137484 h 172964"/>
                <a:gd name="connsiteX118" fmla="*/ 714851 w 1260138"/>
                <a:gd name="connsiteY118" fmla="*/ 140894 h 172964"/>
                <a:gd name="connsiteX119" fmla="*/ 703155 w 1260138"/>
                <a:gd name="connsiteY119" fmla="*/ 163458 h 172964"/>
                <a:gd name="connsiteX120" fmla="*/ 703155 w 1260138"/>
                <a:gd name="connsiteY120" fmla="*/ 163611 h 172964"/>
                <a:gd name="connsiteX121" fmla="*/ 772316 w 1260138"/>
                <a:gd name="connsiteY121" fmla="*/ 106747 h 172964"/>
                <a:gd name="connsiteX122" fmla="*/ 774830 w 1260138"/>
                <a:gd name="connsiteY122" fmla="*/ 104966 h 172964"/>
                <a:gd name="connsiteX123" fmla="*/ 774535 w 1260138"/>
                <a:gd name="connsiteY123" fmla="*/ 101851 h 172964"/>
                <a:gd name="connsiteX124" fmla="*/ 765943 w 1260138"/>
                <a:gd name="connsiteY124" fmla="*/ 47654 h 172964"/>
                <a:gd name="connsiteX125" fmla="*/ 763724 w 1260138"/>
                <a:gd name="connsiteY125" fmla="*/ 39786 h 172964"/>
                <a:gd name="connsiteX126" fmla="*/ 759285 w 1260138"/>
                <a:gd name="connsiteY126" fmla="*/ 47654 h 172964"/>
                <a:gd name="connsiteX127" fmla="*/ 733215 w 1260138"/>
                <a:gd name="connsiteY127" fmla="*/ 101851 h 172964"/>
                <a:gd name="connsiteX128" fmla="*/ 732034 w 1260138"/>
                <a:gd name="connsiteY128" fmla="*/ 105261 h 172964"/>
                <a:gd name="connsiteX129" fmla="*/ 733958 w 1260138"/>
                <a:gd name="connsiteY129" fmla="*/ 106747 h 172964"/>
                <a:gd name="connsiteX130" fmla="*/ 772316 w 1260138"/>
                <a:gd name="connsiteY130" fmla="*/ 106747 h 172964"/>
                <a:gd name="connsiteX131" fmla="*/ 909742 w 1260138"/>
                <a:gd name="connsiteY131" fmla="*/ 30290 h 172964"/>
                <a:gd name="connsiteX132" fmla="*/ 884120 w 1260138"/>
                <a:gd name="connsiteY132" fmla="*/ 48101 h 172964"/>
                <a:gd name="connsiteX133" fmla="*/ 901894 w 1260138"/>
                <a:gd name="connsiteY133" fmla="*/ 65027 h 172964"/>
                <a:gd name="connsiteX134" fmla="*/ 922630 w 1260138"/>
                <a:gd name="connsiteY134" fmla="*/ 75124 h 172964"/>
                <a:gd name="connsiteX135" fmla="*/ 957139 w 1260138"/>
                <a:gd name="connsiteY135" fmla="*/ 120853 h 172964"/>
                <a:gd name="connsiteX136" fmla="*/ 894045 w 1260138"/>
                <a:gd name="connsiteY136" fmla="*/ 172517 h 172964"/>
                <a:gd name="connsiteX137" fmla="*/ 834962 w 1260138"/>
                <a:gd name="connsiteY137" fmla="*/ 148314 h 172964"/>
                <a:gd name="connsiteX138" fmla="*/ 831847 w 1260138"/>
                <a:gd name="connsiteY138" fmla="*/ 140303 h 172964"/>
                <a:gd name="connsiteX139" fmla="*/ 850363 w 1260138"/>
                <a:gd name="connsiteY139" fmla="*/ 123082 h 172964"/>
                <a:gd name="connsiteX140" fmla="*/ 860870 w 1260138"/>
                <a:gd name="connsiteY140" fmla="*/ 128426 h 172964"/>
                <a:gd name="connsiteX141" fmla="*/ 896560 w 1260138"/>
                <a:gd name="connsiteY141" fmla="*/ 142380 h 172964"/>
                <a:gd name="connsiteX142" fmla="*/ 923373 w 1260138"/>
                <a:gd name="connsiteY142" fmla="*/ 123520 h 172964"/>
                <a:gd name="connsiteX143" fmla="*/ 906780 w 1260138"/>
                <a:gd name="connsiteY143" fmla="*/ 104223 h 172964"/>
                <a:gd name="connsiteX144" fmla="*/ 885606 w 1260138"/>
                <a:gd name="connsiteY144" fmla="*/ 94126 h 172964"/>
                <a:gd name="connsiteX145" fmla="*/ 850363 w 1260138"/>
                <a:gd name="connsiteY145" fmla="*/ 49292 h 172964"/>
                <a:gd name="connsiteX146" fmla="*/ 911666 w 1260138"/>
                <a:gd name="connsiteY146" fmla="*/ 0 h 172964"/>
                <a:gd name="connsiteX147" fmla="*/ 962025 w 1260138"/>
                <a:gd name="connsiteY147" fmla="*/ 16631 h 172964"/>
                <a:gd name="connsiteX148" fmla="*/ 967349 w 1260138"/>
                <a:gd name="connsiteY148" fmla="*/ 27165 h 172964"/>
                <a:gd name="connsiteX149" fmla="*/ 950319 w 1260138"/>
                <a:gd name="connsiteY149" fmla="*/ 44396 h 172964"/>
                <a:gd name="connsiteX150" fmla="*/ 940108 w 1260138"/>
                <a:gd name="connsiteY150" fmla="*/ 40529 h 172964"/>
                <a:gd name="connsiteX151" fmla="*/ 909895 w 1260138"/>
                <a:gd name="connsiteY151" fmla="*/ 30290 h 172964"/>
                <a:gd name="connsiteX152" fmla="*/ 909742 w 1260138"/>
                <a:gd name="connsiteY152" fmla="*/ 30290 h 172964"/>
                <a:gd name="connsiteX153" fmla="*/ 1097232 w 1260138"/>
                <a:gd name="connsiteY153" fmla="*/ 1191 h 172964"/>
                <a:gd name="connsiteX154" fmla="*/ 1110415 w 1260138"/>
                <a:gd name="connsiteY154" fmla="*/ 14697 h 172964"/>
                <a:gd name="connsiteX155" fmla="*/ 1091603 w 1260138"/>
                <a:gd name="connsiteY155" fmla="*/ 32071 h 172964"/>
                <a:gd name="connsiteX156" fmla="*/ 1031919 w 1260138"/>
                <a:gd name="connsiteY156" fmla="*/ 32071 h 172964"/>
                <a:gd name="connsiteX157" fmla="*/ 1029262 w 1260138"/>
                <a:gd name="connsiteY157" fmla="*/ 34300 h 172964"/>
                <a:gd name="connsiteX158" fmla="*/ 1024366 w 1260138"/>
                <a:gd name="connsiteY158" fmla="*/ 66065 h 172964"/>
                <a:gd name="connsiteX159" fmla="*/ 1026147 w 1260138"/>
                <a:gd name="connsiteY159" fmla="*/ 68294 h 172964"/>
                <a:gd name="connsiteX160" fmla="*/ 1077239 w 1260138"/>
                <a:gd name="connsiteY160" fmla="*/ 68294 h 172964"/>
                <a:gd name="connsiteX161" fmla="*/ 1090422 w 1260138"/>
                <a:gd name="connsiteY161" fmla="*/ 81801 h 172964"/>
                <a:gd name="connsiteX162" fmla="*/ 1071610 w 1260138"/>
                <a:gd name="connsiteY162" fmla="*/ 99174 h 172964"/>
                <a:gd name="connsiteX163" fmla="*/ 1021261 w 1260138"/>
                <a:gd name="connsiteY163" fmla="*/ 99174 h 172964"/>
                <a:gd name="connsiteX164" fmla="*/ 1018746 w 1260138"/>
                <a:gd name="connsiteY164" fmla="*/ 101403 h 172964"/>
                <a:gd name="connsiteX165" fmla="*/ 1012822 w 1260138"/>
                <a:gd name="connsiteY165" fmla="*/ 138665 h 172964"/>
                <a:gd name="connsiteX166" fmla="*/ 1014594 w 1260138"/>
                <a:gd name="connsiteY166" fmla="*/ 140894 h 172964"/>
                <a:gd name="connsiteX167" fmla="*/ 1077392 w 1260138"/>
                <a:gd name="connsiteY167" fmla="*/ 140894 h 172964"/>
                <a:gd name="connsiteX168" fmla="*/ 1090565 w 1260138"/>
                <a:gd name="connsiteY168" fmla="*/ 154400 h 172964"/>
                <a:gd name="connsiteX169" fmla="*/ 1071763 w 1260138"/>
                <a:gd name="connsiteY169" fmla="*/ 171774 h 172964"/>
                <a:gd name="connsiteX170" fmla="*/ 990162 w 1260138"/>
                <a:gd name="connsiteY170" fmla="*/ 171774 h 172964"/>
                <a:gd name="connsiteX171" fmla="*/ 978170 w 1260138"/>
                <a:gd name="connsiteY171" fmla="*/ 157372 h 172964"/>
                <a:gd name="connsiteX172" fmla="*/ 1000382 w 1260138"/>
                <a:gd name="connsiteY172" fmla="*/ 15888 h 172964"/>
                <a:gd name="connsiteX173" fmla="*/ 1016822 w 1260138"/>
                <a:gd name="connsiteY173" fmla="*/ 1486 h 172964"/>
                <a:gd name="connsiteX174" fmla="*/ 1097232 w 1260138"/>
                <a:gd name="connsiteY174" fmla="*/ 1486 h 172964"/>
                <a:gd name="connsiteX175" fmla="*/ 1097232 w 1260138"/>
                <a:gd name="connsiteY175" fmla="*/ 1191 h 172964"/>
                <a:gd name="connsiteX176" fmla="*/ 1190682 w 1260138"/>
                <a:gd name="connsiteY176" fmla="*/ 108233 h 172964"/>
                <a:gd name="connsiteX177" fmla="*/ 1187272 w 1260138"/>
                <a:gd name="connsiteY177" fmla="*/ 106004 h 172964"/>
                <a:gd name="connsiteX178" fmla="*/ 1160469 w 1260138"/>
                <a:gd name="connsiteY178" fmla="*/ 106004 h 172964"/>
                <a:gd name="connsiteX179" fmla="*/ 1157802 w 1260138"/>
                <a:gd name="connsiteY179" fmla="*/ 108233 h 172964"/>
                <a:gd name="connsiteX180" fmla="*/ 1149810 w 1260138"/>
                <a:gd name="connsiteY180" fmla="*/ 159153 h 172964"/>
                <a:gd name="connsiteX181" fmla="*/ 1132037 w 1260138"/>
                <a:gd name="connsiteY181" fmla="*/ 172669 h 172964"/>
                <a:gd name="connsiteX182" fmla="*/ 1117816 w 1260138"/>
                <a:gd name="connsiteY182" fmla="*/ 161677 h 172964"/>
                <a:gd name="connsiteX183" fmla="*/ 1119007 w 1260138"/>
                <a:gd name="connsiteY183" fmla="*/ 152629 h 172964"/>
                <a:gd name="connsiteX184" fmla="*/ 1140771 w 1260138"/>
                <a:gd name="connsiteY184" fmla="*/ 15735 h 172964"/>
                <a:gd name="connsiteX185" fmla="*/ 1157211 w 1260138"/>
                <a:gd name="connsiteY185" fmla="*/ 1333 h 172964"/>
                <a:gd name="connsiteX186" fmla="*/ 1215857 w 1260138"/>
                <a:gd name="connsiteY186" fmla="*/ 1333 h 172964"/>
                <a:gd name="connsiteX187" fmla="*/ 1260139 w 1260138"/>
                <a:gd name="connsiteY187" fmla="*/ 43501 h 172964"/>
                <a:gd name="connsiteX188" fmla="*/ 1224296 w 1260138"/>
                <a:gd name="connsiteY188" fmla="*/ 103184 h 172964"/>
                <a:gd name="connsiteX189" fmla="*/ 1222524 w 1260138"/>
                <a:gd name="connsiteY189" fmla="*/ 104966 h 172964"/>
                <a:gd name="connsiteX190" fmla="*/ 1222820 w 1260138"/>
                <a:gd name="connsiteY190" fmla="*/ 106004 h 172964"/>
                <a:gd name="connsiteX191" fmla="*/ 1242365 w 1260138"/>
                <a:gd name="connsiteY191" fmla="*/ 150847 h 172964"/>
                <a:gd name="connsiteX192" fmla="*/ 1244879 w 1260138"/>
                <a:gd name="connsiteY192" fmla="*/ 159458 h 172964"/>
                <a:gd name="connsiteX193" fmla="*/ 1225782 w 1260138"/>
                <a:gd name="connsiteY193" fmla="*/ 172964 h 172964"/>
                <a:gd name="connsiteX194" fmla="*/ 1214228 w 1260138"/>
                <a:gd name="connsiteY194" fmla="*/ 164354 h 172964"/>
                <a:gd name="connsiteX195" fmla="*/ 1190978 w 1260138"/>
                <a:gd name="connsiteY195" fmla="*/ 108528 h 172964"/>
                <a:gd name="connsiteX196" fmla="*/ 1190682 w 1260138"/>
                <a:gd name="connsiteY196" fmla="*/ 108233 h 172964"/>
                <a:gd name="connsiteX197" fmla="*/ 1205046 w 1260138"/>
                <a:gd name="connsiteY197" fmla="*/ 75419 h 172964"/>
                <a:gd name="connsiteX198" fmla="*/ 1226372 w 1260138"/>
                <a:gd name="connsiteY198" fmla="*/ 49139 h 172964"/>
                <a:gd name="connsiteX199" fmla="*/ 1209789 w 1260138"/>
                <a:gd name="connsiteY199" fmla="*/ 31775 h 172964"/>
                <a:gd name="connsiteX200" fmla="*/ 1172166 w 1260138"/>
                <a:gd name="connsiteY200" fmla="*/ 31775 h 172964"/>
                <a:gd name="connsiteX201" fmla="*/ 1169499 w 1260138"/>
                <a:gd name="connsiteY201" fmla="*/ 34004 h 172964"/>
                <a:gd name="connsiteX202" fmla="*/ 1163431 w 1260138"/>
                <a:gd name="connsiteY202" fmla="*/ 73200 h 172964"/>
                <a:gd name="connsiteX203" fmla="*/ 1165355 w 1260138"/>
                <a:gd name="connsiteY203" fmla="*/ 75419 h 172964"/>
                <a:gd name="connsiteX204" fmla="*/ 1205198 w 1260138"/>
                <a:gd name="connsiteY204" fmla="*/ 75419 h 172964"/>
                <a:gd name="connsiteX205" fmla="*/ 1205046 w 1260138"/>
                <a:gd name="connsiteY205" fmla="*/ 75419 h 17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60138" h="172964">
                  <a:moveTo>
                    <a:pt x="3400" y="86411"/>
                  </a:moveTo>
                  <a:cubicBezTo>
                    <a:pt x="11259" y="36376"/>
                    <a:pt x="21917" y="152"/>
                    <a:pt x="80858" y="152"/>
                  </a:cubicBezTo>
                  <a:cubicBezTo>
                    <a:pt x="94336" y="152"/>
                    <a:pt x="110919" y="3562"/>
                    <a:pt x="120996" y="12621"/>
                  </a:cubicBezTo>
                  <a:cubicBezTo>
                    <a:pt x="124397" y="15735"/>
                    <a:pt x="127064" y="18707"/>
                    <a:pt x="127064" y="23603"/>
                  </a:cubicBezTo>
                  <a:cubicBezTo>
                    <a:pt x="127064" y="32214"/>
                    <a:pt x="118329" y="42167"/>
                    <a:pt x="108699" y="42167"/>
                  </a:cubicBezTo>
                  <a:cubicBezTo>
                    <a:pt x="105962" y="42253"/>
                    <a:pt x="103283" y="41358"/>
                    <a:pt x="101146" y="39643"/>
                  </a:cubicBezTo>
                  <a:cubicBezTo>
                    <a:pt x="91811" y="32071"/>
                    <a:pt x="86039" y="30290"/>
                    <a:pt x="75971" y="30290"/>
                  </a:cubicBezTo>
                  <a:cubicBezTo>
                    <a:pt x="42796" y="30290"/>
                    <a:pt x="40729" y="63094"/>
                    <a:pt x="36433" y="86106"/>
                  </a:cubicBezTo>
                  <a:cubicBezTo>
                    <a:pt x="33909" y="98584"/>
                    <a:pt x="32728" y="108823"/>
                    <a:pt x="32728" y="117138"/>
                  </a:cubicBezTo>
                  <a:cubicBezTo>
                    <a:pt x="32728" y="134512"/>
                    <a:pt x="40138" y="141932"/>
                    <a:pt x="58350" y="141932"/>
                  </a:cubicBezTo>
                  <a:cubicBezTo>
                    <a:pt x="76562" y="141932"/>
                    <a:pt x="89897" y="130654"/>
                    <a:pt x="92850" y="112538"/>
                  </a:cubicBezTo>
                  <a:lnTo>
                    <a:pt x="94336" y="103184"/>
                  </a:lnTo>
                  <a:cubicBezTo>
                    <a:pt x="94631" y="101403"/>
                    <a:pt x="94040" y="100955"/>
                    <a:pt x="92554" y="100955"/>
                  </a:cubicBezTo>
                  <a:lnTo>
                    <a:pt x="78343" y="100955"/>
                  </a:lnTo>
                  <a:cubicBezTo>
                    <a:pt x="68866" y="100955"/>
                    <a:pt x="65456" y="94574"/>
                    <a:pt x="65456" y="87449"/>
                  </a:cubicBezTo>
                  <a:cubicBezTo>
                    <a:pt x="65456" y="78391"/>
                    <a:pt x="71380" y="70371"/>
                    <a:pt x="82487" y="70371"/>
                  </a:cubicBezTo>
                  <a:lnTo>
                    <a:pt x="117881" y="70371"/>
                  </a:lnTo>
                  <a:cubicBezTo>
                    <a:pt x="124987" y="70371"/>
                    <a:pt x="130026" y="74085"/>
                    <a:pt x="128692" y="83287"/>
                  </a:cubicBezTo>
                  <a:lnTo>
                    <a:pt x="124101" y="112681"/>
                  </a:lnTo>
                  <a:cubicBezTo>
                    <a:pt x="118034" y="151438"/>
                    <a:pt x="95812" y="172222"/>
                    <a:pt x="53464" y="172222"/>
                  </a:cubicBezTo>
                  <a:cubicBezTo>
                    <a:pt x="20736" y="172222"/>
                    <a:pt x="0" y="158563"/>
                    <a:pt x="0" y="122034"/>
                  </a:cubicBezTo>
                  <a:cubicBezTo>
                    <a:pt x="0" y="111795"/>
                    <a:pt x="1181" y="99765"/>
                    <a:pt x="3410" y="86106"/>
                  </a:cubicBezTo>
                  <a:lnTo>
                    <a:pt x="3410" y="86411"/>
                  </a:lnTo>
                  <a:close/>
                  <a:moveTo>
                    <a:pt x="156391" y="171631"/>
                  </a:moveTo>
                  <a:cubicBezTo>
                    <a:pt x="147799" y="171631"/>
                    <a:pt x="143208" y="166430"/>
                    <a:pt x="144685" y="157229"/>
                  </a:cubicBezTo>
                  <a:lnTo>
                    <a:pt x="167354" y="13659"/>
                  </a:lnTo>
                  <a:cubicBezTo>
                    <a:pt x="169126" y="2819"/>
                    <a:pt x="175936" y="152"/>
                    <a:pt x="185118" y="152"/>
                  </a:cubicBezTo>
                  <a:cubicBezTo>
                    <a:pt x="191929" y="152"/>
                    <a:pt x="199339" y="2667"/>
                    <a:pt x="199339" y="11135"/>
                  </a:cubicBezTo>
                  <a:cubicBezTo>
                    <a:pt x="199339" y="12621"/>
                    <a:pt x="198892" y="16335"/>
                    <a:pt x="198149" y="20193"/>
                  </a:cubicBezTo>
                  <a:lnTo>
                    <a:pt x="179346" y="138522"/>
                  </a:lnTo>
                  <a:cubicBezTo>
                    <a:pt x="179041" y="140303"/>
                    <a:pt x="179632" y="140741"/>
                    <a:pt x="181270" y="140741"/>
                  </a:cubicBezTo>
                  <a:lnTo>
                    <a:pt x="232362" y="140741"/>
                  </a:lnTo>
                  <a:cubicBezTo>
                    <a:pt x="242135" y="140741"/>
                    <a:pt x="245545" y="147133"/>
                    <a:pt x="245545" y="154257"/>
                  </a:cubicBezTo>
                  <a:cubicBezTo>
                    <a:pt x="245545" y="163611"/>
                    <a:pt x="239620" y="171631"/>
                    <a:pt x="226733" y="171631"/>
                  </a:cubicBezTo>
                  <a:lnTo>
                    <a:pt x="156391" y="171631"/>
                  </a:lnTo>
                  <a:close/>
                  <a:moveTo>
                    <a:pt x="291751" y="163611"/>
                  </a:moveTo>
                  <a:cubicBezTo>
                    <a:pt x="288036" y="170736"/>
                    <a:pt x="284197" y="172669"/>
                    <a:pt x="277825" y="172669"/>
                  </a:cubicBezTo>
                  <a:cubicBezTo>
                    <a:pt x="269091" y="172669"/>
                    <a:pt x="260937" y="168059"/>
                    <a:pt x="260937" y="159896"/>
                  </a:cubicBezTo>
                  <a:cubicBezTo>
                    <a:pt x="260937" y="157372"/>
                    <a:pt x="261680" y="155000"/>
                    <a:pt x="263166" y="152029"/>
                  </a:cubicBezTo>
                  <a:lnTo>
                    <a:pt x="330098" y="22422"/>
                  </a:lnTo>
                  <a:cubicBezTo>
                    <a:pt x="339871" y="3562"/>
                    <a:pt x="345205" y="152"/>
                    <a:pt x="356911" y="152"/>
                  </a:cubicBezTo>
                  <a:cubicBezTo>
                    <a:pt x="369646" y="152"/>
                    <a:pt x="373942" y="5344"/>
                    <a:pt x="377485" y="22422"/>
                  </a:cubicBezTo>
                  <a:lnTo>
                    <a:pt x="404155" y="153219"/>
                  </a:lnTo>
                  <a:cubicBezTo>
                    <a:pt x="404593" y="155886"/>
                    <a:pt x="404889" y="157667"/>
                    <a:pt x="404889" y="159601"/>
                  </a:cubicBezTo>
                  <a:cubicBezTo>
                    <a:pt x="404889" y="169107"/>
                    <a:pt x="394373" y="172517"/>
                    <a:pt x="385782" y="172517"/>
                  </a:cubicBezTo>
                  <a:cubicBezTo>
                    <a:pt x="380895" y="172517"/>
                    <a:pt x="376304" y="169993"/>
                    <a:pt x="374828" y="163163"/>
                  </a:cubicBezTo>
                  <a:lnTo>
                    <a:pt x="370237" y="140894"/>
                  </a:lnTo>
                  <a:cubicBezTo>
                    <a:pt x="369789" y="138665"/>
                    <a:pt x="369056" y="137484"/>
                    <a:pt x="367122" y="137484"/>
                  </a:cubicBezTo>
                  <a:lnTo>
                    <a:pt x="307753" y="137484"/>
                  </a:lnTo>
                  <a:cubicBezTo>
                    <a:pt x="305819" y="137484"/>
                    <a:pt x="304791" y="138665"/>
                    <a:pt x="303600" y="140894"/>
                  </a:cubicBezTo>
                  <a:lnTo>
                    <a:pt x="291903" y="163458"/>
                  </a:lnTo>
                  <a:lnTo>
                    <a:pt x="291751" y="163611"/>
                  </a:lnTo>
                  <a:close/>
                  <a:moveTo>
                    <a:pt x="360902" y="106747"/>
                  </a:moveTo>
                  <a:cubicBezTo>
                    <a:pt x="362388" y="106747"/>
                    <a:pt x="363426" y="106004"/>
                    <a:pt x="363426" y="104966"/>
                  </a:cubicBezTo>
                  <a:cubicBezTo>
                    <a:pt x="363426" y="104518"/>
                    <a:pt x="363426" y="103775"/>
                    <a:pt x="363131" y="101851"/>
                  </a:cubicBezTo>
                  <a:lnTo>
                    <a:pt x="354540" y="47654"/>
                  </a:lnTo>
                  <a:cubicBezTo>
                    <a:pt x="354092" y="44244"/>
                    <a:pt x="354092" y="39786"/>
                    <a:pt x="352320" y="39786"/>
                  </a:cubicBezTo>
                  <a:cubicBezTo>
                    <a:pt x="350539" y="39786"/>
                    <a:pt x="349653" y="44244"/>
                    <a:pt x="347872" y="47654"/>
                  </a:cubicBezTo>
                  <a:lnTo>
                    <a:pt x="321659" y="101851"/>
                  </a:lnTo>
                  <a:cubicBezTo>
                    <a:pt x="320621" y="103775"/>
                    <a:pt x="320478" y="104813"/>
                    <a:pt x="320478" y="105261"/>
                  </a:cubicBezTo>
                  <a:cubicBezTo>
                    <a:pt x="320478" y="106299"/>
                    <a:pt x="320916" y="106747"/>
                    <a:pt x="322402" y="106747"/>
                  </a:cubicBezTo>
                  <a:lnTo>
                    <a:pt x="360902" y="106747"/>
                  </a:lnTo>
                  <a:close/>
                  <a:moveTo>
                    <a:pt x="498186" y="30290"/>
                  </a:moveTo>
                  <a:cubicBezTo>
                    <a:pt x="488413" y="30290"/>
                    <a:pt x="472564" y="34147"/>
                    <a:pt x="472564" y="48101"/>
                  </a:cubicBezTo>
                  <a:cubicBezTo>
                    <a:pt x="472564" y="55226"/>
                    <a:pt x="479679" y="59836"/>
                    <a:pt x="490337" y="65027"/>
                  </a:cubicBezTo>
                  <a:lnTo>
                    <a:pt x="511073" y="75124"/>
                  </a:lnTo>
                  <a:cubicBezTo>
                    <a:pt x="533286" y="85963"/>
                    <a:pt x="545583" y="100508"/>
                    <a:pt x="545583" y="120853"/>
                  </a:cubicBezTo>
                  <a:cubicBezTo>
                    <a:pt x="545583" y="154705"/>
                    <a:pt x="515817" y="172517"/>
                    <a:pt x="482489" y="172517"/>
                  </a:cubicBezTo>
                  <a:cubicBezTo>
                    <a:pt x="458800" y="172517"/>
                    <a:pt x="437769" y="164649"/>
                    <a:pt x="423405" y="148314"/>
                  </a:cubicBezTo>
                  <a:cubicBezTo>
                    <a:pt x="421415" y="146123"/>
                    <a:pt x="420305" y="143266"/>
                    <a:pt x="420291" y="140303"/>
                  </a:cubicBezTo>
                  <a:cubicBezTo>
                    <a:pt x="420291" y="131693"/>
                    <a:pt x="429035" y="123082"/>
                    <a:pt x="438807" y="123082"/>
                  </a:cubicBezTo>
                  <a:cubicBezTo>
                    <a:pt x="442951" y="123082"/>
                    <a:pt x="446361" y="125749"/>
                    <a:pt x="449313" y="128426"/>
                  </a:cubicBezTo>
                  <a:cubicBezTo>
                    <a:pt x="457171" y="135846"/>
                    <a:pt x="466935" y="142380"/>
                    <a:pt x="485013" y="142380"/>
                  </a:cubicBezTo>
                  <a:cubicBezTo>
                    <a:pt x="495967" y="142380"/>
                    <a:pt x="511816" y="138227"/>
                    <a:pt x="511816" y="123520"/>
                  </a:cubicBezTo>
                  <a:cubicBezTo>
                    <a:pt x="511816" y="115510"/>
                    <a:pt x="506187" y="109271"/>
                    <a:pt x="495224" y="104223"/>
                  </a:cubicBezTo>
                  <a:lnTo>
                    <a:pt x="473897" y="94126"/>
                  </a:lnTo>
                  <a:cubicBezTo>
                    <a:pt x="451685" y="83591"/>
                    <a:pt x="438655" y="71561"/>
                    <a:pt x="438655" y="49292"/>
                  </a:cubicBezTo>
                  <a:cubicBezTo>
                    <a:pt x="438655" y="18412"/>
                    <a:pt x="466944" y="0"/>
                    <a:pt x="499967" y="0"/>
                  </a:cubicBezTo>
                  <a:cubicBezTo>
                    <a:pt x="517741" y="0"/>
                    <a:pt x="535657" y="3715"/>
                    <a:pt x="550316" y="16631"/>
                  </a:cubicBezTo>
                  <a:cubicBezTo>
                    <a:pt x="553279" y="19155"/>
                    <a:pt x="555650" y="22565"/>
                    <a:pt x="555650" y="27165"/>
                  </a:cubicBezTo>
                  <a:cubicBezTo>
                    <a:pt x="555650" y="35785"/>
                    <a:pt x="547059" y="44396"/>
                    <a:pt x="538467" y="44396"/>
                  </a:cubicBezTo>
                  <a:cubicBezTo>
                    <a:pt x="534324" y="44396"/>
                    <a:pt x="530466" y="42167"/>
                    <a:pt x="528257" y="40529"/>
                  </a:cubicBezTo>
                  <a:cubicBezTo>
                    <a:pt x="519513" y="33699"/>
                    <a:pt x="509740" y="30290"/>
                    <a:pt x="497891" y="30290"/>
                  </a:cubicBezTo>
                  <a:lnTo>
                    <a:pt x="498186" y="30290"/>
                  </a:lnTo>
                  <a:close/>
                  <a:moveTo>
                    <a:pt x="620668" y="32071"/>
                  </a:moveTo>
                  <a:cubicBezTo>
                    <a:pt x="618887" y="32071"/>
                    <a:pt x="618439" y="32518"/>
                    <a:pt x="618296" y="34300"/>
                  </a:cubicBezTo>
                  <a:lnTo>
                    <a:pt x="613115" y="66065"/>
                  </a:lnTo>
                  <a:cubicBezTo>
                    <a:pt x="612819" y="67847"/>
                    <a:pt x="613410" y="68294"/>
                    <a:pt x="615039" y="68294"/>
                  </a:cubicBezTo>
                  <a:lnTo>
                    <a:pt x="661387" y="68294"/>
                  </a:lnTo>
                  <a:cubicBezTo>
                    <a:pt x="671160" y="68294"/>
                    <a:pt x="674570" y="74676"/>
                    <a:pt x="674570" y="81810"/>
                  </a:cubicBezTo>
                  <a:cubicBezTo>
                    <a:pt x="674570" y="91164"/>
                    <a:pt x="668646" y="99174"/>
                    <a:pt x="655758" y="99174"/>
                  </a:cubicBezTo>
                  <a:lnTo>
                    <a:pt x="610153" y="99174"/>
                  </a:lnTo>
                  <a:cubicBezTo>
                    <a:pt x="608371" y="99174"/>
                    <a:pt x="607628" y="99622"/>
                    <a:pt x="607486" y="101403"/>
                  </a:cubicBezTo>
                  <a:lnTo>
                    <a:pt x="598446" y="159153"/>
                  </a:lnTo>
                  <a:cubicBezTo>
                    <a:pt x="596675" y="169993"/>
                    <a:pt x="589864" y="172669"/>
                    <a:pt x="580682" y="172669"/>
                  </a:cubicBezTo>
                  <a:cubicBezTo>
                    <a:pt x="573862" y="172669"/>
                    <a:pt x="566461" y="170145"/>
                    <a:pt x="566461" y="161677"/>
                  </a:cubicBezTo>
                  <a:cubicBezTo>
                    <a:pt x="566461" y="160201"/>
                    <a:pt x="566909" y="156486"/>
                    <a:pt x="567642" y="152629"/>
                  </a:cubicBezTo>
                  <a:lnTo>
                    <a:pt x="589417" y="15735"/>
                  </a:lnTo>
                  <a:cubicBezTo>
                    <a:pt x="590893" y="6382"/>
                    <a:pt x="595789" y="1333"/>
                    <a:pt x="605561" y="1333"/>
                  </a:cubicBezTo>
                  <a:lnTo>
                    <a:pt x="688343" y="1333"/>
                  </a:lnTo>
                  <a:cubicBezTo>
                    <a:pt x="698116" y="1333"/>
                    <a:pt x="701526" y="7725"/>
                    <a:pt x="701526" y="14850"/>
                  </a:cubicBezTo>
                  <a:cubicBezTo>
                    <a:pt x="701526" y="24203"/>
                    <a:pt x="695601" y="32223"/>
                    <a:pt x="682714" y="32223"/>
                  </a:cubicBezTo>
                  <a:lnTo>
                    <a:pt x="620668" y="32223"/>
                  </a:lnTo>
                  <a:lnTo>
                    <a:pt x="620668" y="32071"/>
                  </a:lnTo>
                  <a:close/>
                  <a:moveTo>
                    <a:pt x="703155" y="163611"/>
                  </a:moveTo>
                  <a:cubicBezTo>
                    <a:pt x="699449" y="170736"/>
                    <a:pt x="695601" y="172669"/>
                    <a:pt x="689229" y="172669"/>
                  </a:cubicBezTo>
                  <a:cubicBezTo>
                    <a:pt x="680495" y="172669"/>
                    <a:pt x="672351" y="168059"/>
                    <a:pt x="672351" y="159896"/>
                  </a:cubicBezTo>
                  <a:cubicBezTo>
                    <a:pt x="672351" y="157372"/>
                    <a:pt x="673094" y="155000"/>
                    <a:pt x="674570" y="152029"/>
                  </a:cubicBezTo>
                  <a:lnTo>
                    <a:pt x="741512" y="22422"/>
                  </a:lnTo>
                  <a:cubicBezTo>
                    <a:pt x="751284" y="3562"/>
                    <a:pt x="756618" y="152"/>
                    <a:pt x="768315" y="152"/>
                  </a:cubicBezTo>
                  <a:cubicBezTo>
                    <a:pt x="781050" y="152"/>
                    <a:pt x="785346" y="5344"/>
                    <a:pt x="788756" y="22422"/>
                  </a:cubicBezTo>
                  <a:lnTo>
                    <a:pt x="815407" y="153219"/>
                  </a:lnTo>
                  <a:cubicBezTo>
                    <a:pt x="815854" y="155886"/>
                    <a:pt x="816150" y="157667"/>
                    <a:pt x="816150" y="159601"/>
                  </a:cubicBezTo>
                  <a:cubicBezTo>
                    <a:pt x="816150" y="169107"/>
                    <a:pt x="805634" y="172517"/>
                    <a:pt x="797043" y="172517"/>
                  </a:cubicBezTo>
                  <a:cubicBezTo>
                    <a:pt x="792156" y="172517"/>
                    <a:pt x="787565" y="169993"/>
                    <a:pt x="786089" y="163163"/>
                  </a:cubicBezTo>
                  <a:lnTo>
                    <a:pt x="781498" y="140894"/>
                  </a:lnTo>
                  <a:cubicBezTo>
                    <a:pt x="781050" y="138665"/>
                    <a:pt x="780307" y="137484"/>
                    <a:pt x="778383" y="137484"/>
                  </a:cubicBezTo>
                  <a:lnTo>
                    <a:pt x="718995" y="137484"/>
                  </a:lnTo>
                  <a:cubicBezTo>
                    <a:pt x="717071" y="137484"/>
                    <a:pt x="716042" y="138665"/>
                    <a:pt x="714851" y="140894"/>
                  </a:cubicBezTo>
                  <a:lnTo>
                    <a:pt x="703155" y="163458"/>
                  </a:lnTo>
                  <a:lnTo>
                    <a:pt x="703155" y="163611"/>
                  </a:lnTo>
                  <a:close/>
                  <a:moveTo>
                    <a:pt x="772316" y="106747"/>
                  </a:moveTo>
                  <a:cubicBezTo>
                    <a:pt x="773792" y="106747"/>
                    <a:pt x="774830" y="106004"/>
                    <a:pt x="774830" y="104966"/>
                  </a:cubicBezTo>
                  <a:cubicBezTo>
                    <a:pt x="774830" y="104518"/>
                    <a:pt x="774830" y="103775"/>
                    <a:pt x="774535" y="101851"/>
                  </a:cubicBezTo>
                  <a:lnTo>
                    <a:pt x="765943" y="47654"/>
                  </a:lnTo>
                  <a:cubicBezTo>
                    <a:pt x="765505" y="44244"/>
                    <a:pt x="765505" y="39786"/>
                    <a:pt x="763724" y="39786"/>
                  </a:cubicBezTo>
                  <a:cubicBezTo>
                    <a:pt x="761943" y="39786"/>
                    <a:pt x="761057" y="44244"/>
                    <a:pt x="759285" y="47654"/>
                  </a:cubicBezTo>
                  <a:lnTo>
                    <a:pt x="733215" y="101851"/>
                  </a:lnTo>
                  <a:cubicBezTo>
                    <a:pt x="732177" y="103775"/>
                    <a:pt x="732034" y="104813"/>
                    <a:pt x="732034" y="105261"/>
                  </a:cubicBezTo>
                  <a:cubicBezTo>
                    <a:pt x="732034" y="106299"/>
                    <a:pt x="732473" y="106747"/>
                    <a:pt x="733958" y="106747"/>
                  </a:cubicBezTo>
                  <a:lnTo>
                    <a:pt x="772316" y="106747"/>
                  </a:lnTo>
                  <a:close/>
                  <a:moveTo>
                    <a:pt x="909742" y="30290"/>
                  </a:moveTo>
                  <a:cubicBezTo>
                    <a:pt x="899970" y="30290"/>
                    <a:pt x="884120" y="34147"/>
                    <a:pt x="884120" y="48101"/>
                  </a:cubicBezTo>
                  <a:cubicBezTo>
                    <a:pt x="884120" y="55226"/>
                    <a:pt x="891235" y="59836"/>
                    <a:pt x="901894" y="65027"/>
                  </a:cubicBezTo>
                  <a:lnTo>
                    <a:pt x="922630" y="75124"/>
                  </a:lnTo>
                  <a:cubicBezTo>
                    <a:pt x="944842" y="85963"/>
                    <a:pt x="957139" y="100508"/>
                    <a:pt x="957139" y="120853"/>
                  </a:cubicBezTo>
                  <a:cubicBezTo>
                    <a:pt x="957139" y="154705"/>
                    <a:pt x="927364" y="172517"/>
                    <a:pt x="894045" y="172517"/>
                  </a:cubicBezTo>
                  <a:cubicBezTo>
                    <a:pt x="870347" y="172517"/>
                    <a:pt x="849325" y="164649"/>
                    <a:pt x="834962" y="148314"/>
                  </a:cubicBezTo>
                  <a:cubicBezTo>
                    <a:pt x="832971" y="146123"/>
                    <a:pt x="831856" y="143266"/>
                    <a:pt x="831847" y="140303"/>
                  </a:cubicBezTo>
                  <a:cubicBezTo>
                    <a:pt x="831847" y="131693"/>
                    <a:pt x="840581" y="123082"/>
                    <a:pt x="850363" y="123082"/>
                  </a:cubicBezTo>
                  <a:cubicBezTo>
                    <a:pt x="854507" y="123082"/>
                    <a:pt x="857907" y="125749"/>
                    <a:pt x="860870" y="128426"/>
                  </a:cubicBezTo>
                  <a:cubicBezTo>
                    <a:pt x="868718" y="135846"/>
                    <a:pt x="878500" y="142380"/>
                    <a:pt x="896560" y="142380"/>
                  </a:cubicBezTo>
                  <a:cubicBezTo>
                    <a:pt x="907523" y="142380"/>
                    <a:pt x="923373" y="138227"/>
                    <a:pt x="923373" y="123520"/>
                  </a:cubicBezTo>
                  <a:cubicBezTo>
                    <a:pt x="923373" y="115510"/>
                    <a:pt x="917743" y="109271"/>
                    <a:pt x="906780" y="104223"/>
                  </a:cubicBezTo>
                  <a:lnTo>
                    <a:pt x="885606" y="94126"/>
                  </a:lnTo>
                  <a:cubicBezTo>
                    <a:pt x="863394" y="83591"/>
                    <a:pt x="850363" y="71561"/>
                    <a:pt x="850363" y="49292"/>
                  </a:cubicBezTo>
                  <a:cubicBezTo>
                    <a:pt x="850363" y="18412"/>
                    <a:pt x="878643" y="0"/>
                    <a:pt x="911666" y="0"/>
                  </a:cubicBezTo>
                  <a:cubicBezTo>
                    <a:pt x="929592" y="0"/>
                    <a:pt x="947356" y="3715"/>
                    <a:pt x="962025" y="16631"/>
                  </a:cubicBezTo>
                  <a:cubicBezTo>
                    <a:pt x="964987" y="19155"/>
                    <a:pt x="967349" y="22565"/>
                    <a:pt x="967349" y="27165"/>
                  </a:cubicBezTo>
                  <a:cubicBezTo>
                    <a:pt x="967349" y="35785"/>
                    <a:pt x="958768" y="44396"/>
                    <a:pt x="950319" y="44396"/>
                  </a:cubicBezTo>
                  <a:cubicBezTo>
                    <a:pt x="946175" y="44396"/>
                    <a:pt x="942327" y="42167"/>
                    <a:pt x="940108" y="40529"/>
                  </a:cubicBezTo>
                  <a:cubicBezTo>
                    <a:pt x="931364" y="33699"/>
                    <a:pt x="921591" y="30290"/>
                    <a:pt x="909895" y="30290"/>
                  </a:cubicBezTo>
                  <a:lnTo>
                    <a:pt x="909742" y="30290"/>
                  </a:lnTo>
                  <a:close/>
                  <a:moveTo>
                    <a:pt x="1097232" y="1191"/>
                  </a:moveTo>
                  <a:cubicBezTo>
                    <a:pt x="1107005" y="1191"/>
                    <a:pt x="1110415" y="7572"/>
                    <a:pt x="1110415" y="14697"/>
                  </a:cubicBezTo>
                  <a:cubicBezTo>
                    <a:pt x="1110415" y="24051"/>
                    <a:pt x="1104491" y="32071"/>
                    <a:pt x="1091603" y="32071"/>
                  </a:cubicBezTo>
                  <a:lnTo>
                    <a:pt x="1031919" y="32071"/>
                  </a:lnTo>
                  <a:cubicBezTo>
                    <a:pt x="1030148" y="32071"/>
                    <a:pt x="1029557" y="32518"/>
                    <a:pt x="1029262" y="34300"/>
                  </a:cubicBezTo>
                  <a:lnTo>
                    <a:pt x="1024366" y="66065"/>
                  </a:lnTo>
                  <a:cubicBezTo>
                    <a:pt x="1024071" y="67847"/>
                    <a:pt x="1024366" y="68294"/>
                    <a:pt x="1026147" y="68294"/>
                  </a:cubicBezTo>
                  <a:lnTo>
                    <a:pt x="1077239" y="68294"/>
                  </a:lnTo>
                  <a:cubicBezTo>
                    <a:pt x="1087012" y="68294"/>
                    <a:pt x="1090422" y="74676"/>
                    <a:pt x="1090422" y="81801"/>
                  </a:cubicBezTo>
                  <a:cubicBezTo>
                    <a:pt x="1090422" y="91154"/>
                    <a:pt x="1084498" y="99174"/>
                    <a:pt x="1071610" y="99174"/>
                  </a:cubicBezTo>
                  <a:lnTo>
                    <a:pt x="1021261" y="99174"/>
                  </a:lnTo>
                  <a:cubicBezTo>
                    <a:pt x="1019480" y="99174"/>
                    <a:pt x="1019042" y="99622"/>
                    <a:pt x="1018746" y="101403"/>
                  </a:cubicBezTo>
                  <a:lnTo>
                    <a:pt x="1012822" y="138665"/>
                  </a:lnTo>
                  <a:cubicBezTo>
                    <a:pt x="1012527" y="140446"/>
                    <a:pt x="1012822" y="140894"/>
                    <a:pt x="1014594" y="140894"/>
                  </a:cubicBezTo>
                  <a:lnTo>
                    <a:pt x="1077392" y="140894"/>
                  </a:lnTo>
                  <a:cubicBezTo>
                    <a:pt x="1087165" y="140894"/>
                    <a:pt x="1090565" y="147276"/>
                    <a:pt x="1090565" y="154400"/>
                  </a:cubicBezTo>
                  <a:cubicBezTo>
                    <a:pt x="1090565" y="163754"/>
                    <a:pt x="1084650" y="171774"/>
                    <a:pt x="1071763" y="171774"/>
                  </a:cubicBezTo>
                  <a:lnTo>
                    <a:pt x="990162" y="171774"/>
                  </a:lnTo>
                  <a:cubicBezTo>
                    <a:pt x="980827" y="171774"/>
                    <a:pt x="976684" y="166583"/>
                    <a:pt x="978170" y="157372"/>
                  </a:cubicBezTo>
                  <a:lnTo>
                    <a:pt x="1000382" y="15888"/>
                  </a:lnTo>
                  <a:cubicBezTo>
                    <a:pt x="1001859" y="6534"/>
                    <a:pt x="1007040" y="1486"/>
                    <a:pt x="1016822" y="1486"/>
                  </a:cubicBezTo>
                  <a:lnTo>
                    <a:pt x="1097232" y="1486"/>
                  </a:lnTo>
                  <a:lnTo>
                    <a:pt x="1097232" y="1191"/>
                  </a:lnTo>
                  <a:close/>
                  <a:moveTo>
                    <a:pt x="1190682" y="108233"/>
                  </a:moveTo>
                  <a:cubicBezTo>
                    <a:pt x="1189644" y="106004"/>
                    <a:pt x="1189196" y="106004"/>
                    <a:pt x="1187272" y="106004"/>
                  </a:cubicBezTo>
                  <a:lnTo>
                    <a:pt x="1160469" y="106004"/>
                  </a:lnTo>
                  <a:cubicBezTo>
                    <a:pt x="1158688" y="106004"/>
                    <a:pt x="1157954" y="106451"/>
                    <a:pt x="1157802" y="108233"/>
                  </a:cubicBezTo>
                  <a:lnTo>
                    <a:pt x="1149810" y="159153"/>
                  </a:lnTo>
                  <a:cubicBezTo>
                    <a:pt x="1148029" y="169993"/>
                    <a:pt x="1141219" y="172669"/>
                    <a:pt x="1132037" y="172669"/>
                  </a:cubicBezTo>
                  <a:cubicBezTo>
                    <a:pt x="1125226" y="172669"/>
                    <a:pt x="1117816" y="170145"/>
                    <a:pt x="1117816" y="161677"/>
                  </a:cubicBezTo>
                  <a:cubicBezTo>
                    <a:pt x="1117816" y="160201"/>
                    <a:pt x="1118264" y="156486"/>
                    <a:pt x="1119007" y="152629"/>
                  </a:cubicBezTo>
                  <a:lnTo>
                    <a:pt x="1140771" y="15735"/>
                  </a:lnTo>
                  <a:cubicBezTo>
                    <a:pt x="1142257" y="6382"/>
                    <a:pt x="1147439" y="1333"/>
                    <a:pt x="1157211" y="1333"/>
                  </a:cubicBezTo>
                  <a:lnTo>
                    <a:pt x="1215857" y="1333"/>
                  </a:lnTo>
                  <a:cubicBezTo>
                    <a:pt x="1242222" y="1333"/>
                    <a:pt x="1260139" y="16335"/>
                    <a:pt x="1260139" y="43501"/>
                  </a:cubicBezTo>
                  <a:cubicBezTo>
                    <a:pt x="1260139" y="67999"/>
                    <a:pt x="1249175" y="92945"/>
                    <a:pt x="1224296" y="103184"/>
                  </a:cubicBezTo>
                  <a:cubicBezTo>
                    <a:pt x="1223115" y="103632"/>
                    <a:pt x="1222524" y="104223"/>
                    <a:pt x="1222524" y="104966"/>
                  </a:cubicBezTo>
                  <a:cubicBezTo>
                    <a:pt x="1222524" y="105413"/>
                    <a:pt x="1222820" y="106004"/>
                    <a:pt x="1222820" y="106004"/>
                  </a:cubicBezTo>
                  <a:lnTo>
                    <a:pt x="1242365" y="150847"/>
                  </a:lnTo>
                  <a:cubicBezTo>
                    <a:pt x="1243108" y="152771"/>
                    <a:pt x="1244879" y="155743"/>
                    <a:pt x="1244879" y="159458"/>
                  </a:cubicBezTo>
                  <a:cubicBezTo>
                    <a:pt x="1244879" y="168069"/>
                    <a:pt x="1233630" y="172964"/>
                    <a:pt x="1225782" y="172964"/>
                  </a:cubicBezTo>
                  <a:cubicBezTo>
                    <a:pt x="1220448" y="172964"/>
                    <a:pt x="1216743" y="170288"/>
                    <a:pt x="1214228" y="164354"/>
                  </a:cubicBezTo>
                  <a:lnTo>
                    <a:pt x="1190978" y="108528"/>
                  </a:lnTo>
                  <a:lnTo>
                    <a:pt x="1190682" y="108233"/>
                  </a:lnTo>
                  <a:close/>
                  <a:moveTo>
                    <a:pt x="1205046" y="75419"/>
                  </a:moveTo>
                  <a:cubicBezTo>
                    <a:pt x="1220448" y="75419"/>
                    <a:pt x="1226372" y="61017"/>
                    <a:pt x="1226372" y="49139"/>
                  </a:cubicBezTo>
                  <a:cubicBezTo>
                    <a:pt x="1226372" y="38310"/>
                    <a:pt x="1219562" y="31775"/>
                    <a:pt x="1209789" y="31775"/>
                  </a:cubicBezTo>
                  <a:lnTo>
                    <a:pt x="1172166" y="31775"/>
                  </a:lnTo>
                  <a:cubicBezTo>
                    <a:pt x="1170394" y="31775"/>
                    <a:pt x="1169651" y="32223"/>
                    <a:pt x="1169499" y="34004"/>
                  </a:cubicBezTo>
                  <a:lnTo>
                    <a:pt x="1163431" y="73200"/>
                  </a:lnTo>
                  <a:cubicBezTo>
                    <a:pt x="1163136" y="74981"/>
                    <a:pt x="1163726" y="75419"/>
                    <a:pt x="1165355" y="75419"/>
                  </a:cubicBezTo>
                  <a:lnTo>
                    <a:pt x="1205198" y="75419"/>
                  </a:lnTo>
                  <a:lnTo>
                    <a:pt x="1205046" y="75419"/>
                  </a:ln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7" name="Freeform: Shape 55">
              <a:extLst>
                <a:ext uri="{FF2B5EF4-FFF2-40B4-BE49-F238E27FC236}">
                  <a16:creationId xmlns:a16="http://schemas.microsoft.com/office/drawing/2014/main" id="{A1F740D2-2528-4277-B1FF-13EE8ADBCAA9}"/>
                </a:ext>
              </a:extLst>
            </p:cNvPr>
            <p:cNvSpPr/>
            <p:nvPr/>
          </p:nvSpPr>
          <p:spPr>
            <a:xfrm>
              <a:off x="4069517" y="3293373"/>
              <a:ext cx="1273016" cy="164201"/>
            </a:xfrm>
            <a:custGeom>
              <a:avLst/>
              <a:gdLst>
                <a:gd name="connsiteX0" fmla="*/ 76714 w 1273016"/>
                <a:gd name="connsiteY0" fmla="*/ 0 h 164201"/>
                <a:gd name="connsiteX1" fmla="*/ 127654 w 1273016"/>
                <a:gd name="connsiteY1" fmla="*/ 48254 h 164201"/>
                <a:gd name="connsiteX2" fmla="*/ 124701 w 1273016"/>
                <a:gd name="connsiteY2" fmla="*/ 82096 h 164201"/>
                <a:gd name="connsiteX3" fmla="*/ 50940 w 1273016"/>
                <a:gd name="connsiteY3" fmla="*/ 164201 h 164201"/>
                <a:gd name="connsiteX4" fmla="*/ 0 w 1273016"/>
                <a:gd name="connsiteY4" fmla="*/ 116396 h 164201"/>
                <a:gd name="connsiteX5" fmla="*/ 3258 w 1273016"/>
                <a:gd name="connsiteY5" fmla="*/ 82096 h 164201"/>
                <a:gd name="connsiteX6" fmla="*/ 76714 w 1273016"/>
                <a:gd name="connsiteY6" fmla="*/ 0 h 164201"/>
                <a:gd name="connsiteX7" fmla="*/ 96403 w 1273016"/>
                <a:gd name="connsiteY7" fmla="*/ 52702 h 164201"/>
                <a:gd name="connsiteX8" fmla="*/ 72266 w 1273016"/>
                <a:gd name="connsiteY8" fmla="*/ 28946 h 164201"/>
                <a:gd name="connsiteX9" fmla="*/ 34642 w 1273016"/>
                <a:gd name="connsiteY9" fmla="*/ 82096 h 164201"/>
                <a:gd name="connsiteX10" fmla="*/ 31099 w 1273016"/>
                <a:gd name="connsiteY10" fmla="*/ 111642 h 164201"/>
                <a:gd name="connsiteX11" fmla="*/ 55531 w 1273016"/>
                <a:gd name="connsiteY11" fmla="*/ 135255 h 164201"/>
                <a:gd name="connsiteX12" fmla="*/ 93155 w 1273016"/>
                <a:gd name="connsiteY12" fmla="*/ 82096 h 164201"/>
                <a:gd name="connsiteX13" fmla="*/ 96403 w 1273016"/>
                <a:gd name="connsiteY13" fmla="*/ 52702 h 164201"/>
                <a:gd name="connsiteX14" fmla="*/ 209398 w 1273016"/>
                <a:gd name="connsiteY14" fmla="*/ 28651 h 164201"/>
                <a:gd name="connsiteX15" fmla="*/ 184966 w 1273016"/>
                <a:gd name="connsiteY15" fmla="*/ 45729 h 164201"/>
                <a:gd name="connsiteX16" fmla="*/ 201997 w 1273016"/>
                <a:gd name="connsiteY16" fmla="*/ 61760 h 164201"/>
                <a:gd name="connsiteX17" fmla="*/ 221694 w 1273016"/>
                <a:gd name="connsiteY17" fmla="*/ 71266 h 164201"/>
                <a:gd name="connsiteX18" fmla="*/ 254422 w 1273016"/>
                <a:gd name="connsiteY18" fmla="*/ 114910 h 164201"/>
                <a:gd name="connsiteX19" fmla="*/ 194443 w 1273016"/>
                <a:gd name="connsiteY19" fmla="*/ 164049 h 164201"/>
                <a:gd name="connsiteX20" fmla="*/ 138170 w 1273016"/>
                <a:gd name="connsiteY20" fmla="*/ 141037 h 164201"/>
                <a:gd name="connsiteX21" fmla="*/ 135207 w 1273016"/>
                <a:gd name="connsiteY21" fmla="*/ 133321 h 164201"/>
                <a:gd name="connsiteX22" fmla="*/ 152829 w 1273016"/>
                <a:gd name="connsiteY22" fmla="*/ 116986 h 164201"/>
                <a:gd name="connsiteX23" fmla="*/ 162906 w 1273016"/>
                <a:gd name="connsiteY23" fmla="*/ 122187 h 164201"/>
                <a:gd name="connsiteX24" fmla="*/ 196815 w 1273016"/>
                <a:gd name="connsiteY24" fmla="*/ 135398 h 164201"/>
                <a:gd name="connsiteX25" fmla="*/ 222437 w 1273016"/>
                <a:gd name="connsiteY25" fmla="*/ 117434 h 164201"/>
                <a:gd name="connsiteX26" fmla="*/ 206588 w 1273016"/>
                <a:gd name="connsiteY26" fmla="*/ 99022 h 164201"/>
                <a:gd name="connsiteX27" fmla="*/ 186300 w 1273016"/>
                <a:gd name="connsiteY27" fmla="*/ 89525 h 164201"/>
                <a:gd name="connsiteX28" fmla="*/ 152829 w 1273016"/>
                <a:gd name="connsiteY28" fmla="*/ 46911 h 164201"/>
                <a:gd name="connsiteX29" fmla="*/ 211179 w 1273016"/>
                <a:gd name="connsiteY29" fmla="*/ 0 h 164201"/>
                <a:gd name="connsiteX30" fmla="*/ 259013 w 1273016"/>
                <a:gd name="connsiteY30" fmla="*/ 15888 h 164201"/>
                <a:gd name="connsiteX31" fmla="*/ 264195 w 1273016"/>
                <a:gd name="connsiteY31" fmla="*/ 25975 h 164201"/>
                <a:gd name="connsiteX32" fmla="*/ 247907 w 1273016"/>
                <a:gd name="connsiteY32" fmla="*/ 42310 h 164201"/>
                <a:gd name="connsiteX33" fmla="*/ 238135 w 1273016"/>
                <a:gd name="connsiteY33" fmla="*/ 38595 h 164201"/>
                <a:gd name="connsiteX34" fmla="*/ 209255 w 1273016"/>
                <a:gd name="connsiteY34" fmla="*/ 28804 h 164201"/>
                <a:gd name="connsiteX35" fmla="*/ 209398 w 1273016"/>
                <a:gd name="connsiteY35" fmla="*/ 28651 h 164201"/>
                <a:gd name="connsiteX36" fmla="*/ 291741 w 1273016"/>
                <a:gd name="connsiteY36" fmla="*/ 30289 h 164201"/>
                <a:gd name="connsiteX37" fmla="*/ 279454 w 1273016"/>
                <a:gd name="connsiteY37" fmla="*/ 17517 h 164201"/>
                <a:gd name="connsiteX38" fmla="*/ 295894 w 1273016"/>
                <a:gd name="connsiteY38" fmla="*/ 886 h 164201"/>
                <a:gd name="connsiteX39" fmla="*/ 385934 w 1273016"/>
                <a:gd name="connsiteY39" fmla="*/ 886 h 164201"/>
                <a:gd name="connsiteX40" fmla="*/ 398516 w 1273016"/>
                <a:gd name="connsiteY40" fmla="*/ 13659 h 164201"/>
                <a:gd name="connsiteX41" fmla="*/ 380600 w 1273016"/>
                <a:gd name="connsiteY41" fmla="*/ 30137 h 164201"/>
                <a:gd name="connsiteX42" fmla="*/ 353797 w 1273016"/>
                <a:gd name="connsiteY42" fmla="*/ 30137 h 164201"/>
                <a:gd name="connsiteX43" fmla="*/ 351425 w 1273016"/>
                <a:gd name="connsiteY43" fmla="*/ 32214 h 164201"/>
                <a:gd name="connsiteX44" fmla="*/ 332613 w 1273016"/>
                <a:gd name="connsiteY44" fmla="*/ 151133 h 164201"/>
                <a:gd name="connsiteX45" fmla="*/ 315582 w 1273016"/>
                <a:gd name="connsiteY45" fmla="*/ 163906 h 164201"/>
                <a:gd name="connsiteX46" fmla="*/ 302114 w 1273016"/>
                <a:gd name="connsiteY46" fmla="*/ 153362 h 164201"/>
                <a:gd name="connsiteX47" fmla="*/ 303295 w 1273016"/>
                <a:gd name="connsiteY47" fmla="*/ 144751 h 164201"/>
                <a:gd name="connsiteX48" fmla="*/ 321212 w 1273016"/>
                <a:gd name="connsiteY48" fmla="*/ 32214 h 164201"/>
                <a:gd name="connsiteX49" fmla="*/ 319288 w 1273016"/>
                <a:gd name="connsiteY49" fmla="*/ 30137 h 164201"/>
                <a:gd name="connsiteX50" fmla="*/ 291598 w 1273016"/>
                <a:gd name="connsiteY50" fmla="*/ 30137 h 164201"/>
                <a:gd name="connsiteX51" fmla="*/ 291741 w 1273016"/>
                <a:gd name="connsiteY51" fmla="*/ 30289 h 164201"/>
                <a:gd name="connsiteX52" fmla="*/ 421472 w 1273016"/>
                <a:gd name="connsiteY52" fmla="*/ 14697 h 164201"/>
                <a:gd name="connsiteX53" fmla="*/ 437026 w 1273016"/>
                <a:gd name="connsiteY53" fmla="*/ 886 h 164201"/>
                <a:gd name="connsiteX54" fmla="*/ 488861 w 1273016"/>
                <a:gd name="connsiteY54" fmla="*/ 886 h 164201"/>
                <a:gd name="connsiteX55" fmla="*/ 533286 w 1273016"/>
                <a:gd name="connsiteY55" fmla="*/ 39786 h 164201"/>
                <a:gd name="connsiteX56" fmla="*/ 515807 w 1273016"/>
                <a:gd name="connsiteY56" fmla="*/ 77353 h 164201"/>
                <a:gd name="connsiteX57" fmla="*/ 513436 w 1273016"/>
                <a:gd name="connsiteY57" fmla="*/ 80172 h 164201"/>
                <a:gd name="connsiteX58" fmla="*/ 515064 w 1273016"/>
                <a:gd name="connsiteY58" fmla="*/ 82696 h 164201"/>
                <a:gd name="connsiteX59" fmla="*/ 526180 w 1273016"/>
                <a:gd name="connsiteY59" fmla="*/ 110014 h 164201"/>
                <a:gd name="connsiteX60" fmla="*/ 467982 w 1273016"/>
                <a:gd name="connsiteY60" fmla="*/ 163163 h 164201"/>
                <a:gd name="connsiteX61" fmla="*/ 411699 w 1273016"/>
                <a:gd name="connsiteY61" fmla="*/ 163163 h 164201"/>
                <a:gd name="connsiteX62" fmla="*/ 400002 w 1273016"/>
                <a:gd name="connsiteY62" fmla="*/ 149352 h 164201"/>
                <a:gd name="connsiteX63" fmla="*/ 421176 w 1273016"/>
                <a:gd name="connsiteY63" fmla="*/ 14545 h 164201"/>
                <a:gd name="connsiteX64" fmla="*/ 421472 w 1273016"/>
                <a:gd name="connsiteY64" fmla="*/ 14697 h 164201"/>
                <a:gd name="connsiteX65" fmla="*/ 441017 w 1273016"/>
                <a:gd name="connsiteY65" fmla="*/ 96355 h 164201"/>
                <a:gd name="connsiteX66" fmla="*/ 438502 w 1273016"/>
                <a:gd name="connsiteY66" fmla="*/ 98431 h 164201"/>
                <a:gd name="connsiteX67" fmla="*/ 433321 w 1273016"/>
                <a:gd name="connsiteY67" fmla="*/ 131836 h 164201"/>
                <a:gd name="connsiteX68" fmla="*/ 434950 w 1273016"/>
                <a:gd name="connsiteY68" fmla="*/ 133912 h 164201"/>
                <a:gd name="connsiteX69" fmla="*/ 473307 w 1273016"/>
                <a:gd name="connsiteY69" fmla="*/ 133912 h 164201"/>
                <a:gd name="connsiteX70" fmla="*/ 494481 w 1273016"/>
                <a:gd name="connsiteY70" fmla="*/ 112681 h 164201"/>
                <a:gd name="connsiteX71" fmla="*/ 478641 w 1273016"/>
                <a:gd name="connsiteY71" fmla="*/ 96355 h 164201"/>
                <a:gd name="connsiteX72" fmla="*/ 441017 w 1273016"/>
                <a:gd name="connsiteY72" fmla="*/ 96355 h 164201"/>
                <a:gd name="connsiteX73" fmla="*/ 480565 w 1273016"/>
                <a:gd name="connsiteY73" fmla="*/ 66951 h 164201"/>
                <a:gd name="connsiteX74" fmla="*/ 501301 w 1273016"/>
                <a:gd name="connsiteY74" fmla="*/ 44987 h 164201"/>
                <a:gd name="connsiteX75" fmla="*/ 485746 w 1273016"/>
                <a:gd name="connsiteY75" fmla="*/ 30289 h 164201"/>
                <a:gd name="connsiteX76" fmla="*/ 451533 w 1273016"/>
                <a:gd name="connsiteY76" fmla="*/ 30289 h 164201"/>
                <a:gd name="connsiteX77" fmla="*/ 449018 w 1273016"/>
                <a:gd name="connsiteY77" fmla="*/ 32366 h 164201"/>
                <a:gd name="connsiteX78" fmla="*/ 443836 w 1273016"/>
                <a:gd name="connsiteY78" fmla="*/ 64732 h 164201"/>
                <a:gd name="connsiteX79" fmla="*/ 445760 w 1273016"/>
                <a:gd name="connsiteY79" fmla="*/ 66808 h 164201"/>
                <a:gd name="connsiteX80" fmla="*/ 480565 w 1273016"/>
                <a:gd name="connsiteY80" fmla="*/ 66808 h 164201"/>
                <a:gd name="connsiteX81" fmla="*/ 480565 w 1273016"/>
                <a:gd name="connsiteY81" fmla="*/ 66951 h 164201"/>
                <a:gd name="connsiteX82" fmla="*/ 660797 w 1273016"/>
                <a:gd name="connsiteY82" fmla="*/ 886 h 164201"/>
                <a:gd name="connsiteX83" fmla="*/ 673379 w 1273016"/>
                <a:gd name="connsiteY83" fmla="*/ 13659 h 164201"/>
                <a:gd name="connsiteX84" fmla="*/ 655463 w 1273016"/>
                <a:gd name="connsiteY84" fmla="*/ 30137 h 164201"/>
                <a:gd name="connsiteX85" fmla="*/ 598742 w 1273016"/>
                <a:gd name="connsiteY85" fmla="*/ 30137 h 164201"/>
                <a:gd name="connsiteX86" fmla="*/ 596227 w 1273016"/>
                <a:gd name="connsiteY86" fmla="*/ 32214 h 164201"/>
                <a:gd name="connsiteX87" fmla="*/ 591636 w 1273016"/>
                <a:gd name="connsiteY87" fmla="*/ 62503 h 164201"/>
                <a:gd name="connsiteX88" fmla="*/ 593265 w 1273016"/>
                <a:gd name="connsiteY88" fmla="*/ 64579 h 164201"/>
                <a:gd name="connsiteX89" fmla="*/ 641842 w 1273016"/>
                <a:gd name="connsiteY89" fmla="*/ 64579 h 164201"/>
                <a:gd name="connsiteX90" fmla="*/ 654425 w 1273016"/>
                <a:gd name="connsiteY90" fmla="*/ 77353 h 164201"/>
                <a:gd name="connsiteX91" fmla="*/ 636508 w 1273016"/>
                <a:gd name="connsiteY91" fmla="*/ 93974 h 164201"/>
                <a:gd name="connsiteX92" fmla="*/ 588674 w 1273016"/>
                <a:gd name="connsiteY92" fmla="*/ 93974 h 164201"/>
                <a:gd name="connsiteX93" fmla="*/ 586302 w 1273016"/>
                <a:gd name="connsiteY93" fmla="*/ 96060 h 164201"/>
                <a:gd name="connsiteX94" fmla="*/ 580682 w 1273016"/>
                <a:gd name="connsiteY94" fmla="*/ 131540 h 164201"/>
                <a:gd name="connsiteX95" fmla="*/ 582301 w 1273016"/>
                <a:gd name="connsiteY95" fmla="*/ 133617 h 164201"/>
                <a:gd name="connsiteX96" fmla="*/ 642137 w 1273016"/>
                <a:gd name="connsiteY96" fmla="*/ 133617 h 164201"/>
                <a:gd name="connsiteX97" fmla="*/ 654720 w 1273016"/>
                <a:gd name="connsiteY97" fmla="*/ 146390 h 164201"/>
                <a:gd name="connsiteX98" fmla="*/ 636803 w 1273016"/>
                <a:gd name="connsiteY98" fmla="*/ 163011 h 164201"/>
                <a:gd name="connsiteX99" fmla="*/ 559203 w 1273016"/>
                <a:gd name="connsiteY99" fmla="*/ 163011 h 164201"/>
                <a:gd name="connsiteX100" fmla="*/ 547802 w 1273016"/>
                <a:gd name="connsiteY100" fmla="*/ 149209 h 164201"/>
                <a:gd name="connsiteX101" fmla="*/ 568976 w 1273016"/>
                <a:gd name="connsiteY101" fmla="*/ 14402 h 164201"/>
                <a:gd name="connsiteX102" fmla="*/ 584530 w 1273016"/>
                <a:gd name="connsiteY102" fmla="*/ 591 h 164201"/>
                <a:gd name="connsiteX103" fmla="*/ 661092 w 1273016"/>
                <a:gd name="connsiteY103" fmla="*/ 591 h 164201"/>
                <a:gd name="connsiteX104" fmla="*/ 660797 w 1273016"/>
                <a:gd name="connsiteY104" fmla="*/ 886 h 164201"/>
                <a:gd name="connsiteX105" fmla="*/ 691601 w 1273016"/>
                <a:gd name="connsiteY105" fmla="*/ 163163 h 164201"/>
                <a:gd name="connsiteX106" fmla="*/ 680495 w 1273016"/>
                <a:gd name="connsiteY106" fmla="*/ 149352 h 164201"/>
                <a:gd name="connsiteX107" fmla="*/ 702116 w 1273016"/>
                <a:gd name="connsiteY107" fmla="*/ 12763 h 164201"/>
                <a:gd name="connsiteX108" fmla="*/ 719147 w 1273016"/>
                <a:gd name="connsiteY108" fmla="*/ 0 h 164201"/>
                <a:gd name="connsiteX109" fmla="*/ 732625 w 1273016"/>
                <a:gd name="connsiteY109" fmla="*/ 10535 h 164201"/>
                <a:gd name="connsiteX110" fmla="*/ 731434 w 1273016"/>
                <a:gd name="connsiteY110" fmla="*/ 19145 h 164201"/>
                <a:gd name="connsiteX111" fmla="*/ 713518 w 1273016"/>
                <a:gd name="connsiteY111" fmla="*/ 131683 h 164201"/>
                <a:gd name="connsiteX112" fmla="*/ 715299 w 1273016"/>
                <a:gd name="connsiteY112" fmla="*/ 133769 h 164201"/>
                <a:gd name="connsiteX113" fmla="*/ 763867 w 1273016"/>
                <a:gd name="connsiteY113" fmla="*/ 133769 h 164201"/>
                <a:gd name="connsiteX114" fmla="*/ 776459 w 1273016"/>
                <a:gd name="connsiteY114" fmla="*/ 146533 h 164201"/>
                <a:gd name="connsiteX115" fmla="*/ 758543 w 1273016"/>
                <a:gd name="connsiteY115" fmla="*/ 163163 h 164201"/>
                <a:gd name="connsiteX116" fmla="*/ 691601 w 1273016"/>
                <a:gd name="connsiteY116" fmla="*/ 163163 h 164201"/>
                <a:gd name="connsiteX117" fmla="*/ 798824 w 1273016"/>
                <a:gd name="connsiteY117" fmla="*/ 82096 h 164201"/>
                <a:gd name="connsiteX118" fmla="*/ 872576 w 1273016"/>
                <a:gd name="connsiteY118" fmla="*/ 0 h 164201"/>
                <a:gd name="connsiteX119" fmla="*/ 910628 w 1273016"/>
                <a:gd name="connsiteY119" fmla="*/ 11878 h 164201"/>
                <a:gd name="connsiteX120" fmla="*/ 916410 w 1273016"/>
                <a:gd name="connsiteY120" fmla="*/ 22412 h 164201"/>
                <a:gd name="connsiteX121" fmla="*/ 898931 w 1273016"/>
                <a:gd name="connsiteY121" fmla="*/ 40081 h 164201"/>
                <a:gd name="connsiteX122" fmla="*/ 891673 w 1273016"/>
                <a:gd name="connsiteY122" fmla="*/ 37709 h 164201"/>
                <a:gd name="connsiteX123" fmla="*/ 867680 w 1273016"/>
                <a:gd name="connsiteY123" fmla="*/ 28804 h 164201"/>
                <a:gd name="connsiteX124" fmla="*/ 830066 w 1273016"/>
                <a:gd name="connsiteY124" fmla="*/ 81953 h 164201"/>
                <a:gd name="connsiteX125" fmla="*/ 826513 w 1273016"/>
                <a:gd name="connsiteY125" fmla="*/ 111500 h 164201"/>
                <a:gd name="connsiteX126" fmla="*/ 850954 w 1273016"/>
                <a:gd name="connsiteY126" fmla="*/ 135103 h 164201"/>
                <a:gd name="connsiteX127" fmla="*/ 883682 w 1273016"/>
                <a:gd name="connsiteY127" fmla="*/ 107194 h 164201"/>
                <a:gd name="connsiteX128" fmla="*/ 885015 w 1273016"/>
                <a:gd name="connsiteY128" fmla="*/ 98279 h 164201"/>
                <a:gd name="connsiteX129" fmla="*/ 883387 w 1273016"/>
                <a:gd name="connsiteY129" fmla="*/ 96202 h 164201"/>
                <a:gd name="connsiteX130" fmla="*/ 869909 w 1273016"/>
                <a:gd name="connsiteY130" fmla="*/ 96202 h 164201"/>
                <a:gd name="connsiteX131" fmla="*/ 857612 w 1273016"/>
                <a:gd name="connsiteY131" fmla="*/ 83439 h 164201"/>
                <a:gd name="connsiteX132" fmla="*/ 873900 w 1273016"/>
                <a:gd name="connsiteY132" fmla="*/ 67104 h 164201"/>
                <a:gd name="connsiteX133" fmla="*/ 907666 w 1273016"/>
                <a:gd name="connsiteY133" fmla="*/ 67104 h 164201"/>
                <a:gd name="connsiteX134" fmla="*/ 917886 w 1273016"/>
                <a:gd name="connsiteY134" fmla="*/ 79429 h 164201"/>
                <a:gd name="connsiteX135" fmla="*/ 913448 w 1273016"/>
                <a:gd name="connsiteY135" fmla="*/ 107337 h 164201"/>
                <a:gd name="connsiteX136" fmla="*/ 846211 w 1273016"/>
                <a:gd name="connsiteY136" fmla="*/ 164049 h 164201"/>
                <a:gd name="connsiteX137" fmla="*/ 795261 w 1273016"/>
                <a:gd name="connsiteY137" fmla="*/ 116243 h 164201"/>
                <a:gd name="connsiteX138" fmla="*/ 798528 w 1273016"/>
                <a:gd name="connsiteY138" fmla="*/ 81953 h 164201"/>
                <a:gd name="connsiteX139" fmla="*/ 798824 w 1273016"/>
                <a:gd name="connsiteY139" fmla="*/ 82096 h 164201"/>
                <a:gd name="connsiteX140" fmla="*/ 963206 w 1273016"/>
                <a:gd name="connsiteY140" fmla="*/ 151286 h 164201"/>
                <a:gd name="connsiteX141" fmla="*/ 946175 w 1273016"/>
                <a:gd name="connsiteY141" fmla="*/ 164049 h 164201"/>
                <a:gd name="connsiteX142" fmla="*/ 932698 w 1273016"/>
                <a:gd name="connsiteY142" fmla="*/ 153514 h 164201"/>
                <a:gd name="connsiteX143" fmla="*/ 933879 w 1273016"/>
                <a:gd name="connsiteY143" fmla="*/ 144904 h 164201"/>
                <a:gd name="connsiteX144" fmla="*/ 955062 w 1273016"/>
                <a:gd name="connsiteY144" fmla="*/ 12763 h 164201"/>
                <a:gd name="connsiteX145" fmla="*/ 972093 w 1273016"/>
                <a:gd name="connsiteY145" fmla="*/ 0 h 164201"/>
                <a:gd name="connsiteX146" fmla="*/ 985571 w 1273016"/>
                <a:gd name="connsiteY146" fmla="*/ 10535 h 164201"/>
                <a:gd name="connsiteX147" fmla="*/ 984390 w 1273016"/>
                <a:gd name="connsiteY147" fmla="*/ 19145 h 164201"/>
                <a:gd name="connsiteX148" fmla="*/ 963206 w 1273016"/>
                <a:gd name="connsiteY148" fmla="*/ 151286 h 164201"/>
                <a:gd name="connsiteX149" fmla="*/ 1111596 w 1273016"/>
                <a:gd name="connsiteY149" fmla="*/ 886 h 164201"/>
                <a:gd name="connsiteX150" fmla="*/ 1124188 w 1273016"/>
                <a:gd name="connsiteY150" fmla="*/ 13659 h 164201"/>
                <a:gd name="connsiteX151" fmla="*/ 1106262 w 1273016"/>
                <a:gd name="connsiteY151" fmla="*/ 30137 h 164201"/>
                <a:gd name="connsiteX152" fmla="*/ 1049541 w 1273016"/>
                <a:gd name="connsiteY152" fmla="*/ 30137 h 164201"/>
                <a:gd name="connsiteX153" fmla="*/ 1047026 w 1273016"/>
                <a:gd name="connsiteY153" fmla="*/ 32214 h 164201"/>
                <a:gd name="connsiteX154" fmla="*/ 1042435 w 1273016"/>
                <a:gd name="connsiteY154" fmla="*/ 62503 h 164201"/>
                <a:gd name="connsiteX155" fmla="*/ 1044064 w 1273016"/>
                <a:gd name="connsiteY155" fmla="*/ 64579 h 164201"/>
                <a:gd name="connsiteX156" fmla="*/ 1092641 w 1273016"/>
                <a:gd name="connsiteY156" fmla="*/ 64579 h 164201"/>
                <a:gd name="connsiteX157" fmla="*/ 1105224 w 1273016"/>
                <a:gd name="connsiteY157" fmla="*/ 77353 h 164201"/>
                <a:gd name="connsiteX158" fmla="*/ 1087307 w 1273016"/>
                <a:gd name="connsiteY158" fmla="*/ 93974 h 164201"/>
                <a:gd name="connsiteX159" fmla="*/ 1039473 w 1273016"/>
                <a:gd name="connsiteY159" fmla="*/ 93974 h 164201"/>
                <a:gd name="connsiteX160" fmla="*/ 1037101 w 1273016"/>
                <a:gd name="connsiteY160" fmla="*/ 96060 h 164201"/>
                <a:gd name="connsiteX161" fmla="*/ 1031472 w 1273016"/>
                <a:gd name="connsiteY161" fmla="*/ 131540 h 164201"/>
                <a:gd name="connsiteX162" fmla="*/ 1033101 w 1273016"/>
                <a:gd name="connsiteY162" fmla="*/ 133617 h 164201"/>
                <a:gd name="connsiteX163" fmla="*/ 1092937 w 1273016"/>
                <a:gd name="connsiteY163" fmla="*/ 133617 h 164201"/>
                <a:gd name="connsiteX164" fmla="*/ 1105519 w 1273016"/>
                <a:gd name="connsiteY164" fmla="*/ 146390 h 164201"/>
                <a:gd name="connsiteX165" fmla="*/ 1087603 w 1273016"/>
                <a:gd name="connsiteY165" fmla="*/ 163011 h 164201"/>
                <a:gd name="connsiteX166" fmla="*/ 1010003 w 1273016"/>
                <a:gd name="connsiteY166" fmla="*/ 163011 h 164201"/>
                <a:gd name="connsiteX167" fmla="*/ 998601 w 1273016"/>
                <a:gd name="connsiteY167" fmla="*/ 149209 h 164201"/>
                <a:gd name="connsiteX168" fmla="*/ 1019775 w 1273016"/>
                <a:gd name="connsiteY168" fmla="*/ 14402 h 164201"/>
                <a:gd name="connsiteX169" fmla="*/ 1035329 w 1273016"/>
                <a:gd name="connsiteY169" fmla="*/ 591 h 164201"/>
                <a:gd name="connsiteX170" fmla="*/ 1111891 w 1273016"/>
                <a:gd name="connsiteY170" fmla="*/ 591 h 164201"/>
                <a:gd name="connsiteX171" fmla="*/ 1111596 w 1273016"/>
                <a:gd name="connsiteY171" fmla="*/ 886 h 164201"/>
                <a:gd name="connsiteX172" fmla="*/ 1242508 w 1273016"/>
                <a:gd name="connsiteY172" fmla="*/ 12763 h 164201"/>
                <a:gd name="connsiteX173" fmla="*/ 1259538 w 1273016"/>
                <a:gd name="connsiteY173" fmla="*/ 0 h 164201"/>
                <a:gd name="connsiteX174" fmla="*/ 1273016 w 1273016"/>
                <a:gd name="connsiteY174" fmla="*/ 10535 h 164201"/>
                <a:gd name="connsiteX175" fmla="*/ 1271835 w 1273016"/>
                <a:gd name="connsiteY175" fmla="*/ 19145 h 164201"/>
                <a:gd name="connsiteX176" fmla="*/ 1251547 w 1273016"/>
                <a:gd name="connsiteY176" fmla="*/ 145942 h 164201"/>
                <a:gd name="connsiteX177" fmla="*/ 1233183 w 1273016"/>
                <a:gd name="connsiteY177" fmla="*/ 164049 h 164201"/>
                <a:gd name="connsiteX178" fmla="*/ 1213933 w 1273016"/>
                <a:gd name="connsiteY178" fmla="*/ 146828 h 164201"/>
                <a:gd name="connsiteX179" fmla="*/ 1178833 w 1273016"/>
                <a:gd name="connsiteY179" fmla="*/ 65027 h 164201"/>
                <a:gd name="connsiteX180" fmla="*/ 1176461 w 1273016"/>
                <a:gd name="connsiteY180" fmla="*/ 62503 h 164201"/>
                <a:gd name="connsiteX181" fmla="*/ 1175128 w 1273016"/>
                <a:gd name="connsiteY181" fmla="*/ 65027 h 164201"/>
                <a:gd name="connsiteX182" fmla="*/ 1161355 w 1273016"/>
                <a:gd name="connsiteY182" fmla="*/ 151286 h 164201"/>
                <a:gd name="connsiteX183" fmla="*/ 1144324 w 1273016"/>
                <a:gd name="connsiteY183" fmla="*/ 164049 h 164201"/>
                <a:gd name="connsiteX184" fmla="*/ 1130846 w 1273016"/>
                <a:gd name="connsiteY184" fmla="*/ 153514 h 164201"/>
                <a:gd name="connsiteX185" fmla="*/ 1132037 w 1273016"/>
                <a:gd name="connsiteY185" fmla="*/ 144904 h 164201"/>
                <a:gd name="connsiteX186" fmla="*/ 1152325 w 1273016"/>
                <a:gd name="connsiteY186" fmla="*/ 18107 h 164201"/>
                <a:gd name="connsiteX187" fmla="*/ 1170689 w 1273016"/>
                <a:gd name="connsiteY187" fmla="*/ 0 h 164201"/>
                <a:gd name="connsiteX188" fmla="*/ 1189939 w 1273016"/>
                <a:gd name="connsiteY188" fmla="*/ 17221 h 164201"/>
                <a:gd name="connsiteX189" fmla="*/ 1225039 w 1273016"/>
                <a:gd name="connsiteY189" fmla="*/ 99022 h 164201"/>
                <a:gd name="connsiteX190" fmla="*/ 1227401 w 1273016"/>
                <a:gd name="connsiteY190" fmla="*/ 101403 h 164201"/>
                <a:gd name="connsiteX191" fmla="*/ 1228735 w 1273016"/>
                <a:gd name="connsiteY191" fmla="*/ 99022 h 164201"/>
                <a:gd name="connsiteX192" fmla="*/ 1242508 w 1273016"/>
                <a:gd name="connsiteY192" fmla="*/ 12763 h 16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273016" h="164201">
                  <a:moveTo>
                    <a:pt x="76714" y="0"/>
                  </a:moveTo>
                  <a:cubicBezTo>
                    <a:pt x="108547" y="0"/>
                    <a:pt x="127654" y="13802"/>
                    <a:pt x="127654" y="48254"/>
                  </a:cubicBezTo>
                  <a:cubicBezTo>
                    <a:pt x="127654" y="57750"/>
                    <a:pt x="126473" y="69180"/>
                    <a:pt x="124701" y="82096"/>
                  </a:cubicBezTo>
                  <a:cubicBezTo>
                    <a:pt x="116986" y="131988"/>
                    <a:pt x="107509" y="164201"/>
                    <a:pt x="50940" y="164201"/>
                  </a:cubicBezTo>
                  <a:cubicBezTo>
                    <a:pt x="19841" y="164201"/>
                    <a:pt x="0" y="151133"/>
                    <a:pt x="0" y="116396"/>
                  </a:cubicBezTo>
                  <a:cubicBezTo>
                    <a:pt x="0" y="106594"/>
                    <a:pt x="1181" y="95164"/>
                    <a:pt x="3258" y="82096"/>
                  </a:cubicBezTo>
                  <a:cubicBezTo>
                    <a:pt x="10659" y="34595"/>
                    <a:pt x="20879" y="0"/>
                    <a:pt x="76714" y="0"/>
                  </a:cubicBezTo>
                  <a:close/>
                  <a:moveTo>
                    <a:pt x="96403" y="52702"/>
                  </a:moveTo>
                  <a:cubicBezTo>
                    <a:pt x="96403" y="37262"/>
                    <a:pt x="87821" y="28946"/>
                    <a:pt x="72266" y="28946"/>
                  </a:cubicBezTo>
                  <a:cubicBezTo>
                    <a:pt x="40577" y="28946"/>
                    <a:pt x="38795" y="60122"/>
                    <a:pt x="34642" y="82096"/>
                  </a:cubicBezTo>
                  <a:cubicBezTo>
                    <a:pt x="32280" y="93974"/>
                    <a:pt x="31099" y="103775"/>
                    <a:pt x="31099" y="111642"/>
                  </a:cubicBezTo>
                  <a:cubicBezTo>
                    <a:pt x="31099" y="128273"/>
                    <a:pt x="38052" y="135255"/>
                    <a:pt x="55531" y="135255"/>
                  </a:cubicBezTo>
                  <a:cubicBezTo>
                    <a:pt x="84563" y="135255"/>
                    <a:pt x="88849" y="112681"/>
                    <a:pt x="93155" y="82096"/>
                  </a:cubicBezTo>
                  <a:cubicBezTo>
                    <a:pt x="94774" y="70371"/>
                    <a:pt x="96403" y="60569"/>
                    <a:pt x="96403" y="52702"/>
                  </a:cubicBezTo>
                  <a:close/>
                  <a:moveTo>
                    <a:pt x="209398" y="28651"/>
                  </a:moveTo>
                  <a:cubicBezTo>
                    <a:pt x="200073" y="28651"/>
                    <a:pt x="184966" y="32366"/>
                    <a:pt x="184966" y="45729"/>
                  </a:cubicBezTo>
                  <a:cubicBezTo>
                    <a:pt x="184966" y="52559"/>
                    <a:pt x="191776" y="56864"/>
                    <a:pt x="201997" y="61760"/>
                  </a:cubicBezTo>
                  <a:lnTo>
                    <a:pt x="221694" y="71266"/>
                  </a:lnTo>
                  <a:cubicBezTo>
                    <a:pt x="242869" y="81505"/>
                    <a:pt x="254422" y="95460"/>
                    <a:pt x="254422" y="114910"/>
                  </a:cubicBezTo>
                  <a:cubicBezTo>
                    <a:pt x="254422" y="147123"/>
                    <a:pt x="225990" y="164049"/>
                    <a:pt x="194443" y="164049"/>
                  </a:cubicBezTo>
                  <a:cubicBezTo>
                    <a:pt x="171936" y="164049"/>
                    <a:pt x="151943" y="156629"/>
                    <a:pt x="138170" y="141037"/>
                  </a:cubicBezTo>
                  <a:cubicBezTo>
                    <a:pt x="136208" y="138951"/>
                    <a:pt x="135144" y="136179"/>
                    <a:pt x="135207" y="133321"/>
                  </a:cubicBezTo>
                  <a:cubicBezTo>
                    <a:pt x="135207" y="125158"/>
                    <a:pt x="143647" y="116986"/>
                    <a:pt x="152829" y="116986"/>
                  </a:cubicBezTo>
                  <a:cubicBezTo>
                    <a:pt x="156829" y="116986"/>
                    <a:pt x="160087" y="119510"/>
                    <a:pt x="162906" y="122187"/>
                  </a:cubicBezTo>
                  <a:cubicBezTo>
                    <a:pt x="170307" y="129159"/>
                    <a:pt x="179632" y="135398"/>
                    <a:pt x="196815" y="135398"/>
                  </a:cubicBezTo>
                  <a:cubicBezTo>
                    <a:pt x="207331" y="135398"/>
                    <a:pt x="222437" y="131388"/>
                    <a:pt x="222437" y="117434"/>
                  </a:cubicBezTo>
                  <a:cubicBezTo>
                    <a:pt x="222437" y="109718"/>
                    <a:pt x="217103" y="103927"/>
                    <a:pt x="206588" y="99022"/>
                  </a:cubicBezTo>
                  <a:lnTo>
                    <a:pt x="186300" y="89525"/>
                  </a:lnTo>
                  <a:cubicBezTo>
                    <a:pt x="165125" y="79572"/>
                    <a:pt x="152829" y="68142"/>
                    <a:pt x="152829" y="46911"/>
                  </a:cubicBezTo>
                  <a:cubicBezTo>
                    <a:pt x="152829" y="17517"/>
                    <a:pt x="179784" y="0"/>
                    <a:pt x="211179" y="0"/>
                  </a:cubicBezTo>
                  <a:cubicBezTo>
                    <a:pt x="228210" y="0"/>
                    <a:pt x="245088" y="3562"/>
                    <a:pt x="259013" y="15888"/>
                  </a:cubicBezTo>
                  <a:cubicBezTo>
                    <a:pt x="261833" y="18259"/>
                    <a:pt x="264195" y="21526"/>
                    <a:pt x="264195" y="25975"/>
                  </a:cubicBezTo>
                  <a:cubicBezTo>
                    <a:pt x="264195" y="34147"/>
                    <a:pt x="256051" y="42310"/>
                    <a:pt x="247907" y="42310"/>
                  </a:cubicBezTo>
                  <a:cubicBezTo>
                    <a:pt x="243907" y="42310"/>
                    <a:pt x="240211" y="40234"/>
                    <a:pt x="238135" y="38595"/>
                  </a:cubicBezTo>
                  <a:cubicBezTo>
                    <a:pt x="229848" y="32071"/>
                    <a:pt x="220513" y="28804"/>
                    <a:pt x="209255" y="28804"/>
                  </a:cubicBezTo>
                  <a:lnTo>
                    <a:pt x="209398" y="28651"/>
                  </a:lnTo>
                  <a:close/>
                  <a:moveTo>
                    <a:pt x="291741" y="30289"/>
                  </a:moveTo>
                  <a:cubicBezTo>
                    <a:pt x="282712" y="30289"/>
                    <a:pt x="279454" y="24193"/>
                    <a:pt x="279454" y="17517"/>
                  </a:cubicBezTo>
                  <a:cubicBezTo>
                    <a:pt x="279454" y="8611"/>
                    <a:pt x="285074" y="886"/>
                    <a:pt x="295894" y="886"/>
                  </a:cubicBezTo>
                  <a:lnTo>
                    <a:pt x="385934" y="886"/>
                  </a:lnTo>
                  <a:cubicBezTo>
                    <a:pt x="395269" y="886"/>
                    <a:pt x="398516" y="6972"/>
                    <a:pt x="398516" y="13659"/>
                  </a:cubicBezTo>
                  <a:cubicBezTo>
                    <a:pt x="398516" y="22565"/>
                    <a:pt x="392897" y="30137"/>
                    <a:pt x="380600" y="30137"/>
                  </a:cubicBezTo>
                  <a:lnTo>
                    <a:pt x="353797" y="30137"/>
                  </a:lnTo>
                  <a:cubicBezTo>
                    <a:pt x="352463" y="30137"/>
                    <a:pt x="351720" y="30585"/>
                    <a:pt x="351425" y="32214"/>
                  </a:cubicBezTo>
                  <a:lnTo>
                    <a:pt x="332613" y="151133"/>
                  </a:lnTo>
                  <a:cubicBezTo>
                    <a:pt x="330994" y="161382"/>
                    <a:pt x="324469" y="163906"/>
                    <a:pt x="315582" y="163906"/>
                  </a:cubicBezTo>
                  <a:cubicBezTo>
                    <a:pt x="309067" y="163906"/>
                    <a:pt x="302114" y="161525"/>
                    <a:pt x="302114" y="153362"/>
                  </a:cubicBezTo>
                  <a:cubicBezTo>
                    <a:pt x="302114" y="152029"/>
                    <a:pt x="302552" y="148466"/>
                    <a:pt x="303295" y="144751"/>
                  </a:cubicBezTo>
                  <a:lnTo>
                    <a:pt x="321212" y="32214"/>
                  </a:lnTo>
                  <a:cubicBezTo>
                    <a:pt x="321507" y="30585"/>
                    <a:pt x="320926" y="30137"/>
                    <a:pt x="319288" y="30137"/>
                  </a:cubicBezTo>
                  <a:lnTo>
                    <a:pt x="291598" y="30137"/>
                  </a:lnTo>
                  <a:lnTo>
                    <a:pt x="291741" y="30289"/>
                  </a:lnTo>
                  <a:close/>
                  <a:moveTo>
                    <a:pt x="421472" y="14697"/>
                  </a:moveTo>
                  <a:cubicBezTo>
                    <a:pt x="422805" y="5791"/>
                    <a:pt x="427692" y="886"/>
                    <a:pt x="437026" y="886"/>
                  </a:cubicBezTo>
                  <a:lnTo>
                    <a:pt x="488861" y="886"/>
                  </a:lnTo>
                  <a:cubicBezTo>
                    <a:pt x="514483" y="886"/>
                    <a:pt x="533286" y="12763"/>
                    <a:pt x="533286" y="39786"/>
                  </a:cubicBezTo>
                  <a:cubicBezTo>
                    <a:pt x="533286" y="54635"/>
                    <a:pt x="528104" y="67999"/>
                    <a:pt x="515807" y="77353"/>
                  </a:cubicBezTo>
                  <a:cubicBezTo>
                    <a:pt x="514474" y="78534"/>
                    <a:pt x="513436" y="78981"/>
                    <a:pt x="513436" y="80172"/>
                  </a:cubicBezTo>
                  <a:cubicBezTo>
                    <a:pt x="513436" y="81058"/>
                    <a:pt x="513883" y="81505"/>
                    <a:pt x="515064" y="82696"/>
                  </a:cubicBezTo>
                  <a:cubicBezTo>
                    <a:pt x="520398" y="88925"/>
                    <a:pt x="526180" y="95460"/>
                    <a:pt x="526180" y="110014"/>
                  </a:cubicBezTo>
                  <a:cubicBezTo>
                    <a:pt x="526180" y="137922"/>
                    <a:pt x="504844" y="163163"/>
                    <a:pt x="467982" y="163163"/>
                  </a:cubicBezTo>
                  <a:lnTo>
                    <a:pt x="411699" y="163163"/>
                  </a:lnTo>
                  <a:cubicBezTo>
                    <a:pt x="402812" y="163163"/>
                    <a:pt x="398669" y="158267"/>
                    <a:pt x="400002" y="149352"/>
                  </a:cubicBezTo>
                  <a:lnTo>
                    <a:pt x="421176" y="14545"/>
                  </a:lnTo>
                  <a:lnTo>
                    <a:pt x="421472" y="14697"/>
                  </a:lnTo>
                  <a:close/>
                  <a:moveTo>
                    <a:pt x="441017" y="96355"/>
                  </a:moveTo>
                  <a:cubicBezTo>
                    <a:pt x="439398" y="96355"/>
                    <a:pt x="438950" y="96793"/>
                    <a:pt x="438502" y="98431"/>
                  </a:cubicBezTo>
                  <a:lnTo>
                    <a:pt x="433321" y="131836"/>
                  </a:lnTo>
                  <a:cubicBezTo>
                    <a:pt x="433026" y="133464"/>
                    <a:pt x="433321" y="133912"/>
                    <a:pt x="434950" y="133912"/>
                  </a:cubicBezTo>
                  <a:lnTo>
                    <a:pt x="473307" y="133912"/>
                  </a:lnTo>
                  <a:cubicBezTo>
                    <a:pt x="486337" y="133912"/>
                    <a:pt x="494481" y="124854"/>
                    <a:pt x="494481" y="112681"/>
                  </a:cubicBezTo>
                  <a:cubicBezTo>
                    <a:pt x="494481" y="102889"/>
                    <a:pt x="487671" y="96355"/>
                    <a:pt x="478641" y="96355"/>
                  </a:cubicBezTo>
                  <a:lnTo>
                    <a:pt x="441017" y="96355"/>
                  </a:lnTo>
                  <a:close/>
                  <a:moveTo>
                    <a:pt x="480565" y="66951"/>
                  </a:moveTo>
                  <a:cubicBezTo>
                    <a:pt x="492852" y="66951"/>
                    <a:pt x="501301" y="57902"/>
                    <a:pt x="501301" y="44987"/>
                  </a:cubicBezTo>
                  <a:cubicBezTo>
                    <a:pt x="501301" y="35481"/>
                    <a:pt x="494338" y="30289"/>
                    <a:pt x="485746" y="30289"/>
                  </a:cubicBezTo>
                  <a:lnTo>
                    <a:pt x="451533" y="30289"/>
                  </a:lnTo>
                  <a:cubicBezTo>
                    <a:pt x="449913" y="30289"/>
                    <a:pt x="449170" y="30728"/>
                    <a:pt x="449018" y="32366"/>
                  </a:cubicBezTo>
                  <a:lnTo>
                    <a:pt x="443836" y="64732"/>
                  </a:lnTo>
                  <a:cubicBezTo>
                    <a:pt x="443541" y="66361"/>
                    <a:pt x="444132" y="66808"/>
                    <a:pt x="445760" y="66808"/>
                  </a:cubicBezTo>
                  <a:lnTo>
                    <a:pt x="480565" y="66808"/>
                  </a:lnTo>
                  <a:lnTo>
                    <a:pt x="480565" y="66951"/>
                  </a:lnTo>
                  <a:close/>
                  <a:moveTo>
                    <a:pt x="660797" y="886"/>
                  </a:moveTo>
                  <a:cubicBezTo>
                    <a:pt x="670122" y="886"/>
                    <a:pt x="673379" y="6972"/>
                    <a:pt x="673379" y="13659"/>
                  </a:cubicBezTo>
                  <a:cubicBezTo>
                    <a:pt x="673379" y="22565"/>
                    <a:pt x="667760" y="30137"/>
                    <a:pt x="655463" y="30137"/>
                  </a:cubicBezTo>
                  <a:lnTo>
                    <a:pt x="598742" y="30137"/>
                  </a:lnTo>
                  <a:cubicBezTo>
                    <a:pt x="597113" y="30137"/>
                    <a:pt x="596370" y="30585"/>
                    <a:pt x="596227" y="32214"/>
                  </a:cubicBezTo>
                  <a:lnTo>
                    <a:pt x="591636" y="62503"/>
                  </a:lnTo>
                  <a:cubicBezTo>
                    <a:pt x="591341" y="64132"/>
                    <a:pt x="591636" y="64579"/>
                    <a:pt x="593265" y="64579"/>
                  </a:cubicBezTo>
                  <a:lnTo>
                    <a:pt x="641842" y="64579"/>
                  </a:lnTo>
                  <a:cubicBezTo>
                    <a:pt x="651167" y="64579"/>
                    <a:pt x="654425" y="70666"/>
                    <a:pt x="654425" y="77353"/>
                  </a:cubicBezTo>
                  <a:cubicBezTo>
                    <a:pt x="654425" y="86258"/>
                    <a:pt x="648795" y="93974"/>
                    <a:pt x="636508" y="93974"/>
                  </a:cubicBezTo>
                  <a:lnTo>
                    <a:pt x="588674" y="93974"/>
                  </a:lnTo>
                  <a:cubicBezTo>
                    <a:pt x="587045" y="93974"/>
                    <a:pt x="586597" y="94421"/>
                    <a:pt x="586302" y="96060"/>
                  </a:cubicBezTo>
                  <a:lnTo>
                    <a:pt x="580682" y="131540"/>
                  </a:lnTo>
                  <a:cubicBezTo>
                    <a:pt x="580377" y="133169"/>
                    <a:pt x="580682" y="133617"/>
                    <a:pt x="582301" y="133617"/>
                  </a:cubicBezTo>
                  <a:lnTo>
                    <a:pt x="642137" y="133617"/>
                  </a:lnTo>
                  <a:cubicBezTo>
                    <a:pt x="651462" y="133617"/>
                    <a:pt x="654720" y="139703"/>
                    <a:pt x="654720" y="146390"/>
                  </a:cubicBezTo>
                  <a:cubicBezTo>
                    <a:pt x="654720" y="155296"/>
                    <a:pt x="649091" y="163011"/>
                    <a:pt x="636803" y="163011"/>
                  </a:cubicBezTo>
                  <a:lnTo>
                    <a:pt x="559203" y="163011"/>
                  </a:lnTo>
                  <a:cubicBezTo>
                    <a:pt x="550316" y="163011"/>
                    <a:pt x="546468" y="158115"/>
                    <a:pt x="547802" y="149209"/>
                  </a:cubicBezTo>
                  <a:lnTo>
                    <a:pt x="568976" y="14402"/>
                  </a:lnTo>
                  <a:cubicBezTo>
                    <a:pt x="570309" y="5486"/>
                    <a:pt x="575196" y="591"/>
                    <a:pt x="584530" y="591"/>
                  </a:cubicBezTo>
                  <a:lnTo>
                    <a:pt x="661092" y="591"/>
                  </a:lnTo>
                  <a:lnTo>
                    <a:pt x="660797" y="886"/>
                  </a:lnTo>
                  <a:close/>
                  <a:moveTo>
                    <a:pt x="691601" y="163163"/>
                  </a:moveTo>
                  <a:cubicBezTo>
                    <a:pt x="683457" y="163163"/>
                    <a:pt x="679009" y="158267"/>
                    <a:pt x="680495" y="149352"/>
                  </a:cubicBezTo>
                  <a:lnTo>
                    <a:pt x="702116" y="12763"/>
                  </a:lnTo>
                  <a:cubicBezTo>
                    <a:pt x="703745" y="2524"/>
                    <a:pt x="710260" y="0"/>
                    <a:pt x="719147" y="0"/>
                  </a:cubicBezTo>
                  <a:cubicBezTo>
                    <a:pt x="725662" y="0"/>
                    <a:pt x="732625" y="2372"/>
                    <a:pt x="732625" y="10535"/>
                  </a:cubicBezTo>
                  <a:cubicBezTo>
                    <a:pt x="732625" y="11878"/>
                    <a:pt x="732177" y="15440"/>
                    <a:pt x="731434" y="19145"/>
                  </a:cubicBezTo>
                  <a:lnTo>
                    <a:pt x="713518" y="131683"/>
                  </a:lnTo>
                  <a:cubicBezTo>
                    <a:pt x="713223" y="133321"/>
                    <a:pt x="713813" y="133769"/>
                    <a:pt x="715299" y="133769"/>
                  </a:cubicBezTo>
                  <a:lnTo>
                    <a:pt x="763867" y="133769"/>
                  </a:lnTo>
                  <a:cubicBezTo>
                    <a:pt x="773201" y="133769"/>
                    <a:pt x="776459" y="139856"/>
                    <a:pt x="776459" y="146533"/>
                  </a:cubicBezTo>
                  <a:cubicBezTo>
                    <a:pt x="776459" y="155438"/>
                    <a:pt x="770830" y="163163"/>
                    <a:pt x="758543" y="163163"/>
                  </a:cubicBezTo>
                  <a:lnTo>
                    <a:pt x="691601" y="163163"/>
                  </a:lnTo>
                  <a:close/>
                  <a:moveTo>
                    <a:pt x="798824" y="82096"/>
                  </a:moveTo>
                  <a:cubicBezTo>
                    <a:pt x="806225" y="34595"/>
                    <a:pt x="816445" y="0"/>
                    <a:pt x="872576" y="0"/>
                  </a:cubicBezTo>
                  <a:cubicBezTo>
                    <a:pt x="885311" y="0"/>
                    <a:pt x="901151" y="3267"/>
                    <a:pt x="910628" y="11878"/>
                  </a:cubicBezTo>
                  <a:cubicBezTo>
                    <a:pt x="913886" y="14840"/>
                    <a:pt x="916410" y="17669"/>
                    <a:pt x="916410" y="22412"/>
                  </a:cubicBezTo>
                  <a:cubicBezTo>
                    <a:pt x="916410" y="30585"/>
                    <a:pt x="908114" y="40081"/>
                    <a:pt x="898931" y="40081"/>
                  </a:cubicBezTo>
                  <a:cubicBezTo>
                    <a:pt x="895674" y="40081"/>
                    <a:pt x="893597" y="39195"/>
                    <a:pt x="891673" y="37709"/>
                  </a:cubicBezTo>
                  <a:cubicBezTo>
                    <a:pt x="882787" y="30432"/>
                    <a:pt x="877310" y="28804"/>
                    <a:pt x="867680" y="28804"/>
                  </a:cubicBezTo>
                  <a:cubicBezTo>
                    <a:pt x="836143" y="28804"/>
                    <a:pt x="834219" y="59979"/>
                    <a:pt x="830066" y="81953"/>
                  </a:cubicBezTo>
                  <a:cubicBezTo>
                    <a:pt x="827694" y="93831"/>
                    <a:pt x="826513" y="103622"/>
                    <a:pt x="826513" y="111500"/>
                  </a:cubicBezTo>
                  <a:cubicBezTo>
                    <a:pt x="826513" y="128121"/>
                    <a:pt x="833476" y="135103"/>
                    <a:pt x="850954" y="135103"/>
                  </a:cubicBezTo>
                  <a:cubicBezTo>
                    <a:pt x="868423" y="135103"/>
                    <a:pt x="881015" y="124416"/>
                    <a:pt x="883682" y="107194"/>
                  </a:cubicBezTo>
                  <a:lnTo>
                    <a:pt x="885015" y="98279"/>
                  </a:lnTo>
                  <a:cubicBezTo>
                    <a:pt x="885311" y="96650"/>
                    <a:pt x="884711" y="96202"/>
                    <a:pt x="883387" y="96202"/>
                  </a:cubicBezTo>
                  <a:lnTo>
                    <a:pt x="869909" y="96202"/>
                  </a:lnTo>
                  <a:cubicBezTo>
                    <a:pt x="860870" y="96202"/>
                    <a:pt x="857612" y="90116"/>
                    <a:pt x="857612" y="83439"/>
                  </a:cubicBezTo>
                  <a:cubicBezTo>
                    <a:pt x="857612" y="74828"/>
                    <a:pt x="863241" y="67104"/>
                    <a:pt x="873900" y="67104"/>
                  </a:cubicBezTo>
                  <a:lnTo>
                    <a:pt x="907666" y="67104"/>
                  </a:lnTo>
                  <a:cubicBezTo>
                    <a:pt x="914486" y="67104"/>
                    <a:pt x="919372" y="70666"/>
                    <a:pt x="917886" y="79429"/>
                  </a:cubicBezTo>
                  <a:lnTo>
                    <a:pt x="913448" y="107337"/>
                  </a:lnTo>
                  <a:cubicBezTo>
                    <a:pt x="907666" y="144161"/>
                    <a:pt x="886492" y="164049"/>
                    <a:pt x="846211" y="164049"/>
                  </a:cubicBezTo>
                  <a:cubicBezTo>
                    <a:pt x="815111" y="164049"/>
                    <a:pt x="795261" y="150990"/>
                    <a:pt x="795261" y="116243"/>
                  </a:cubicBezTo>
                  <a:cubicBezTo>
                    <a:pt x="795261" y="106451"/>
                    <a:pt x="796452" y="95012"/>
                    <a:pt x="798528" y="81953"/>
                  </a:cubicBezTo>
                  <a:lnTo>
                    <a:pt x="798824" y="82096"/>
                  </a:lnTo>
                  <a:close/>
                  <a:moveTo>
                    <a:pt x="963206" y="151286"/>
                  </a:moveTo>
                  <a:cubicBezTo>
                    <a:pt x="961577" y="161525"/>
                    <a:pt x="955062" y="164049"/>
                    <a:pt x="946175" y="164049"/>
                  </a:cubicBezTo>
                  <a:cubicBezTo>
                    <a:pt x="939660" y="164049"/>
                    <a:pt x="932698" y="161677"/>
                    <a:pt x="932698" y="153514"/>
                  </a:cubicBezTo>
                  <a:cubicBezTo>
                    <a:pt x="932698" y="152171"/>
                    <a:pt x="933145" y="148609"/>
                    <a:pt x="933879" y="144904"/>
                  </a:cubicBezTo>
                  <a:lnTo>
                    <a:pt x="955062" y="12763"/>
                  </a:lnTo>
                  <a:cubicBezTo>
                    <a:pt x="956691" y="2524"/>
                    <a:pt x="963206" y="0"/>
                    <a:pt x="972093" y="0"/>
                  </a:cubicBezTo>
                  <a:cubicBezTo>
                    <a:pt x="978608" y="0"/>
                    <a:pt x="985571" y="2372"/>
                    <a:pt x="985571" y="10535"/>
                  </a:cubicBezTo>
                  <a:cubicBezTo>
                    <a:pt x="985571" y="11878"/>
                    <a:pt x="985133" y="15440"/>
                    <a:pt x="984390" y="19145"/>
                  </a:cubicBezTo>
                  <a:lnTo>
                    <a:pt x="963206" y="151286"/>
                  </a:lnTo>
                  <a:close/>
                  <a:moveTo>
                    <a:pt x="1111596" y="886"/>
                  </a:moveTo>
                  <a:cubicBezTo>
                    <a:pt x="1120921" y="886"/>
                    <a:pt x="1124188" y="6972"/>
                    <a:pt x="1124188" y="13659"/>
                  </a:cubicBezTo>
                  <a:cubicBezTo>
                    <a:pt x="1124188" y="22565"/>
                    <a:pt x="1118559" y="30137"/>
                    <a:pt x="1106262" y="30137"/>
                  </a:cubicBezTo>
                  <a:lnTo>
                    <a:pt x="1049541" y="30137"/>
                  </a:lnTo>
                  <a:cubicBezTo>
                    <a:pt x="1047912" y="30137"/>
                    <a:pt x="1047179" y="30585"/>
                    <a:pt x="1047026" y="32214"/>
                  </a:cubicBezTo>
                  <a:lnTo>
                    <a:pt x="1042435" y="62503"/>
                  </a:lnTo>
                  <a:cubicBezTo>
                    <a:pt x="1042140" y="64132"/>
                    <a:pt x="1042435" y="64579"/>
                    <a:pt x="1044064" y="64579"/>
                  </a:cubicBezTo>
                  <a:lnTo>
                    <a:pt x="1092641" y="64579"/>
                  </a:lnTo>
                  <a:cubicBezTo>
                    <a:pt x="1101966" y="64579"/>
                    <a:pt x="1105224" y="70666"/>
                    <a:pt x="1105224" y="77353"/>
                  </a:cubicBezTo>
                  <a:cubicBezTo>
                    <a:pt x="1105224" y="86258"/>
                    <a:pt x="1099604" y="93974"/>
                    <a:pt x="1087307" y="93974"/>
                  </a:cubicBezTo>
                  <a:lnTo>
                    <a:pt x="1039473" y="93974"/>
                  </a:lnTo>
                  <a:cubicBezTo>
                    <a:pt x="1037844" y="93974"/>
                    <a:pt x="1037396" y="94421"/>
                    <a:pt x="1037101" y="96060"/>
                  </a:cubicBezTo>
                  <a:lnTo>
                    <a:pt x="1031472" y="131540"/>
                  </a:lnTo>
                  <a:cubicBezTo>
                    <a:pt x="1031177" y="133169"/>
                    <a:pt x="1031472" y="133617"/>
                    <a:pt x="1033101" y="133617"/>
                  </a:cubicBezTo>
                  <a:lnTo>
                    <a:pt x="1092937" y="133617"/>
                  </a:lnTo>
                  <a:cubicBezTo>
                    <a:pt x="1102262" y="133617"/>
                    <a:pt x="1105519" y="139703"/>
                    <a:pt x="1105519" y="146390"/>
                  </a:cubicBezTo>
                  <a:cubicBezTo>
                    <a:pt x="1105519" y="155296"/>
                    <a:pt x="1099899" y="163011"/>
                    <a:pt x="1087603" y="163011"/>
                  </a:cubicBezTo>
                  <a:lnTo>
                    <a:pt x="1010003" y="163011"/>
                  </a:lnTo>
                  <a:cubicBezTo>
                    <a:pt x="1001116" y="163011"/>
                    <a:pt x="997268" y="158115"/>
                    <a:pt x="998601" y="149209"/>
                  </a:cubicBezTo>
                  <a:lnTo>
                    <a:pt x="1019775" y="14402"/>
                  </a:lnTo>
                  <a:cubicBezTo>
                    <a:pt x="1021109" y="5486"/>
                    <a:pt x="1025995" y="591"/>
                    <a:pt x="1035329" y="591"/>
                  </a:cubicBezTo>
                  <a:lnTo>
                    <a:pt x="1111891" y="591"/>
                  </a:lnTo>
                  <a:lnTo>
                    <a:pt x="1111596" y="886"/>
                  </a:lnTo>
                  <a:close/>
                  <a:moveTo>
                    <a:pt x="1242508" y="12763"/>
                  </a:moveTo>
                  <a:cubicBezTo>
                    <a:pt x="1244137" y="2524"/>
                    <a:pt x="1250652" y="0"/>
                    <a:pt x="1259538" y="0"/>
                  </a:cubicBezTo>
                  <a:cubicBezTo>
                    <a:pt x="1266053" y="0"/>
                    <a:pt x="1273016" y="2372"/>
                    <a:pt x="1273016" y="10535"/>
                  </a:cubicBezTo>
                  <a:cubicBezTo>
                    <a:pt x="1273016" y="11878"/>
                    <a:pt x="1272578" y="15440"/>
                    <a:pt x="1271835" y="19145"/>
                  </a:cubicBezTo>
                  <a:lnTo>
                    <a:pt x="1251547" y="145942"/>
                  </a:lnTo>
                  <a:cubicBezTo>
                    <a:pt x="1249470" y="159744"/>
                    <a:pt x="1242213" y="164049"/>
                    <a:pt x="1233183" y="164049"/>
                  </a:cubicBezTo>
                  <a:cubicBezTo>
                    <a:pt x="1223258" y="164049"/>
                    <a:pt x="1219705" y="160049"/>
                    <a:pt x="1213933" y="146828"/>
                  </a:cubicBezTo>
                  <a:lnTo>
                    <a:pt x="1178833" y="65027"/>
                  </a:lnTo>
                  <a:cubicBezTo>
                    <a:pt x="1178385" y="63694"/>
                    <a:pt x="1177642" y="62503"/>
                    <a:pt x="1176461" y="62503"/>
                  </a:cubicBezTo>
                  <a:cubicBezTo>
                    <a:pt x="1175280" y="62503"/>
                    <a:pt x="1175128" y="64437"/>
                    <a:pt x="1175128" y="65027"/>
                  </a:cubicBezTo>
                  <a:lnTo>
                    <a:pt x="1161355" y="151286"/>
                  </a:lnTo>
                  <a:cubicBezTo>
                    <a:pt x="1159726" y="161525"/>
                    <a:pt x="1153211" y="164049"/>
                    <a:pt x="1144324" y="164049"/>
                  </a:cubicBezTo>
                  <a:cubicBezTo>
                    <a:pt x="1137809" y="164049"/>
                    <a:pt x="1130846" y="161677"/>
                    <a:pt x="1130846" y="153514"/>
                  </a:cubicBezTo>
                  <a:cubicBezTo>
                    <a:pt x="1130846" y="152171"/>
                    <a:pt x="1131294" y="148609"/>
                    <a:pt x="1132037" y="144904"/>
                  </a:cubicBezTo>
                  <a:lnTo>
                    <a:pt x="1152325" y="18107"/>
                  </a:lnTo>
                  <a:cubicBezTo>
                    <a:pt x="1154687" y="3410"/>
                    <a:pt x="1161650" y="0"/>
                    <a:pt x="1170689" y="0"/>
                  </a:cubicBezTo>
                  <a:cubicBezTo>
                    <a:pt x="1180167" y="0"/>
                    <a:pt x="1184158" y="4010"/>
                    <a:pt x="1189939" y="17221"/>
                  </a:cubicBezTo>
                  <a:lnTo>
                    <a:pt x="1225039" y="99022"/>
                  </a:lnTo>
                  <a:cubicBezTo>
                    <a:pt x="1225477" y="100212"/>
                    <a:pt x="1226220" y="101403"/>
                    <a:pt x="1227401" y="101403"/>
                  </a:cubicBezTo>
                  <a:cubicBezTo>
                    <a:pt x="1228592" y="101403"/>
                    <a:pt x="1228735" y="99470"/>
                    <a:pt x="1228735" y="99022"/>
                  </a:cubicBezTo>
                  <a:lnTo>
                    <a:pt x="1242508" y="12763"/>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38" name="Freeform: Shape 56">
              <a:extLst>
                <a:ext uri="{FF2B5EF4-FFF2-40B4-BE49-F238E27FC236}">
                  <a16:creationId xmlns:a16="http://schemas.microsoft.com/office/drawing/2014/main" id="{DD05EB12-DD95-7063-1957-E06C80243607}"/>
                </a:ext>
              </a:extLst>
            </p:cNvPr>
            <p:cNvSpPr/>
            <p:nvPr/>
          </p:nvSpPr>
          <p:spPr>
            <a:xfrm>
              <a:off x="4138526" y="2367086"/>
              <a:ext cx="1305010" cy="554526"/>
            </a:xfrm>
            <a:custGeom>
              <a:avLst/>
              <a:gdLst>
                <a:gd name="connsiteX0" fmla="*/ 51092 w 1305010"/>
                <a:gd name="connsiteY0" fmla="*/ 188404 h 554526"/>
                <a:gd name="connsiteX1" fmla="*/ 103670 w 1305010"/>
                <a:gd name="connsiteY1" fmla="*/ 146685 h 554526"/>
                <a:gd name="connsiteX2" fmla="*/ 148390 w 1305010"/>
                <a:gd name="connsiteY2" fmla="*/ 180537 h 554526"/>
                <a:gd name="connsiteX3" fmla="*/ 145285 w 1305010"/>
                <a:gd name="connsiteY3" fmla="*/ 208893 h 554526"/>
                <a:gd name="connsiteX4" fmla="*/ 98184 w 1305010"/>
                <a:gd name="connsiteY4" fmla="*/ 512807 h 554526"/>
                <a:gd name="connsiteX5" fmla="*/ 44729 w 1305010"/>
                <a:gd name="connsiteY5" fmla="*/ 554527 h 554526"/>
                <a:gd name="connsiteX6" fmla="*/ 0 w 1305010"/>
                <a:gd name="connsiteY6" fmla="*/ 520675 h 554526"/>
                <a:gd name="connsiteX7" fmla="*/ 3115 w 1305010"/>
                <a:gd name="connsiteY7" fmla="*/ 492319 h 554526"/>
                <a:gd name="connsiteX8" fmla="*/ 50949 w 1305010"/>
                <a:gd name="connsiteY8" fmla="*/ 188404 h 554526"/>
                <a:gd name="connsiteX9" fmla="*/ 51092 w 1305010"/>
                <a:gd name="connsiteY9" fmla="*/ 188404 h 554526"/>
                <a:gd name="connsiteX10" fmla="*/ 359578 w 1305010"/>
                <a:gd name="connsiteY10" fmla="*/ 157677 h 554526"/>
                <a:gd name="connsiteX11" fmla="*/ 367427 w 1305010"/>
                <a:gd name="connsiteY11" fmla="*/ 167916 h 554526"/>
                <a:gd name="connsiteX12" fmla="*/ 384753 w 1305010"/>
                <a:gd name="connsiteY12" fmla="*/ 157677 h 554526"/>
                <a:gd name="connsiteX13" fmla="*/ 433473 w 1305010"/>
                <a:gd name="connsiteY13" fmla="*/ 146685 h 554526"/>
                <a:gd name="connsiteX14" fmla="*/ 565423 w 1305010"/>
                <a:gd name="connsiteY14" fmla="*/ 282092 h 554526"/>
                <a:gd name="connsiteX15" fmla="*/ 559203 w 1305010"/>
                <a:gd name="connsiteY15" fmla="*/ 350530 h 554526"/>
                <a:gd name="connsiteX16" fmla="*/ 386524 w 1305010"/>
                <a:gd name="connsiteY16" fmla="*/ 554374 h 554526"/>
                <a:gd name="connsiteX17" fmla="*/ 321374 w 1305010"/>
                <a:gd name="connsiteY17" fmla="*/ 536267 h 554526"/>
                <a:gd name="connsiteX18" fmla="*/ 304924 w 1305010"/>
                <a:gd name="connsiteY18" fmla="*/ 524389 h 554526"/>
                <a:gd name="connsiteX19" fmla="*/ 299447 w 1305010"/>
                <a:gd name="connsiteY19" fmla="*/ 526761 h 554526"/>
                <a:gd name="connsiteX20" fmla="*/ 294704 w 1305010"/>
                <a:gd name="connsiteY20" fmla="*/ 532257 h 554526"/>
                <a:gd name="connsiteX21" fmla="*/ 248355 w 1305010"/>
                <a:gd name="connsiteY21" fmla="*/ 554231 h 554526"/>
                <a:gd name="connsiteX22" fmla="*/ 205111 w 1305010"/>
                <a:gd name="connsiteY22" fmla="*/ 518741 h 554526"/>
                <a:gd name="connsiteX23" fmla="*/ 209112 w 1305010"/>
                <a:gd name="connsiteY23" fmla="*/ 490385 h 554526"/>
                <a:gd name="connsiteX24" fmla="*/ 279749 w 1305010"/>
                <a:gd name="connsiteY24" fmla="*/ 41719 h 554526"/>
                <a:gd name="connsiteX25" fmla="*/ 332327 w 1305010"/>
                <a:gd name="connsiteY25" fmla="*/ 0 h 554526"/>
                <a:gd name="connsiteX26" fmla="*/ 377047 w 1305010"/>
                <a:gd name="connsiteY26" fmla="*/ 33852 h 554526"/>
                <a:gd name="connsiteX27" fmla="*/ 373942 w 1305010"/>
                <a:gd name="connsiteY27" fmla="*/ 62208 h 554526"/>
                <a:gd name="connsiteX28" fmla="*/ 359874 w 1305010"/>
                <a:gd name="connsiteY28" fmla="*/ 157382 h 554526"/>
                <a:gd name="connsiteX29" fmla="*/ 359578 w 1305010"/>
                <a:gd name="connsiteY29" fmla="*/ 157667 h 554526"/>
                <a:gd name="connsiteX30" fmla="*/ 458505 w 1305010"/>
                <a:gd name="connsiteY30" fmla="*/ 350530 h 554526"/>
                <a:gd name="connsiteX31" fmla="*/ 463982 w 1305010"/>
                <a:gd name="connsiteY31" fmla="*/ 294561 h 554526"/>
                <a:gd name="connsiteX32" fmla="*/ 409042 w 1305010"/>
                <a:gd name="connsiteY32" fmla="*/ 240221 h 554526"/>
                <a:gd name="connsiteX33" fmla="*/ 328917 w 1305010"/>
                <a:gd name="connsiteY33" fmla="*/ 350387 h 554526"/>
                <a:gd name="connsiteX34" fmla="*/ 323440 w 1305010"/>
                <a:gd name="connsiteY34" fmla="*/ 404727 h 554526"/>
                <a:gd name="connsiteX35" fmla="*/ 373637 w 1305010"/>
                <a:gd name="connsiteY35" fmla="*/ 460543 h 554526"/>
                <a:gd name="connsiteX36" fmla="*/ 458505 w 1305010"/>
                <a:gd name="connsiteY36" fmla="*/ 350387 h 554526"/>
                <a:gd name="connsiteX37" fmla="*/ 458505 w 1305010"/>
                <a:gd name="connsiteY37" fmla="*/ 350530 h 554526"/>
                <a:gd name="connsiteX38" fmla="*/ 723890 w 1305010"/>
                <a:gd name="connsiteY38" fmla="*/ 409623 h 554526"/>
                <a:gd name="connsiteX39" fmla="*/ 785203 w 1305010"/>
                <a:gd name="connsiteY39" fmla="*/ 460839 h 554526"/>
                <a:gd name="connsiteX40" fmla="*/ 857469 w 1305010"/>
                <a:gd name="connsiteY40" fmla="*/ 444360 h 554526"/>
                <a:gd name="connsiteX41" fmla="*/ 893607 w 1305010"/>
                <a:gd name="connsiteY41" fmla="*/ 430997 h 554526"/>
                <a:gd name="connsiteX42" fmla="*/ 933593 w 1305010"/>
                <a:gd name="connsiteY42" fmla="*/ 476583 h 554526"/>
                <a:gd name="connsiteX43" fmla="*/ 913152 w 1305010"/>
                <a:gd name="connsiteY43" fmla="*/ 512064 h 554526"/>
                <a:gd name="connsiteX44" fmla="*/ 764019 w 1305010"/>
                <a:gd name="connsiteY44" fmla="*/ 554527 h 554526"/>
                <a:gd name="connsiteX45" fmla="*/ 623478 w 1305010"/>
                <a:gd name="connsiteY45" fmla="*/ 420757 h 554526"/>
                <a:gd name="connsiteX46" fmla="*/ 629698 w 1305010"/>
                <a:gd name="connsiteY46" fmla="*/ 350682 h 554526"/>
                <a:gd name="connsiteX47" fmla="*/ 828294 w 1305010"/>
                <a:gd name="connsiteY47" fmla="*/ 146837 h 554526"/>
                <a:gd name="connsiteX48" fmla="*/ 966464 w 1305010"/>
                <a:gd name="connsiteY48" fmla="*/ 278225 h 554526"/>
                <a:gd name="connsiteX49" fmla="*/ 962473 w 1305010"/>
                <a:gd name="connsiteY49" fmla="*/ 328555 h 554526"/>
                <a:gd name="connsiteX50" fmla="*/ 905894 w 1305010"/>
                <a:gd name="connsiteY50" fmla="*/ 387648 h 554526"/>
                <a:gd name="connsiteX51" fmla="*/ 733958 w 1305010"/>
                <a:gd name="connsiteY51" fmla="*/ 387648 h 554526"/>
                <a:gd name="connsiteX52" fmla="*/ 724481 w 1305010"/>
                <a:gd name="connsiteY52" fmla="*/ 395516 h 554526"/>
                <a:gd name="connsiteX53" fmla="*/ 723738 w 1305010"/>
                <a:gd name="connsiteY53" fmla="*/ 409765 h 554526"/>
                <a:gd name="connsiteX54" fmla="*/ 723890 w 1305010"/>
                <a:gd name="connsiteY54" fmla="*/ 409623 h 554526"/>
                <a:gd name="connsiteX55" fmla="*/ 871537 w 1305010"/>
                <a:gd name="connsiteY55" fmla="*/ 288322 h 554526"/>
                <a:gd name="connsiteX56" fmla="*/ 815702 w 1305010"/>
                <a:gd name="connsiteY56" fmla="*/ 233982 h 554526"/>
                <a:gd name="connsiteX57" fmla="*/ 739588 w 1305010"/>
                <a:gd name="connsiteY57" fmla="*/ 303324 h 554526"/>
                <a:gd name="connsiteX58" fmla="*/ 744322 w 1305010"/>
                <a:gd name="connsiteY58" fmla="*/ 310448 h 554526"/>
                <a:gd name="connsiteX59" fmla="*/ 863689 w 1305010"/>
                <a:gd name="connsiteY59" fmla="*/ 310448 h 554526"/>
                <a:gd name="connsiteX60" fmla="*/ 869909 w 1305010"/>
                <a:gd name="connsiteY60" fmla="*/ 304209 h 554526"/>
                <a:gd name="connsiteX61" fmla="*/ 871537 w 1305010"/>
                <a:gd name="connsiteY61" fmla="*/ 288474 h 554526"/>
                <a:gd name="connsiteX62" fmla="*/ 871537 w 1305010"/>
                <a:gd name="connsiteY62" fmla="*/ 288322 h 554526"/>
                <a:gd name="connsiteX63" fmla="*/ 1171280 w 1305010"/>
                <a:gd name="connsiteY63" fmla="*/ 175041 h 554526"/>
                <a:gd name="connsiteX64" fmla="*/ 1175280 w 1305010"/>
                <a:gd name="connsiteY64" fmla="*/ 179051 h 554526"/>
                <a:gd name="connsiteX65" fmla="*/ 1182386 w 1305010"/>
                <a:gd name="connsiteY65" fmla="*/ 175050 h 554526"/>
                <a:gd name="connsiteX66" fmla="*/ 1251547 w 1305010"/>
                <a:gd name="connsiteY66" fmla="*/ 146685 h 554526"/>
                <a:gd name="connsiteX67" fmla="*/ 1305011 w 1305010"/>
                <a:gd name="connsiteY67" fmla="*/ 188404 h 554526"/>
                <a:gd name="connsiteX68" fmla="*/ 1255548 w 1305010"/>
                <a:gd name="connsiteY68" fmla="*/ 245859 h 554526"/>
                <a:gd name="connsiteX69" fmla="*/ 1221781 w 1305010"/>
                <a:gd name="connsiteY69" fmla="*/ 245116 h 554526"/>
                <a:gd name="connsiteX70" fmla="*/ 1151877 w 1305010"/>
                <a:gd name="connsiteY70" fmla="*/ 313563 h 554526"/>
                <a:gd name="connsiteX71" fmla="*/ 1120483 w 1305010"/>
                <a:gd name="connsiteY71" fmla="*/ 512655 h 554526"/>
                <a:gd name="connsiteX72" fmla="*/ 1067019 w 1305010"/>
                <a:gd name="connsiteY72" fmla="*/ 554374 h 554526"/>
                <a:gd name="connsiteX73" fmla="*/ 1022299 w 1305010"/>
                <a:gd name="connsiteY73" fmla="*/ 520522 h 554526"/>
                <a:gd name="connsiteX74" fmla="*/ 1025404 w 1305010"/>
                <a:gd name="connsiteY74" fmla="*/ 492166 h 554526"/>
                <a:gd name="connsiteX75" fmla="*/ 1073239 w 1305010"/>
                <a:gd name="connsiteY75" fmla="*/ 188262 h 554526"/>
                <a:gd name="connsiteX76" fmla="*/ 1125817 w 1305010"/>
                <a:gd name="connsiteY76" fmla="*/ 146542 h 554526"/>
                <a:gd name="connsiteX77" fmla="*/ 1169060 w 1305010"/>
                <a:gd name="connsiteY77" fmla="*/ 167773 h 554526"/>
                <a:gd name="connsiteX78" fmla="*/ 1171432 w 1305010"/>
                <a:gd name="connsiteY78" fmla="*/ 174898 h 554526"/>
                <a:gd name="connsiteX79" fmla="*/ 1171280 w 1305010"/>
                <a:gd name="connsiteY79" fmla="*/ 175041 h 55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05010" h="554526">
                  <a:moveTo>
                    <a:pt x="51092" y="188404"/>
                  </a:moveTo>
                  <a:cubicBezTo>
                    <a:pt x="56569" y="152181"/>
                    <a:pt x="81001" y="146685"/>
                    <a:pt x="103670" y="146685"/>
                  </a:cubicBezTo>
                  <a:cubicBezTo>
                    <a:pt x="124844" y="146685"/>
                    <a:pt x="148390" y="154553"/>
                    <a:pt x="148390" y="180537"/>
                  </a:cubicBezTo>
                  <a:cubicBezTo>
                    <a:pt x="148390" y="186919"/>
                    <a:pt x="146771" y="198653"/>
                    <a:pt x="145285" y="208893"/>
                  </a:cubicBezTo>
                  <a:lnTo>
                    <a:pt x="98184" y="512807"/>
                  </a:lnTo>
                  <a:cubicBezTo>
                    <a:pt x="92707" y="549031"/>
                    <a:pt x="67532" y="554527"/>
                    <a:pt x="44729" y="554527"/>
                  </a:cubicBezTo>
                  <a:cubicBezTo>
                    <a:pt x="23546" y="554527"/>
                    <a:pt x="0" y="546659"/>
                    <a:pt x="0" y="520675"/>
                  </a:cubicBezTo>
                  <a:cubicBezTo>
                    <a:pt x="0" y="514436"/>
                    <a:pt x="1629" y="502558"/>
                    <a:pt x="3115" y="492319"/>
                  </a:cubicBezTo>
                  <a:lnTo>
                    <a:pt x="50949" y="188404"/>
                  </a:lnTo>
                  <a:lnTo>
                    <a:pt x="51092" y="188404"/>
                  </a:lnTo>
                  <a:close/>
                  <a:moveTo>
                    <a:pt x="359578" y="157677"/>
                  </a:moveTo>
                  <a:cubicBezTo>
                    <a:pt x="357940" y="167173"/>
                    <a:pt x="364312" y="167916"/>
                    <a:pt x="367427" y="167916"/>
                  </a:cubicBezTo>
                  <a:cubicBezTo>
                    <a:pt x="371427" y="167916"/>
                    <a:pt x="375275" y="162430"/>
                    <a:pt x="384753" y="157677"/>
                  </a:cubicBezTo>
                  <a:cubicBezTo>
                    <a:pt x="403555" y="148171"/>
                    <a:pt x="420148" y="146685"/>
                    <a:pt x="433473" y="146685"/>
                  </a:cubicBezTo>
                  <a:cubicBezTo>
                    <a:pt x="519808" y="146685"/>
                    <a:pt x="565423" y="200282"/>
                    <a:pt x="565423" y="282092"/>
                  </a:cubicBezTo>
                  <a:cubicBezTo>
                    <a:pt x="565423" y="304209"/>
                    <a:pt x="563051" y="326184"/>
                    <a:pt x="559203" y="350530"/>
                  </a:cubicBezTo>
                  <a:cubicBezTo>
                    <a:pt x="538772" y="467820"/>
                    <a:pt x="501891" y="554374"/>
                    <a:pt x="386524" y="554374"/>
                  </a:cubicBezTo>
                  <a:cubicBezTo>
                    <a:pt x="362236" y="554374"/>
                    <a:pt x="337804" y="548888"/>
                    <a:pt x="321374" y="536267"/>
                  </a:cubicBezTo>
                  <a:cubicBezTo>
                    <a:pt x="314258" y="530771"/>
                    <a:pt x="308781" y="524389"/>
                    <a:pt x="304924" y="524389"/>
                  </a:cubicBezTo>
                  <a:cubicBezTo>
                    <a:pt x="302829" y="524294"/>
                    <a:pt x="300807" y="525161"/>
                    <a:pt x="299447" y="526761"/>
                  </a:cubicBezTo>
                  <a:lnTo>
                    <a:pt x="294704" y="532257"/>
                  </a:lnTo>
                  <a:cubicBezTo>
                    <a:pt x="283750" y="544878"/>
                    <a:pt x="272796" y="554231"/>
                    <a:pt x="248355" y="554231"/>
                  </a:cubicBezTo>
                  <a:cubicBezTo>
                    <a:pt x="226438" y="554231"/>
                    <a:pt x="205111" y="544725"/>
                    <a:pt x="205111" y="518741"/>
                  </a:cubicBezTo>
                  <a:cubicBezTo>
                    <a:pt x="205111" y="511616"/>
                    <a:pt x="207483" y="499891"/>
                    <a:pt x="209112" y="490385"/>
                  </a:cubicBezTo>
                  <a:lnTo>
                    <a:pt x="279749" y="41719"/>
                  </a:lnTo>
                  <a:cubicBezTo>
                    <a:pt x="285226" y="5496"/>
                    <a:pt x="309515" y="0"/>
                    <a:pt x="332327" y="0"/>
                  </a:cubicBezTo>
                  <a:cubicBezTo>
                    <a:pt x="353501" y="0"/>
                    <a:pt x="377047" y="7868"/>
                    <a:pt x="377047" y="33852"/>
                  </a:cubicBezTo>
                  <a:cubicBezTo>
                    <a:pt x="377047" y="40234"/>
                    <a:pt x="375428" y="51968"/>
                    <a:pt x="373942" y="62208"/>
                  </a:cubicBezTo>
                  <a:lnTo>
                    <a:pt x="359874" y="157382"/>
                  </a:lnTo>
                  <a:lnTo>
                    <a:pt x="359578" y="157667"/>
                  </a:lnTo>
                  <a:close/>
                  <a:moveTo>
                    <a:pt x="458505" y="350530"/>
                  </a:moveTo>
                  <a:cubicBezTo>
                    <a:pt x="461610" y="331680"/>
                    <a:pt x="463982" y="308810"/>
                    <a:pt x="463982" y="294561"/>
                  </a:cubicBezTo>
                  <a:cubicBezTo>
                    <a:pt x="463982" y="263823"/>
                    <a:pt x="452133" y="240221"/>
                    <a:pt x="409042" y="240221"/>
                  </a:cubicBezTo>
                  <a:cubicBezTo>
                    <a:pt x="346243" y="240221"/>
                    <a:pt x="336766" y="300057"/>
                    <a:pt x="328917" y="350387"/>
                  </a:cubicBezTo>
                  <a:cubicBezTo>
                    <a:pt x="326546" y="365379"/>
                    <a:pt x="323440" y="388096"/>
                    <a:pt x="323440" y="404727"/>
                  </a:cubicBezTo>
                  <a:cubicBezTo>
                    <a:pt x="323440" y="436940"/>
                    <a:pt x="335290" y="460543"/>
                    <a:pt x="373637" y="460543"/>
                  </a:cubicBezTo>
                  <a:cubicBezTo>
                    <a:pt x="435693" y="460543"/>
                    <a:pt x="447389" y="421948"/>
                    <a:pt x="458505" y="350387"/>
                  </a:cubicBezTo>
                  <a:lnTo>
                    <a:pt x="458505" y="350530"/>
                  </a:lnTo>
                  <a:close/>
                  <a:moveTo>
                    <a:pt x="723890" y="409623"/>
                  </a:moveTo>
                  <a:cubicBezTo>
                    <a:pt x="723890" y="441836"/>
                    <a:pt x="737216" y="460839"/>
                    <a:pt x="785203" y="460839"/>
                  </a:cubicBezTo>
                  <a:cubicBezTo>
                    <a:pt x="807120" y="460839"/>
                    <a:pt x="837028" y="455352"/>
                    <a:pt x="857469" y="444360"/>
                  </a:cubicBezTo>
                  <a:cubicBezTo>
                    <a:pt x="870795" y="437236"/>
                    <a:pt x="879386" y="430997"/>
                    <a:pt x="893607" y="430997"/>
                  </a:cubicBezTo>
                  <a:cubicBezTo>
                    <a:pt x="917896" y="430997"/>
                    <a:pt x="933593" y="454609"/>
                    <a:pt x="933593" y="476583"/>
                  </a:cubicBezTo>
                  <a:cubicBezTo>
                    <a:pt x="933593" y="489937"/>
                    <a:pt x="928849" y="500929"/>
                    <a:pt x="913152" y="512064"/>
                  </a:cubicBezTo>
                  <a:cubicBezTo>
                    <a:pt x="867689" y="544278"/>
                    <a:pt x="817331" y="554527"/>
                    <a:pt x="764019" y="554527"/>
                  </a:cubicBezTo>
                  <a:cubicBezTo>
                    <a:pt x="666721" y="554527"/>
                    <a:pt x="623478" y="500929"/>
                    <a:pt x="623478" y="420757"/>
                  </a:cubicBezTo>
                  <a:cubicBezTo>
                    <a:pt x="623478" y="401012"/>
                    <a:pt x="625850" y="374285"/>
                    <a:pt x="629698" y="350682"/>
                  </a:cubicBezTo>
                  <a:cubicBezTo>
                    <a:pt x="650138" y="230276"/>
                    <a:pt x="680790" y="146837"/>
                    <a:pt x="828294" y="146837"/>
                  </a:cubicBezTo>
                  <a:cubicBezTo>
                    <a:pt x="915524" y="146837"/>
                    <a:pt x="966464" y="196425"/>
                    <a:pt x="966464" y="278225"/>
                  </a:cubicBezTo>
                  <a:cubicBezTo>
                    <a:pt x="966464" y="293970"/>
                    <a:pt x="965730" y="310448"/>
                    <a:pt x="962473" y="328555"/>
                  </a:cubicBezTo>
                  <a:cubicBezTo>
                    <a:pt x="957729" y="357654"/>
                    <a:pt x="949138" y="387648"/>
                    <a:pt x="905894" y="387648"/>
                  </a:cubicBezTo>
                  <a:lnTo>
                    <a:pt x="733958" y="387648"/>
                  </a:lnTo>
                  <a:cubicBezTo>
                    <a:pt x="729282" y="387553"/>
                    <a:pt x="725243" y="390906"/>
                    <a:pt x="724481" y="395516"/>
                  </a:cubicBezTo>
                  <a:cubicBezTo>
                    <a:pt x="723738" y="400269"/>
                    <a:pt x="723738" y="405022"/>
                    <a:pt x="723738" y="409765"/>
                  </a:cubicBezTo>
                  <a:lnTo>
                    <a:pt x="723890" y="409623"/>
                  </a:lnTo>
                  <a:close/>
                  <a:moveTo>
                    <a:pt x="871537" y="288322"/>
                  </a:moveTo>
                  <a:cubicBezTo>
                    <a:pt x="871537" y="256851"/>
                    <a:pt x="858212" y="233982"/>
                    <a:pt x="815702" y="233982"/>
                  </a:cubicBezTo>
                  <a:cubicBezTo>
                    <a:pt x="766239" y="233982"/>
                    <a:pt x="745808" y="263823"/>
                    <a:pt x="739588" y="303324"/>
                  </a:cubicBezTo>
                  <a:cubicBezTo>
                    <a:pt x="738845" y="308810"/>
                    <a:pt x="741216" y="310448"/>
                    <a:pt x="744322" y="310448"/>
                  </a:cubicBezTo>
                  <a:lnTo>
                    <a:pt x="863689" y="310448"/>
                  </a:lnTo>
                  <a:cubicBezTo>
                    <a:pt x="867689" y="310448"/>
                    <a:pt x="869166" y="308067"/>
                    <a:pt x="869909" y="304209"/>
                  </a:cubicBezTo>
                  <a:cubicBezTo>
                    <a:pt x="870652" y="298714"/>
                    <a:pt x="871537" y="293227"/>
                    <a:pt x="871537" y="288474"/>
                  </a:cubicBezTo>
                  <a:lnTo>
                    <a:pt x="871537" y="288322"/>
                  </a:lnTo>
                  <a:close/>
                  <a:moveTo>
                    <a:pt x="1171280" y="175041"/>
                  </a:moveTo>
                  <a:cubicBezTo>
                    <a:pt x="1172023" y="178165"/>
                    <a:pt x="1173651" y="179051"/>
                    <a:pt x="1175280" y="179051"/>
                  </a:cubicBezTo>
                  <a:cubicBezTo>
                    <a:pt x="1176909" y="179051"/>
                    <a:pt x="1179281" y="177422"/>
                    <a:pt x="1182386" y="175050"/>
                  </a:cubicBezTo>
                  <a:cubicBezTo>
                    <a:pt x="1202827" y="159306"/>
                    <a:pt x="1223258" y="146685"/>
                    <a:pt x="1251547" y="146685"/>
                  </a:cubicBezTo>
                  <a:cubicBezTo>
                    <a:pt x="1286056" y="146685"/>
                    <a:pt x="1305011" y="157677"/>
                    <a:pt x="1305011" y="188404"/>
                  </a:cubicBezTo>
                  <a:cubicBezTo>
                    <a:pt x="1305011" y="213646"/>
                    <a:pt x="1297905" y="245859"/>
                    <a:pt x="1255548" y="245859"/>
                  </a:cubicBezTo>
                  <a:cubicBezTo>
                    <a:pt x="1232745" y="245859"/>
                    <a:pt x="1233630" y="245116"/>
                    <a:pt x="1221781" y="245116"/>
                  </a:cubicBezTo>
                  <a:cubicBezTo>
                    <a:pt x="1202969" y="245116"/>
                    <a:pt x="1162098" y="246755"/>
                    <a:pt x="1151877" y="313563"/>
                  </a:cubicBezTo>
                  <a:lnTo>
                    <a:pt x="1120483" y="512655"/>
                  </a:lnTo>
                  <a:cubicBezTo>
                    <a:pt x="1115006" y="548888"/>
                    <a:pt x="1089831" y="554374"/>
                    <a:pt x="1067019" y="554374"/>
                  </a:cubicBezTo>
                  <a:cubicBezTo>
                    <a:pt x="1045845" y="554374"/>
                    <a:pt x="1022299" y="546506"/>
                    <a:pt x="1022299" y="520522"/>
                  </a:cubicBezTo>
                  <a:cubicBezTo>
                    <a:pt x="1022299" y="514293"/>
                    <a:pt x="1023928" y="502415"/>
                    <a:pt x="1025404" y="492166"/>
                  </a:cubicBezTo>
                  <a:lnTo>
                    <a:pt x="1073239" y="188262"/>
                  </a:lnTo>
                  <a:cubicBezTo>
                    <a:pt x="1078725" y="152029"/>
                    <a:pt x="1103157" y="146542"/>
                    <a:pt x="1125817" y="146542"/>
                  </a:cubicBezTo>
                  <a:cubicBezTo>
                    <a:pt x="1146991" y="146542"/>
                    <a:pt x="1161212" y="151295"/>
                    <a:pt x="1169060" y="167773"/>
                  </a:cubicBezTo>
                  <a:cubicBezTo>
                    <a:pt x="1170689" y="170888"/>
                    <a:pt x="1171432" y="174898"/>
                    <a:pt x="1171432" y="174898"/>
                  </a:cubicBezTo>
                  <a:lnTo>
                    <a:pt x="1171280" y="175041"/>
                  </a:lnTo>
                  <a:close/>
                </a:path>
              </a:pathLst>
            </a:custGeom>
            <a:solidFill>
              <a:srgbClr val="081835"/>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0" name="Freeform: Shape 57">
              <a:extLst>
                <a:ext uri="{FF2B5EF4-FFF2-40B4-BE49-F238E27FC236}">
                  <a16:creationId xmlns:a16="http://schemas.microsoft.com/office/drawing/2014/main" id="{D6C83D17-BD61-D595-FE47-87FCAC13BE08}"/>
                </a:ext>
              </a:extLst>
            </p:cNvPr>
            <p:cNvSpPr/>
            <p:nvPr/>
          </p:nvSpPr>
          <p:spPr>
            <a:xfrm>
              <a:off x="3700462" y="2370200"/>
              <a:ext cx="612962" cy="551411"/>
            </a:xfrm>
            <a:custGeom>
              <a:avLst/>
              <a:gdLst>
                <a:gd name="connsiteX0" fmla="*/ 562613 w 612962"/>
                <a:gd name="connsiteY0" fmla="*/ 152 h 551411"/>
                <a:gd name="connsiteX1" fmla="*/ 297971 w 612962"/>
                <a:gd name="connsiteY1" fmla="*/ 152 h 551411"/>
                <a:gd name="connsiteX2" fmla="*/ 47092 w 612962"/>
                <a:gd name="connsiteY2" fmla="*/ 214684 h 551411"/>
                <a:gd name="connsiteX3" fmla="*/ 42062 w 612962"/>
                <a:gd name="connsiteY3" fmla="*/ 246612 h 551411"/>
                <a:gd name="connsiteX4" fmla="*/ 4000 w 612962"/>
                <a:gd name="connsiteY4" fmla="*/ 486823 h 551411"/>
                <a:gd name="connsiteX5" fmla="*/ 0 w 612962"/>
                <a:gd name="connsiteY5" fmla="*/ 515922 h 551411"/>
                <a:gd name="connsiteX6" fmla="*/ 45463 w 612962"/>
                <a:gd name="connsiteY6" fmla="*/ 551412 h 551411"/>
                <a:gd name="connsiteX7" fmla="*/ 102775 w 612962"/>
                <a:gd name="connsiteY7" fmla="*/ 508054 h 551411"/>
                <a:gd name="connsiteX8" fmla="*/ 107518 w 612962"/>
                <a:gd name="connsiteY8" fmla="*/ 477326 h 551411"/>
                <a:gd name="connsiteX9" fmla="*/ 108109 w 612962"/>
                <a:gd name="connsiteY9" fmla="*/ 475098 h 551411"/>
                <a:gd name="connsiteX10" fmla="*/ 132398 w 612962"/>
                <a:gd name="connsiteY10" fmla="*/ 320097 h 551411"/>
                <a:gd name="connsiteX11" fmla="*/ 140399 w 612962"/>
                <a:gd name="connsiteY11" fmla="*/ 315201 h 551411"/>
                <a:gd name="connsiteX12" fmla="*/ 287160 w 612962"/>
                <a:gd name="connsiteY12" fmla="*/ 315201 h 551411"/>
                <a:gd name="connsiteX13" fmla="*/ 347577 w 612962"/>
                <a:gd name="connsiteY13" fmla="*/ 259223 h 551411"/>
                <a:gd name="connsiteX14" fmla="*/ 305219 w 612962"/>
                <a:gd name="connsiteY14" fmla="*/ 215884 h 551411"/>
                <a:gd name="connsiteX15" fmla="*/ 149581 w 612962"/>
                <a:gd name="connsiteY15" fmla="*/ 215884 h 551411"/>
                <a:gd name="connsiteX16" fmla="*/ 297971 w 612962"/>
                <a:gd name="connsiteY16" fmla="*/ 100965 h 551411"/>
                <a:gd name="connsiteX17" fmla="*/ 562613 w 612962"/>
                <a:gd name="connsiteY17" fmla="*/ 100965 h 551411"/>
                <a:gd name="connsiteX18" fmla="*/ 612962 w 612962"/>
                <a:gd name="connsiteY18" fmla="*/ 50559 h 551411"/>
                <a:gd name="connsiteX19" fmla="*/ 612962 w 612962"/>
                <a:gd name="connsiteY19" fmla="*/ 50483 h 551411"/>
                <a:gd name="connsiteX20" fmla="*/ 562613 w 612962"/>
                <a:gd name="connsiteY20" fmla="*/ 0 h 551411"/>
                <a:gd name="connsiteX21" fmla="*/ 562613 w 612962"/>
                <a:gd name="connsiteY21" fmla="*/ 152 h 55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2962" h="551411">
                  <a:moveTo>
                    <a:pt x="562613" y="152"/>
                  </a:moveTo>
                  <a:lnTo>
                    <a:pt x="297971" y="152"/>
                  </a:lnTo>
                  <a:cubicBezTo>
                    <a:pt x="172526" y="152"/>
                    <a:pt x="66942" y="90278"/>
                    <a:pt x="47092" y="214684"/>
                  </a:cubicBezTo>
                  <a:lnTo>
                    <a:pt x="42062" y="246612"/>
                  </a:lnTo>
                  <a:lnTo>
                    <a:pt x="4000" y="486823"/>
                  </a:lnTo>
                  <a:cubicBezTo>
                    <a:pt x="1629" y="499443"/>
                    <a:pt x="0" y="511178"/>
                    <a:pt x="0" y="515922"/>
                  </a:cubicBezTo>
                  <a:cubicBezTo>
                    <a:pt x="0" y="543544"/>
                    <a:pt x="23546" y="551412"/>
                    <a:pt x="45463" y="551412"/>
                  </a:cubicBezTo>
                  <a:cubicBezTo>
                    <a:pt x="75371" y="551412"/>
                    <a:pt x="97298" y="542801"/>
                    <a:pt x="102775" y="508054"/>
                  </a:cubicBezTo>
                  <a:lnTo>
                    <a:pt x="107518" y="477326"/>
                  </a:lnTo>
                  <a:cubicBezTo>
                    <a:pt x="107661" y="476583"/>
                    <a:pt x="107956" y="475840"/>
                    <a:pt x="108109" y="475098"/>
                  </a:cubicBezTo>
                  <a:lnTo>
                    <a:pt x="132398" y="320097"/>
                  </a:lnTo>
                  <a:cubicBezTo>
                    <a:pt x="133436" y="316535"/>
                    <a:pt x="135798" y="315201"/>
                    <a:pt x="140399" y="315201"/>
                  </a:cubicBezTo>
                  <a:lnTo>
                    <a:pt x="287160" y="315201"/>
                  </a:lnTo>
                  <a:cubicBezTo>
                    <a:pt x="328774" y="315201"/>
                    <a:pt x="347577" y="289217"/>
                    <a:pt x="347577" y="259223"/>
                  </a:cubicBezTo>
                  <a:cubicBezTo>
                    <a:pt x="347577" y="236363"/>
                    <a:pt x="336623" y="215884"/>
                    <a:pt x="305219" y="215884"/>
                  </a:cubicBezTo>
                  <a:lnTo>
                    <a:pt x="149581" y="215884"/>
                  </a:lnTo>
                  <a:cubicBezTo>
                    <a:pt x="167049" y="148476"/>
                    <a:pt x="227181" y="100965"/>
                    <a:pt x="297971" y="100965"/>
                  </a:cubicBezTo>
                  <a:lnTo>
                    <a:pt x="562613" y="100965"/>
                  </a:lnTo>
                  <a:cubicBezTo>
                    <a:pt x="590436" y="100950"/>
                    <a:pt x="612979" y="78381"/>
                    <a:pt x="612962" y="50559"/>
                  </a:cubicBezTo>
                  <a:cubicBezTo>
                    <a:pt x="612962" y="50533"/>
                    <a:pt x="612962" y="50508"/>
                    <a:pt x="612962" y="50483"/>
                  </a:cubicBezTo>
                  <a:cubicBezTo>
                    <a:pt x="612962" y="22574"/>
                    <a:pt x="590455" y="0"/>
                    <a:pt x="562613" y="0"/>
                  </a:cubicBezTo>
                  <a:lnTo>
                    <a:pt x="562613" y="152"/>
                  </a:lnTo>
                  <a:close/>
                </a:path>
              </a:pathLst>
            </a:custGeom>
            <a:solidFill>
              <a:srgbClr val="081835"/>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1" name="Freeform: Shape 58">
              <a:extLst>
                <a:ext uri="{FF2B5EF4-FFF2-40B4-BE49-F238E27FC236}">
                  <a16:creationId xmlns:a16="http://schemas.microsoft.com/office/drawing/2014/main" id="{E5AD17E2-9EB6-AE8E-1658-7FDA005861A0}"/>
                </a:ext>
              </a:extLst>
            </p:cNvPr>
            <p:cNvSpPr/>
            <p:nvPr/>
          </p:nvSpPr>
          <p:spPr>
            <a:xfrm>
              <a:off x="3883503" y="1753181"/>
              <a:ext cx="348472" cy="386610"/>
            </a:xfrm>
            <a:custGeom>
              <a:avLst/>
              <a:gdLst>
                <a:gd name="connsiteX0" fmla="*/ 244954 w 348472"/>
                <a:gd name="connsiteY0" fmla="*/ 68590 h 386610"/>
                <a:gd name="connsiteX1" fmla="*/ 220513 w 348472"/>
                <a:gd name="connsiteY1" fmla="*/ 60722 h 386610"/>
                <a:gd name="connsiteX2" fmla="*/ 139360 w 348472"/>
                <a:gd name="connsiteY2" fmla="*/ 30728 h 386610"/>
                <a:gd name="connsiteX3" fmla="*/ 11849 w 348472"/>
                <a:gd name="connsiteY3" fmla="*/ 210674 h 386610"/>
                <a:gd name="connsiteX4" fmla="*/ 0 w 348472"/>
                <a:gd name="connsiteY4" fmla="*/ 310886 h 386610"/>
                <a:gd name="connsiteX5" fmla="*/ 47987 w 348472"/>
                <a:gd name="connsiteY5" fmla="*/ 386610 h 386610"/>
                <a:gd name="connsiteX6" fmla="*/ 44434 w 348472"/>
                <a:gd name="connsiteY6" fmla="*/ 355425 h 386610"/>
                <a:gd name="connsiteX7" fmla="*/ 56283 w 348472"/>
                <a:gd name="connsiteY7" fmla="*/ 255213 h 386610"/>
                <a:gd name="connsiteX8" fmla="*/ 183785 w 348472"/>
                <a:gd name="connsiteY8" fmla="*/ 75276 h 386610"/>
                <a:gd name="connsiteX9" fmla="*/ 264938 w 348472"/>
                <a:gd name="connsiteY9" fmla="*/ 105261 h 386610"/>
                <a:gd name="connsiteX10" fmla="*/ 289379 w 348472"/>
                <a:gd name="connsiteY10" fmla="*/ 113128 h 386610"/>
                <a:gd name="connsiteX11" fmla="*/ 348472 w 348472"/>
                <a:gd name="connsiteY11" fmla="*/ 53150 h 386610"/>
                <a:gd name="connsiteX12" fmla="*/ 328774 w 348472"/>
                <a:gd name="connsiteY12" fmla="*/ 17669 h 386610"/>
                <a:gd name="connsiteX13" fmla="*/ 302857 w 348472"/>
                <a:gd name="connsiteY13" fmla="*/ 0 h 386610"/>
                <a:gd name="connsiteX14" fmla="*/ 304038 w 348472"/>
                <a:gd name="connsiteY14" fmla="*/ 8611 h 386610"/>
                <a:gd name="connsiteX15" fmla="*/ 244954 w 348472"/>
                <a:gd name="connsiteY15" fmla="*/ 68590 h 38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472" h="386610">
                  <a:moveTo>
                    <a:pt x="244954" y="68590"/>
                  </a:moveTo>
                  <a:cubicBezTo>
                    <a:pt x="234001" y="68590"/>
                    <a:pt x="226886" y="65475"/>
                    <a:pt x="220513" y="60722"/>
                  </a:cubicBezTo>
                  <a:cubicBezTo>
                    <a:pt x="190605" y="36224"/>
                    <a:pt x="171650" y="30728"/>
                    <a:pt x="139360" y="30728"/>
                  </a:cubicBezTo>
                  <a:cubicBezTo>
                    <a:pt x="32290" y="30728"/>
                    <a:pt x="25918" y="136589"/>
                    <a:pt x="11849" y="210674"/>
                  </a:cubicBezTo>
                  <a:cubicBezTo>
                    <a:pt x="4001" y="250908"/>
                    <a:pt x="0" y="284169"/>
                    <a:pt x="0" y="310886"/>
                  </a:cubicBezTo>
                  <a:cubicBezTo>
                    <a:pt x="0" y="354235"/>
                    <a:pt x="14373" y="377990"/>
                    <a:pt x="47987" y="386610"/>
                  </a:cubicBezTo>
                  <a:cubicBezTo>
                    <a:pt x="45547" y="376398"/>
                    <a:pt x="44354" y="365926"/>
                    <a:pt x="44434" y="355425"/>
                  </a:cubicBezTo>
                  <a:cubicBezTo>
                    <a:pt x="44434" y="328555"/>
                    <a:pt x="48435" y="295446"/>
                    <a:pt x="56283" y="255213"/>
                  </a:cubicBezTo>
                  <a:cubicBezTo>
                    <a:pt x="70495" y="180985"/>
                    <a:pt x="76714" y="75276"/>
                    <a:pt x="183785" y="75276"/>
                  </a:cubicBezTo>
                  <a:cubicBezTo>
                    <a:pt x="216075" y="75276"/>
                    <a:pt x="235029" y="80762"/>
                    <a:pt x="264938" y="105261"/>
                  </a:cubicBezTo>
                  <a:cubicBezTo>
                    <a:pt x="271167" y="110014"/>
                    <a:pt x="278273" y="113128"/>
                    <a:pt x="289379" y="113128"/>
                  </a:cubicBezTo>
                  <a:cubicBezTo>
                    <a:pt x="320040" y="113128"/>
                    <a:pt x="348472" y="80762"/>
                    <a:pt x="348472" y="53150"/>
                  </a:cubicBezTo>
                  <a:cubicBezTo>
                    <a:pt x="348472" y="37414"/>
                    <a:pt x="339881" y="27908"/>
                    <a:pt x="328774" y="17669"/>
                  </a:cubicBezTo>
                  <a:cubicBezTo>
                    <a:pt x="321221" y="10839"/>
                    <a:pt x="312334" y="5048"/>
                    <a:pt x="302857" y="0"/>
                  </a:cubicBezTo>
                  <a:cubicBezTo>
                    <a:pt x="303447" y="2667"/>
                    <a:pt x="304038" y="5496"/>
                    <a:pt x="304038" y="8611"/>
                  </a:cubicBezTo>
                  <a:cubicBezTo>
                    <a:pt x="304038" y="36233"/>
                    <a:pt x="275749" y="68590"/>
                    <a:pt x="244954" y="68590"/>
                  </a:cubicBez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2" name="Freeform: Shape 59">
              <a:extLst>
                <a:ext uri="{FF2B5EF4-FFF2-40B4-BE49-F238E27FC236}">
                  <a16:creationId xmlns:a16="http://schemas.microsoft.com/office/drawing/2014/main" id="{C69EE2F6-3C7D-5E83-5234-32AAADF872CC}"/>
                </a:ext>
              </a:extLst>
            </p:cNvPr>
            <p:cNvSpPr/>
            <p:nvPr/>
          </p:nvSpPr>
          <p:spPr>
            <a:xfrm>
              <a:off x="4033522" y="2011956"/>
              <a:ext cx="48615" cy="44538"/>
            </a:xfrm>
            <a:custGeom>
              <a:avLst/>
              <a:gdLst>
                <a:gd name="connsiteX0" fmla="*/ 48435 w 48615"/>
                <a:gd name="connsiteY0" fmla="*/ 7125 h 44538"/>
                <a:gd name="connsiteX1" fmla="*/ 42958 w 48615"/>
                <a:gd name="connsiteY1" fmla="*/ 0 h 44538"/>
                <a:gd name="connsiteX2" fmla="*/ 0 w 48615"/>
                <a:gd name="connsiteY2" fmla="*/ 0 h 44538"/>
                <a:gd name="connsiteX3" fmla="*/ 0 w 48615"/>
                <a:gd name="connsiteY3" fmla="*/ 1191 h 44538"/>
                <a:gd name="connsiteX4" fmla="*/ 41767 w 48615"/>
                <a:gd name="connsiteY4" fmla="*/ 44539 h 44538"/>
                <a:gd name="connsiteX5" fmla="*/ 42367 w 48615"/>
                <a:gd name="connsiteY5" fmla="*/ 44539 h 44538"/>
                <a:gd name="connsiteX6" fmla="*/ 43844 w 48615"/>
                <a:gd name="connsiteY6" fmla="*/ 37109 h 44538"/>
                <a:gd name="connsiteX7" fmla="*/ 48587 w 48615"/>
                <a:gd name="connsiteY7" fmla="*/ 7125 h 44538"/>
                <a:gd name="connsiteX8" fmla="*/ 48435 w 48615"/>
                <a:gd name="connsiteY8" fmla="*/ 7125 h 4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15" h="44538">
                  <a:moveTo>
                    <a:pt x="48435" y="7125"/>
                  </a:moveTo>
                  <a:cubicBezTo>
                    <a:pt x="49178" y="1638"/>
                    <a:pt x="47692" y="0"/>
                    <a:pt x="42958" y="0"/>
                  </a:cubicBezTo>
                  <a:lnTo>
                    <a:pt x="0" y="0"/>
                  </a:lnTo>
                  <a:lnTo>
                    <a:pt x="0" y="1191"/>
                  </a:lnTo>
                  <a:cubicBezTo>
                    <a:pt x="0" y="24051"/>
                    <a:pt x="10963" y="44539"/>
                    <a:pt x="41767" y="44539"/>
                  </a:cubicBezTo>
                  <a:lnTo>
                    <a:pt x="42367" y="44539"/>
                  </a:lnTo>
                  <a:cubicBezTo>
                    <a:pt x="42958" y="42015"/>
                    <a:pt x="43396" y="39643"/>
                    <a:pt x="43844" y="37109"/>
                  </a:cubicBezTo>
                  <a:lnTo>
                    <a:pt x="48587" y="7125"/>
                  </a:lnTo>
                  <a:lnTo>
                    <a:pt x="48435" y="7125"/>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3" name="Freeform: Shape 60">
              <a:extLst>
                <a:ext uri="{FF2B5EF4-FFF2-40B4-BE49-F238E27FC236}">
                  <a16:creationId xmlns:a16="http://schemas.microsoft.com/office/drawing/2014/main" id="{D44C6A41-6E67-652C-3809-0E4CE7D2728D}"/>
                </a:ext>
              </a:extLst>
            </p:cNvPr>
            <p:cNvSpPr/>
            <p:nvPr/>
          </p:nvSpPr>
          <p:spPr>
            <a:xfrm>
              <a:off x="3843517" y="1783908"/>
              <a:ext cx="721966" cy="502262"/>
            </a:xfrm>
            <a:custGeom>
              <a:avLst/>
              <a:gdLst>
                <a:gd name="connsiteX0" fmla="*/ 359283 w 721966"/>
                <a:gd name="connsiteY0" fmla="*/ 173860 h 502262"/>
                <a:gd name="connsiteX1" fmla="*/ 349063 w 721966"/>
                <a:gd name="connsiteY1" fmla="*/ 173860 h 502262"/>
                <a:gd name="connsiteX2" fmla="*/ 334547 w 721966"/>
                <a:gd name="connsiteY2" fmla="*/ 265909 h 502262"/>
                <a:gd name="connsiteX3" fmla="*/ 106928 w 721966"/>
                <a:gd name="connsiteY3" fmla="*/ 457724 h 502262"/>
                <a:gd name="connsiteX4" fmla="*/ 0 w 721966"/>
                <a:gd name="connsiteY4" fmla="*/ 433969 h 502262"/>
                <a:gd name="connsiteX5" fmla="*/ 151352 w 721966"/>
                <a:gd name="connsiteY5" fmla="*/ 502263 h 502262"/>
                <a:gd name="connsiteX6" fmla="*/ 378981 w 721966"/>
                <a:gd name="connsiteY6" fmla="*/ 310448 h 502262"/>
                <a:gd name="connsiteX7" fmla="*/ 393935 w 721966"/>
                <a:gd name="connsiteY7" fmla="*/ 215722 h 502262"/>
                <a:gd name="connsiteX8" fmla="*/ 359283 w 721966"/>
                <a:gd name="connsiteY8" fmla="*/ 173860 h 502262"/>
                <a:gd name="connsiteX9" fmla="*/ 561575 w 721966"/>
                <a:gd name="connsiteY9" fmla="*/ 224485 h 502262"/>
                <a:gd name="connsiteX10" fmla="*/ 689086 w 721966"/>
                <a:gd name="connsiteY10" fmla="*/ 44548 h 502262"/>
                <a:gd name="connsiteX11" fmla="*/ 721966 w 721966"/>
                <a:gd name="connsiteY11" fmla="*/ 49292 h 502262"/>
                <a:gd name="connsiteX12" fmla="*/ 644662 w 721966"/>
                <a:gd name="connsiteY12" fmla="*/ 0 h 502262"/>
                <a:gd name="connsiteX13" fmla="*/ 517150 w 721966"/>
                <a:gd name="connsiteY13" fmla="*/ 179946 h 502262"/>
                <a:gd name="connsiteX14" fmla="*/ 505301 w 721966"/>
                <a:gd name="connsiteY14" fmla="*/ 280159 h 502262"/>
                <a:gd name="connsiteX15" fmla="*/ 553288 w 721966"/>
                <a:gd name="connsiteY15" fmla="*/ 355883 h 502262"/>
                <a:gd name="connsiteX16" fmla="*/ 549735 w 721966"/>
                <a:gd name="connsiteY16" fmla="*/ 324698 h 502262"/>
                <a:gd name="connsiteX17" fmla="*/ 561575 w 721966"/>
                <a:gd name="connsiteY17" fmla="*/ 224495 h 50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1966" h="502262">
                  <a:moveTo>
                    <a:pt x="359283" y="173860"/>
                  </a:moveTo>
                  <a:lnTo>
                    <a:pt x="349063" y="173860"/>
                  </a:lnTo>
                  <a:lnTo>
                    <a:pt x="334547" y="265909"/>
                  </a:lnTo>
                  <a:cubicBezTo>
                    <a:pt x="314849" y="390620"/>
                    <a:pt x="243173" y="457724"/>
                    <a:pt x="106928" y="457724"/>
                  </a:cubicBezTo>
                  <a:cubicBezTo>
                    <a:pt x="64275" y="457724"/>
                    <a:pt x="28146" y="450294"/>
                    <a:pt x="0" y="433969"/>
                  </a:cubicBezTo>
                  <a:cubicBezTo>
                    <a:pt x="27546" y="482222"/>
                    <a:pt x="80715" y="502263"/>
                    <a:pt x="151352" y="502263"/>
                  </a:cubicBezTo>
                  <a:cubicBezTo>
                    <a:pt x="287607" y="502263"/>
                    <a:pt x="359283" y="435159"/>
                    <a:pt x="378981" y="310448"/>
                  </a:cubicBezTo>
                  <a:lnTo>
                    <a:pt x="393935" y="215722"/>
                  </a:lnTo>
                  <a:cubicBezTo>
                    <a:pt x="398678" y="185738"/>
                    <a:pt x="382086" y="173860"/>
                    <a:pt x="359283" y="173860"/>
                  </a:cubicBezTo>
                  <a:close/>
                  <a:moveTo>
                    <a:pt x="561575" y="224485"/>
                  </a:moveTo>
                  <a:cubicBezTo>
                    <a:pt x="575796" y="150257"/>
                    <a:pt x="582016" y="44548"/>
                    <a:pt x="689086" y="44548"/>
                  </a:cubicBezTo>
                  <a:cubicBezTo>
                    <a:pt x="701373" y="44548"/>
                    <a:pt x="712337" y="46177"/>
                    <a:pt x="721966" y="49292"/>
                  </a:cubicBezTo>
                  <a:cubicBezTo>
                    <a:pt x="712041" y="17383"/>
                    <a:pt x="685533" y="0"/>
                    <a:pt x="644662" y="0"/>
                  </a:cubicBezTo>
                  <a:cubicBezTo>
                    <a:pt x="537591" y="0"/>
                    <a:pt x="531219" y="105861"/>
                    <a:pt x="517150" y="179946"/>
                  </a:cubicBezTo>
                  <a:cubicBezTo>
                    <a:pt x="509302" y="220180"/>
                    <a:pt x="505301" y="253441"/>
                    <a:pt x="505301" y="280159"/>
                  </a:cubicBezTo>
                  <a:cubicBezTo>
                    <a:pt x="505301" y="323517"/>
                    <a:pt x="519665" y="347262"/>
                    <a:pt x="553288" y="355883"/>
                  </a:cubicBezTo>
                  <a:cubicBezTo>
                    <a:pt x="550848" y="345670"/>
                    <a:pt x="549655" y="335198"/>
                    <a:pt x="549735" y="324698"/>
                  </a:cubicBezTo>
                  <a:cubicBezTo>
                    <a:pt x="549735" y="297828"/>
                    <a:pt x="553736" y="264719"/>
                    <a:pt x="561575" y="224495"/>
                  </a:cubicBez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4" name="Freeform: Shape 61">
              <a:extLst>
                <a:ext uri="{FF2B5EF4-FFF2-40B4-BE49-F238E27FC236}">
                  <a16:creationId xmlns:a16="http://schemas.microsoft.com/office/drawing/2014/main" id="{F0863EF1-9879-E5DB-64AB-D45E09983EB8}"/>
                </a:ext>
              </a:extLst>
            </p:cNvPr>
            <p:cNvSpPr/>
            <p:nvPr/>
          </p:nvSpPr>
          <p:spPr>
            <a:xfrm>
              <a:off x="4308833" y="1754066"/>
              <a:ext cx="411260" cy="532257"/>
            </a:xfrm>
            <a:custGeom>
              <a:avLst/>
              <a:gdLst>
                <a:gd name="connsiteX0" fmla="*/ 345357 w 411260"/>
                <a:gd name="connsiteY0" fmla="*/ 0 h 532257"/>
                <a:gd name="connsiteX1" fmla="*/ 366836 w 411260"/>
                <a:gd name="connsiteY1" fmla="*/ 95317 h 532257"/>
                <a:gd name="connsiteX2" fmla="*/ 356616 w 411260"/>
                <a:gd name="connsiteY2" fmla="*/ 209788 h 532257"/>
                <a:gd name="connsiteX3" fmla="*/ 106928 w 411260"/>
                <a:gd name="connsiteY3" fmla="*/ 487718 h 532257"/>
                <a:gd name="connsiteX4" fmla="*/ 0 w 411260"/>
                <a:gd name="connsiteY4" fmla="*/ 463963 h 532257"/>
                <a:gd name="connsiteX5" fmla="*/ 151352 w 411260"/>
                <a:gd name="connsiteY5" fmla="*/ 532257 h 532257"/>
                <a:gd name="connsiteX6" fmla="*/ 401041 w 411260"/>
                <a:gd name="connsiteY6" fmla="*/ 254327 h 532257"/>
                <a:gd name="connsiteX7" fmla="*/ 411261 w 411260"/>
                <a:gd name="connsiteY7" fmla="*/ 139856 h 532257"/>
                <a:gd name="connsiteX8" fmla="*/ 345357 w 411260"/>
                <a:gd name="connsiteY8" fmla="*/ 0 h 53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260" h="532257">
                  <a:moveTo>
                    <a:pt x="345357" y="0"/>
                  </a:moveTo>
                  <a:cubicBezTo>
                    <a:pt x="359283" y="24355"/>
                    <a:pt x="366836" y="55683"/>
                    <a:pt x="366836" y="95317"/>
                  </a:cubicBezTo>
                  <a:cubicBezTo>
                    <a:pt x="366836" y="127683"/>
                    <a:pt x="362836" y="166430"/>
                    <a:pt x="356616" y="209788"/>
                  </a:cubicBezTo>
                  <a:cubicBezTo>
                    <a:pt x="330698" y="378743"/>
                    <a:pt x="298418" y="487718"/>
                    <a:pt x="106928" y="487718"/>
                  </a:cubicBezTo>
                  <a:cubicBezTo>
                    <a:pt x="64275" y="487718"/>
                    <a:pt x="28137" y="480289"/>
                    <a:pt x="0" y="463963"/>
                  </a:cubicBezTo>
                  <a:cubicBezTo>
                    <a:pt x="27546" y="512216"/>
                    <a:pt x="80715" y="532257"/>
                    <a:pt x="151352" y="532257"/>
                  </a:cubicBezTo>
                  <a:cubicBezTo>
                    <a:pt x="342690" y="532257"/>
                    <a:pt x="374980" y="423291"/>
                    <a:pt x="401041" y="254327"/>
                  </a:cubicBezTo>
                  <a:cubicBezTo>
                    <a:pt x="407413" y="210979"/>
                    <a:pt x="411261" y="172222"/>
                    <a:pt x="411261" y="139856"/>
                  </a:cubicBezTo>
                  <a:cubicBezTo>
                    <a:pt x="411261" y="69342"/>
                    <a:pt x="387563" y="24651"/>
                    <a:pt x="345357" y="0"/>
                  </a:cubicBez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5" name="Freeform: Shape 62">
              <a:extLst>
                <a:ext uri="{FF2B5EF4-FFF2-40B4-BE49-F238E27FC236}">
                  <a16:creationId xmlns:a16="http://schemas.microsoft.com/office/drawing/2014/main" id="{FD40A070-C1BE-BD9B-051A-5882D20CA896}"/>
                </a:ext>
              </a:extLst>
            </p:cNvPr>
            <p:cNvSpPr/>
            <p:nvPr/>
          </p:nvSpPr>
          <p:spPr>
            <a:xfrm>
              <a:off x="3777919" y="1686077"/>
              <a:ext cx="408289" cy="532095"/>
            </a:xfrm>
            <a:custGeom>
              <a:avLst/>
              <a:gdLst>
                <a:gd name="connsiteX0" fmla="*/ 55531 w 408289"/>
                <a:gd name="connsiteY0" fmla="*/ 322317 h 532095"/>
                <a:gd name="connsiteX1" fmla="*/ 305067 w 408289"/>
                <a:gd name="connsiteY1" fmla="*/ 44387 h 532095"/>
                <a:gd name="connsiteX2" fmla="*/ 408289 w 408289"/>
                <a:gd name="connsiteY2" fmla="*/ 67104 h 532095"/>
                <a:gd name="connsiteX3" fmla="*/ 389782 w 408289"/>
                <a:gd name="connsiteY3" fmla="*/ 40234 h 532095"/>
                <a:gd name="connsiteX4" fmla="*/ 260642 w 408289"/>
                <a:gd name="connsiteY4" fmla="*/ 0 h 532095"/>
                <a:gd name="connsiteX5" fmla="*/ 11106 w 408289"/>
                <a:gd name="connsiteY5" fmla="*/ 277778 h 532095"/>
                <a:gd name="connsiteX6" fmla="*/ 0 w 408289"/>
                <a:gd name="connsiteY6" fmla="*/ 393878 h 532095"/>
                <a:gd name="connsiteX7" fmla="*/ 65599 w 408289"/>
                <a:gd name="connsiteY7" fmla="*/ 532095 h 532095"/>
                <a:gd name="connsiteX8" fmla="*/ 44425 w 408289"/>
                <a:gd name="connsiteY8" fmla="*/ 438417 h 532095"/>
                <a:gd name="connsiteX9" fmla="*/ 55531 w 408289"/>
                <a:gd name="connsiteY9" fmla="*/ 322317 h 53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289" h="532095">
                  <a:moveTo>
                    <a:pt x="55531" y="322317"/>
                  </a:moveTo>
                  <a:cubicBezTo>
                    <a:pt x="80705" y="161230"/>
                    <a:pt x="115357" y="44387"/>
                    <a:pt x="305067" y="44387"/>
                  </a:cubicBezTo>
                  <a:cubicBezTo>
                    <a:pt x="338242" y="44387"/>
                    <a:pt x="377190" y="50921"/>
                    <a:pt x="408289" y="67104"/>
                  </a:cubicBezTo>
                  <a:cubicBezTo>
                    <a:pt x="405775" y="56264"/>
                    <a:pt x="398669" y="48397"/>
                    <a:pt x="389782" y="40234"/>
                  </a:cubicBezTo>
                  <a:cubicBezTo>
                    <a:pt x="357492" y="10982"/>
                    <a:pt x="303886" y="0"/>
                    <a:pt x="260642" y="0"/>
                  </a:cubicBezTo>
                  <a:cubicBezTo>
                    <a:pt x="70933" y="-152"/>
                    <a:pt x="36281" y="116691"/>
                    <a:pt x="11106" y="277778"/>
                  </a:cubicBezTo>
                  <a:cubicBezTo>
                    <a:pt x="3991" y="322021"/>
                    <a:pt x="0" y="360626"/>
                    <a:pt x="0" y="393878"/>
                  </a:cubicBezTo>
                  <a:cubicBezTo>
                    <a:pt x="0" y="464106"/>
                    <a:pt x="23984" y="507892"/>
                    <a:pt x="65599" y="532095"/>
                  </a:cubicBezTo>
                  <a:cubicBezTo>
                    <a:pt x="51978" y="508197"/>
                    <a:pt x="44425" y="477469"/>
                    <a:pt x="44425" y="438417"/>
                  </a:cubicBezTo>
                  <a:cubicBezTo>
                    <a:pt x="44425" y="405308"/>
                    <a:pt x="48425" y="366560"/>
                    <a:pt x="55531" y="322317"/>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6" name="Freeform: Shape 63">
              <a:extLst>
                <a:ext uri="{FF2B5EF4-FFF2-40B4-BE49-F238E27FC236}">
                  <a16:creationId xmlns:a16="http://schemas.microsoft.com/office/drawing/2014/main" id="{4BDAE176-6A97-DDF8-BBBE-46B3638F79D5}"/>
                </a:ext>
              </a:extLst>
            </p:cNvPr>
            <p:cNvSpPr/>
            <p:nvPr/>
          </p:nvSpPr>
          <p:spPr>
            <a:xfrm>
              <a:off x="3931490" y="1913229"/>
              <a:ext cx="262347" cy="275101"/>
            </a:xfrm>
            <a:custGeom>
              <a:avLst/>
              <a:gdLst>
                <a:gd name="connsiteX0" fmla="*/ 157124 w 262347"/>
                <a:gd name="connsiteY0" fmla="*/ 44539 h 275101"/>
                <a:gd name="connsiteX1" fmla="*/ 261090 w 262347"/>
                <a:gd name="connsiteY1" fmla="*/ 44539 h 275101"/>
                <a:gd name="connsiteX2" fmla="*/ 261537 w 262347"/>
                <a:gd name="connsiteY2" fmla="*/ 41872 h 275101"/>
                <a:gd name="connsiteX3" fmla="*/ 226876 w 262347"/>
                <a:gd name="connsiteY3" fmla="*/ 0 h 275101"/>
                <a:gd name="connsiteX4" fmla="*/ 112700 w 262347"/>
                <a:gd name="connsiteY4" fmla="*/ 0 h 275101"/>
                <a:gd name="connsiteX5" fmla="*/ 57607 w 262347"/>
                <a:gd name="connsiteY5" fmla="*/ 55226 h 275101"/>
                <a:gd name="connsiteX6" fmla="*/ 99374 w 262347"/>
                <a:gd name="connsiteY6" fmla="*/ 98584 h 275101"/>
                <a:gd name="connsiteX7" fmla="*/ 102184 w 262347"/>
                <a:gd name="connsiteY7" fmla="*/ 98584 h 275101"/>
                <a:gd name="connsiteX8" fmla="*/ 157277 w 262347"/>
                <a:gd name="connsiteY8" fmla="*/ 44387 h 275101"/>
                <a:gd name="connsiteX9" fmla="*/ 157124 w 262347"/>
                <a:gd name="connsiteY9" fmla="*/ 44539 h 275101"/>
                <a:gd name="connsiteX10" fmla="*/ 79077 w 262347"/>
                <a:gd name="connsiteY10" fmla="*/ 275101 h 275101"/>
                <a:gd name="connsiteX11" fmla="*/ 190148 w 262347"/>
                <a:gd name="connsiteY11" fmla="*/ 180384 h 275101"/>
                <a:gd name="connsiteX12" fmla="*/ 194891 w 262347"/>
                <a:gd name="connsiteY12" fmla="*/ 150390 h 275101"/>
                <a:gd name="connsiteX13" fmla="*/ 189414 w 262347"/>
                <a:gd name="connsiteY13" fmla="*/ 143266 h 275101"/>
                <a:gd name="connsiteX14" fmla="*/ 144247 w 262347"/>
                <a:gd name="connsiteY14" fmla="*/ 143266 h 275101"/>
                <a:gd name="connsiteX15" fmla="*/ 34652 w 262347"/>
                <a:gd name="connsiteY15" fmla="*/ 230562 h 275101"/>
                <a:gd name="connsiteX16" fmla="*/ 0 w 262347"/>
                <a:gd name="connsiteY16" fmla="*/ 226562 h 275101"/>
                <a:gd name="connsiteX17" fmla="*/ 79077 w 262347"/>
                <a:gd name="connsiteY17" fmla="*/ 275101 h 275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2347" h="275101">
                  <a:moveTo>
                    <a:pt x="157124" y="44539"/>
                  </a:moveTo>
                  <a:lnTo>
                    <a:pt x="261090" y="44539"/>
                  </a:lnTo>
                  <a:lnTo>
                    <a:pt x="261537" y="41872"/>
                  </a:lnTo>
                  <a:cubicBezTo>
                    <a:pt x="266271" y="11868"/>
                    <a:pt x="249688" y="0"/>
                    <a:pt x="226876" y="0"/>
                  </a:cubicBezTo>
                  <a:lnTo>
                    <a:pt x="112700" y="0"/>
                  </a:lnTo>
                  <a:cubicBezTo>
                    <a:pt x="76410" y="0"/>
                    <a:pt x="57607" y="25975"/>
                    <a:pt x="57607" y="55226"/>
                  </a:cubicBezTo>
                  <a:cubicBezTo>
                    <a:pt x="57607" y="78086"/>
                    <a:pt x="68561" y="98584"/>
                    <a:pt x="99374" y="98584"/>
                  </a:cubicBezTo>
                  <a:lnTo>
                    <a:pt x="102184" y="98584"/>
                  </a:lnTo>
                  <a:cubicBezTo>
                    <a:pt x="102632" y="69780"/>
                    <a:pt x="121434" y="44387"/>
                    <a:pt x="157277" y="44387"/>
                  </a:cubicBezTo>
                  <a:lnTo>
                    <a:pt x="157124" y="44539"/>
                  </a:lnTo>
                  <a:close/>
                  <a:moveTo>
                    <a:pt x="79077" y="275101"/>
                  </a:moveTo>
                  <a:cubicBezTo>
                    <a:pt x="140541" y="275101"/>
                    <a:pt x="180670" y="238735"/>
                    <a:pt x="190148" y="180384"/>
                  </a:cubicBezTo>
                  <a:lnTo>
                    <a:pt x="194891" y="150390"/>
                  </a:lnTo>
                  <a:cubicBezTo>
                    <a:pt x="195634" y="144904"/>
                    <a:pt x="194148" y="143266"/>
                    <a:pt x="189414" y="143266"/>
                  </a:cubicBezTo>
                  <a:lnTo>
                    <a:pt x="144247" y="143266"/>
                  </a:lnTo>
                  <a:cubicBezTo>
                    <a:pt x="132693" y="197310"/>
                    <a:pt x="93450" y="230562"/>
                    <a:pt x="34652" y="230562"/>
                  </a:cubicBezTo>
                  <a:cubicBezTo>
                    <a:pt x="21174" y="230562"/>
                    <a:pt x="9925" y="229229"/>
                    <a:pt x="0" y="226562"/>
                  </a:cubicBezTo>
                  <a:cubicBezTo>
                    <a:pt x="8287" y="260109"/>
                    <a:pt x="32576" y="275101"/>
                    <a:pt x="79077" y="275101"/>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7" name="Freeform: Shape 64">
              <a:extLst>
                <a:ext uri="{FF2B5EF4-FFF2-40B4-BE49-F238E27FC236}">
                  <a16:creationId xmlns:a16="http://schemas.microsoft.com/office/drawing/2014/main" id="{28F07A6C-EE11-F900-6EE8-C91493A727C2}"/>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8" name="Freeform: Shape 65">
              <a:extLst>
                <a:ext uri="{FF2B5EF4-FFF2-40B4-BE49-F238E27FC236}">
                  <a16:creationId xmlns:a16="http://schemas.microsoft.com/office/drawing/2014/main" id="{0D1B8107-903A-D620-234E-F0D46F2A058B}"/>
                </a:ext>
              </a:extLst>
            </p:cNvPr>
            <p:cNvSpPr/>
            <p:nvPr/>
          </p:nvSpPr>
          <p:spPr>
            <a:xfrm>
              <a:off x="3822343" y="1730463"/>
              <a:ext cx="370236" cy="511463"/>
            </a:xfrm>
            <a:custGeom>
              <a:avLst/>
              <a:gdLst>
                <a:gd name="connsiteX0" fmla="*/ 355721 w 370236"/>
                <a:gd name="connsiteY0" fmla="*/ 319354 h 511463"/>
                <a:gd name="connsiteX1" fmla="*/ 370237 w 370236"/>
                <a:gd name="connsiteY1" fmla="*/ 227305 h 511463"/>
                <a:gd name="connsiteX2" fmla="*/ 266271 w 370236"/>
                <a:gd name="connsiteY2" fmla="*/ 227305 h 511463"/>
                <a:gd name="connsiteX3" fmla="*/ 211188 w 370236"/>
                <a:gd name="connsiteY3" fmla="*/ 281502 h 511463"/>
                <a:gd name="connsiteX4" fmla="*/ 254127 w 370236"/>
                <a:gd name="connsiteY4" fmla="*/ 281502 h 511463"/>
                <a:gd name="connsiteX5" fmla="*/ 259613 w 370236"/>
                <a:gd name="connsiteY5" fmla="*/ 288617 h 511463"/>
                <a:gd name="connsiteX6" fmla="*/ 254870 w 370236"/>
                <a:gd name="connsiteY6" fmla="*/ 318611 h 511463"/>
                <a:gd name="connsiteX7" fmla="*/ 253394 w 370236"/>
                <a:gd name="connsiteY7" fmla="*/ 326041 h 511463"/>
                <a:gd name="connsiteX8" fmla="*/ 298561 w 370236"/>
                <a:gd name="connsiteY8" fmla="*/ 326041 h 511463"/>
                <a:gd name="connsiteX9" fmla="*/ 304038 w 370236"/>
                <a:gd name="connsiteY9" fmla="*/ 333156 h 511463"/>
                <a:gd name="connsiteX10" fmla="*/ 299295 w 370236"/>
                <a:gd name="connsiteY10" fmla="*/ 363150 h 511463"/>
                <a:gd name="connsiteX11" fmla="*/ 188233 w 370236"/>
                <a:gd name="connsiteY11" fmla="*/ 457867 h 511463"/>
                <a:gd name="connsiteX12" fmla="*/ 109147 w 370236"/>
                <a:gd name="connsiteY12" fmla="*/ 409327 h 511463"/>
                <a:gd name="connsiteX13" fmla="*/ 61160 w 370236"/>
                <a:gd name="connsiteY13" fmla="*/ 333604 h 511463"/>
                <a:gd name="connsiteX14" fmla="*/ 73009 w 370236"/>
                <a:gd name="connsiteY14" fmla="*/ 233391 h 511463"/>
                <a:gd name="connsiteX15" fmla="*/ 200520 w 370236"/>
                <a:gd name="connsiteY15" fmla="*/ 53445 h 511463"/>
                <a:gd name="connsiteX16" fmla="*/ 281673 w 370236"/>
                <a:gd name="connsiteY16" fmla="*/ 83439 h 511463"/>
                <a:gd name="connsiteX17" fmla="*/ 306114 w 370236"/>
                <a:gd name="connsiteY17" fmla="*/ 91307 h 511463"/>
                <a:gd name="connsiteX18" fmla="*/ 365198 w 370236"/>
                <a:gd name="connsiteY18" fmla="*/ 31328 h 511463"/>
                <a:gd name="connsiteX19" fmla="*/ 364017 w 370236"/>
                <a:gd name="connsiteY19" fmla="*/ 22717 h 511463"/>
                <a:gd name="connsiteX20" fmla="*/ 260794 w 370236"/>
                <a:gd name="connsiteY20" fmla="*/ 0 h 511463"/>
                <a:gd name="connsiteX21" fmla="*/ 11106 w 370236"/>
                <a:gd name="connsiteY21" fmla="*/ 277930 h 511463"/>
                <a:gd name="connsiteX22" fmla="*/ 0 w 370236"/>
                <a:gd name="connsiteY22" fmla="*/ 394040 h 511463"/>
                <a:gd name="connsiteX23" fmla="*/ 21174 w 370236"/>
                <a:gd name="connsiteY23" fmla="*/ 487709 h 511463"/>
                <a:gd name="connsiteX24" fmla="*/ 128102 w 370236"/>
                <a:gd name="connsiteY24" fmla="*/ 511464 h 511463"/>
                <a:gd name="connsiteX25" fmla="*/ 355721 w 370236"/>
                <a:gd name="connsiteY25" fmla="*/ 319649 h 511463"/>
                <a:gd name="connsiteX26" fmla="*/ 355721 w 370236"/>
                <a:gd name="connsiteY26" fmla="*/ 31935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0236" h="511463">
                  <a:moveTo>
                    <a:pt x="355721" y="319354"/>
                  </a:moveTo>
                  <a:lnTo>
                    <a:pt x="370237" y="227305"/>
                  </a:lnTo>
                  <a:lnTo>
                    <a:pt x="266271" y="227305"/>
                  </a:lnTo>
                  <a:cubicBezTo>
                    <a:pt x="230581" y="227305"/>
                    <a:pt x="211779" y="252689"/>
                    <a:pt x="211188" y="281502"/>
                  </a:cubicBezTo>
                  <a:lnTo>
                    <a:pt x="254127" y="281502"/>
                  </a:lnTo>
                  <a:cubicBezTo>
                    <a:pt x="258870" y="281502"/>
                    <a:pt x="260499" y="283121"/>
                    <a:pt x="259613" y="288617"/>
                  </a:cubicBezTo>
                  <a:lnTo>
                    <a:pt x="254870" y="318611"/>
                  </a:lnTo>
                  <a:cubicBezTo>
                    <a:pt x="254422" y="321135"/>
                    <a:pt x="253984" y="323659"/>
                    <a:pt x="253394" y="326041"/>
                  </a:cubicBezTo>
                  <a:lnTo>
                    <a:pt x="298561" y="326041"/>
                  </a:lnTo>
                  <a:cubicBezTo>
                    <a:pt x="303295" y="326041"/>
                    <a:pt x="304924" y="327660"/>
                    <a:pt x="304038" y="333156"/>
                  </a:cubicBezTo>
                  <a:lnTo>
                    <a:pt x="299295" y="363150"/>
                  </a:lnTo>
                  <a:cubicBezTo>
                    <a:pt x="289817" y="421643"/>
                    <a:pt x="249688" y="457867"/>
                    <a:pt x="188233" y="457867"/>
                  </a:cubicBezTo>
                  <a:cubicBezTo>
                    <a:pt x="141722" y="457867"/>
                    <a:pt x="117443" y="442874"/>
                    <a:pt x="109147" y="409327"/>
                  </a:cubicBezTo>
                  <a:cubicBezTo>
                    <a:pt x="75524" y="400717"/>
                    <a:pt x="61160" y="376809"/>
                    <a:pt x="61160" y="333604"/>
                  </a:cubicBezTo>
                  <a:cubicBezTo>
                    <a:pt x="61160" y="306734"/>
                    <a:pt x="65161" y="273625"/>
                    <a:pt x="73009" y="233391"/>
                  </a:cubicBezTo>
                  <a:cubicBezTo>
                    <a:pt x="87230" y="159153"/>
                    <a:pt x="93450" y="53445"/>
                    <a:pt x="200520" y="53445"/>
                  </a:cubicBezTo>
                  <a:cubicBezTo>
                    <a:pt x="232810" y="53445"/>
                    <a:pt x="251765" y="58941"/>
                    <a:pt x="281673" y="83439"/>
                  </a:cubicBezTo>
                  <a:cubicBezTo>
                    <a:pt x="287893" y="88192"/>
                    <a:pt x="295008" y="91307"/>
                    <a:pt x="306114" y="91307"/>
                  </a:cubicBezTo>
                  <a:cubicBezTo>
                    <a:pt x="336766" y="91307"/>
                    <a:pt x="365198" y="58941"/>
                    <a:pt x="365198" y="31328"/>
                  </a:cubicBezTo>
                  <a:cubicBezTo>
                    <a:pt x="365198" y="28213"/>
                    <a:pt x="364608" y="25394"/>
                    <a:pt x="364017" y="22717"/>
                  </a:cubicBezTo>
                  <a:cubicBezTo>
                    <a:pt x="333061" y="6534"/>
                    <a:pt x="293970" y="0"/>
                    <a:pt x="260794" y="0"/>
                  </a:cubicBezTo>
                  <a:cubicBezTo>
                    <a:pt x="70933" y="0"/>
                    <a:pt x="36290" y="116843"/>
                    <a:pt x="11106" y="277930"/>
                  </a:cubicBezTo>
                  <a:cubicBezTo>
                    <a:pt x="4001" y="322174"/>
                    <a:pt x="0" y="360778"/>
                    <a:pt x="0" y="394040"/>
                  </a:cubicBezTo>
                  <a:cubicBezTo>
                    <a:pt x="0" y="432930"/>
                    <a:pt x="7553" y="463810"/>
                    <a:pt x="21174" y="487709"/>
                  </a:cubicBezTo>
                  <a:cubicBezTo>
                    <a:pt x="49320" y="504044"/>
                    <a:pt x="85449" y="511464"/>
                    <a:pt x="128102" y="511464"/>
                  </a:cubicBezTo>
                  <a:cubicBezTo>
                    <a:pt x="264347" y="511464"/>
                    <a:pt x="336033" y="444360"/>
                    <a:pt x="355721" y="319649"/>
                  </a:cubicBezTo>
                  <a:lnTo>
                    <a:pt x="355721" y="319354"/>
                  </a:lnTo>
                  <a:close/>
                </a:path>
              </a:pathLst>
            </a:custGeom>
            <a:solidFill>
              <a:srgbClr val="FFFFFF"/>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49" name="Freeform: Shape 66">
              <a:extLst>
                <a:ext uri="{FF2B5EF4-FFF2-40B4-BE49-F238E27FC236}">
                  <a16:creationId xmlns:a16="http://schemas.microsoft.com/office/drawing/2014/main" id="{A798E733-A903-0808-42CC-D2F1CEEE8F29}"/>
                </a:ext>
              </a:extLst>
            </p:cNvPr>
            <p:cNvSpPr/>
            <p:nvPr/>
          </p:nvSpPr>
          <p:spPr>
            <a:xfrm>
              <a:off x="4243377" y="1685925"/>
              <a:ext cx="410813" cy="532247"/>
            </a:xfrm>
            <a:custGeom>
              <a:avLst/>
              <a:gdLst>
                <a:gd name="connsiteX0" fmla="*/ 55540 w 410813"/>
                <a:gd name="connsiteY0" fmla="*/ 322469 h 532247"/>
                <a:gd name="connsiteX1" fmla="*/ 304333 w 410813"/>
                <a:gd name="connsiteY1" fmla="*/ 44539 h 532247"/>
                <a:gd name="connsiteX2" fmla="*/ 410813 w 410813"/>
                <a:gd name="connsiteY2" fmla="*/ 68142 h 532247"/>
                <a:gd name="connsiteX3" fmla="*/ 259909 w 410813"/>
                <a:gd name="connsiteY3" fmla="*/ 0 h 532247"/>
                <a:gd name="connsiteX4" fmla="*/ 11116 w 410813"/>
                <a:gd name="connsiteY4" fmla="*/ 277930 h 532247"/>
                <a:gd name="connsiteX5" fmla="*/ 0 w 410813"/>
                <a:gd name="connsiteY5" fmla="*/ 394030 h 532247"/>
                <a:gd name="connsiteX6" fmla="*/ 65608 w 410813"/>
                <a:gd name="connsiteY6" fmla="*/ 532248 h 532247"/>
                <a:gd name="connsiteX7" fmla="*/ 44425 w 410813"/>
                <a:gd name="connsiteY7" fmla="*/ 438569 h 532247"/>
                <a:gd name="connsiteX8" fmla="*/ 55540 w 410813"/>
                <a:gd name="connsiteY8" fmla="*/ 322469 h 53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813" h="532247">
                  <a:moveTo>
                    <a:pt x="55540" y="322469"/>
                  </a:moveTo>
                  <a:cubicBezTo>
                    <a:pt x="80715" y="161382"/>
                    <a:pt x="115357" y="44539"/>
                    <a:pt x="304333" y="44539"/>
                  </a:cubicBezTo>
                  <a:cubicBezTo>
                    <a:pt x="347129" y="44539"/>
                    <a:pt x="382972" y="51968"/>
                    <a:pt x="410813" y="68142"/>
                  </a:cubicBezTo>
                  <a:cubicBezTo>
                    <a:pt x="383572" y="20488"/>
                    <a:pt x="331280" y="0"/>
                    <a:pt x="259909" y="0"/>
                  </a:cubicBezTo>
                  <a:cubicBezTo>
                    <a:pt x="70933" y="0"/>
                    <a:pt x="36281" y="116843"/>
                    <a:pt x="11116" y="277930"/>
                  </a:cubicBezTo>
                  <a:cubicBezTo>
                    <a:pt x="4000" y="322174"/>
                    <a:pt x="0" y="360778"/>
                    <a:pt x="0" y="394030"/>
                  </a:cubicBezTo>
                  <a:cubicBezTo>
                    <a:pt x="0" y="464258"/>
                    <a:pt x="23993" y="508044"/>
                    <a:pt x="65608" y="532248"/>
                  </a:cubicBezTo>
                  <a:cubicBezTo>
                    <a:pt x="51987" y="508349"/>
                    <a:pt x="44425" y="477622"/>
                    <a:pt x="44425" y="438569"/>
                  </a:cubicBezTo>
                  <a:cubicBezTo>
                    <a:pt x="44425" y="405460"/>
                    <a:pt x="48425" y="366713"/>
                    <a:pt x="55540" y="322469"/>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50" name="Freeform: Shape 67">
              <a:extLst>
                <a:ext uri="{FF2B5EF4-FFF2-40B4-BE49-F238E27FC236}">
                  <a16:creationId xmlns:a16="http://schemas.microsoft.com/office/drawing/2014/main" id="{E6224A80-C1C7-C195-6B51-4EC0FDFB4D94}"/>
                </a:ext>
              </a:extLst>
            </p:cNvPr>
            <p:cNvSpPr/>
            <p:nvPr/>
          </p:nvSpPr>
          <p:spPr>
            <a:xfrm>
              <a:off x="4396949" y="1833200"/>
              <a:ext cx="217550" cy="355130"/>
            </a:xfrm>
            <a:custGeom>
              <a:avLst/>
              <a:gdLst>
                <a:gd name="connsiteX0" fmla="*/ 79086 w 217550"/>
                <a:gd name="connsiteY0" fmla="*/ 355130 h 355130"/>
                <a:gd name="connsiteX1" fmla="*/ 206597 w 217550"/>
                <a:gd name="connsiteY1" fmla="*/ 175203 h 355130"/>
                <a:gd name="connsiteX2" fmla="*/ 217551 w 217550"/>
                <a:gd name="connsiteY2" fmla="*/ 75724 h 355130"/>
                <a:gd name="connsiteX3" fmla="*/ 168535 w 217550"/>
                <a:gd name="connsiteY3" fmla="*/ 0 h 355130"/>
                <a:gd name="connsiteX4" fmla="*/ 173126 w 217550"/>
                <a:gd name="connsiteY4" fmla="*/ 31185 h 355130"/>
                <a:gd name="connsiteX5" fmla="*/ 162173 w 217550"/>
                <a:gd name="connsiteY5" fmla="*/ 130654 h 355130"/>
                <a:gd name="connsiteX6" fmla="*/ 34661 w 217550"/>
                <a:gd name="connsiteY6" fmla="*/ 310591 h 355130"/>
                <a:gd name="connsiteX7" fmla="*/ 0 w 217550"/>
                <a:gd name="connsiteY7" fmla="*/ 306591 h 355130"/>
                <a:gd name="connsiteX8" fmla="*/ 79086 w 217550"/>
                <a:gd name="connsiteY8" fmla="*/ 355130 h 35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550" h="355130">
                  <a:moveTo>
                    <a:pt x="79086" y="355130"/>
                  </a:moveTo>
                  <a:cubicBezTo>
                    <a:pt x="177575" y="355130"/>
                    <a:pt x="191643" y="278530"/>
                    <a:pt x="206597" y="175203"/>
                  </a:cubicBezTo>
                  <a:cubicBezTo>
                    <a:pt x="212074" y="135703"/>
                    <a:pt x="217551" y="102594"/>
                    <a:pt x="217551" y="75724"/>
                  </a:cubicBezTo>
                  <a:cubicBezTo>
                    <a:pt x="217551" y="35785"/>
                    <a:pt x="200377" y="9954"/>
                    <a:pt x="168535" y="0"/>
                  </a:cubicBezTo>
                  <a:cubicBezTo>
                    <a:pt x="171345" y="9211"/>
                    <a:pt x="173126" y="19602"/>
                    <a:pt x="173126" y="31185"/>
                  </a:cubicBezTo>
                  <a:cubicBezTo>
                    <a:pt x="173126" y="58045"/>
                    <a:pt x="167650" y="91164"/>
                    <a:pt x="162173" y="130654"/>
                  </a:cubicBezTo>
                  <a:cubicBezTo>
                    <a:pt x="147218" y="234134"/>
                    <a:pt x="132998" y="310591"/>
                    <a:pt x="34661" y="310591"/>
                  </a:cubicBezTo>
                  <a:cubicBezTo>
                    <a:pt x="21184" y="310591"/>
                    <a:pt x="9925" y="309258"/>
                    <a:pt x="0" y="306591"/>
                  </a:cubicBezTo>
                  <a:cubicBezTo>
                    <a:pt x="8296" y="340138"/>
                    <a:pt x="32575" y="355130"/>
                    <a:pt x="79086" y="355130"/>
                  </a:cubicBezTo>
                  <a:close/>
                </a:path>
              </a:pathLst>
            </a:custGeom>
            <a:solidFill>
              <a:srgbClr val="00ADEE"/>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51" name="Freeform: Shape 68">
              <a:extLst>
                <a:ext uri="{FF2B5EF4-FFF2-40B4-BE49-F238E27FC236}">
                  <a16:creationId xmlns:a16="http://schemas.microsoft.com/office/drawing/2014/main" id="{FA84BE61-A355-FBB4-67D0-69F8A03EE0ED}"/>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ED3B94"/>
            </a:solidFill>
            <a:ln w="9525" cap="flat">
              <a:noFill/>
              <a:prstDash val="solid"/>
              <a:miter/>
            </a:ln>
          </p:spPr>
          <p:txBody>
            <a:bodyPr rtlCol="0" anchor="ctr"/>
            <a:lstStyle/>
            <a:p>
              <a:pPr defTabSz="408094"/>
              <a:endParaRPr lang="en-GB" sz="1800">
                <a:solidFill>
                  <a:srgbClr val="FFFFFF"/>
                </a:solidFill>
                <a:latin typeface="Proximus"/>
              </a:endParaRPr>
            </a:p>
          </p:txBody>
        </p:sp>
        <p:sp>
          <p:nvSpPr>
            <p:cNvPr id="52" name="Freeform: Shape 69">
              <a:extLst>
                <a:ext uri="{FF2B5EF4-FFF2-40B4-BE49-F238E27FC236}">
                  <a16:creationId xmlns:a16="http://schemas.microsoft.com/office/drawing/2014/main" id="{0A9A1712-9237-BD97-812C-40DB2C858BAE}"/>
                </a:ext>
              </a:extLst>
            </p:cNvPr>
            <p:cNvSpPr/>
            <p:nvPr/>
          </p:nvSpPr>
          <p:spPr>
            <a:xfrm>
              <a:off x="4287802" y="1730463"/>
              <a:ext cx="387867" cy="511463"/>
            </a:xfrm>
            <a:custGeom>
              <a:avLst/>
              <a:gdLst>
                <a:gd name="connsiteX0" fmla="*/ 377647 w 387867"/>
                <a:gd name="connsiteY0" fmla="*/ 233391 h 511463"/>
                <a:gd name="connsiteX1" fmla="*/ 387868 w 387867"/>
                <a:gd name="connsiteY1" fmla="*/ 118920 h 511463"/>
                <a:gd name="connsiteX2" fmla="*/ 366389 w 387867"/>
                <a:gd name="connsiteY2" fmla="*/ 23603 h 511463"/>
                <a:gd name="connsiteX3" fmla="*/ 259909 w 387867"/>
                <a:gd name="connsiteY3" fmla="*/ 0 h 511463"/>
                <a:gd name="connsiteX4" fmla="*/ 11116 w 387867"/>
                <a:gd name="connsiteY4" fmla="*/ 277930 h 511463"/>
                <a:gd name="connsiteX5" fmla="*/ 0 w 387867"/>
                <a:gd name="connsiteY5" fmla="*/ 394040 h 511463"/>
                <a:gd name="connsiteX6" fmla="*/ 21184 w 387867"/>
                <a:gd name="connsiteY6" fmla="*/ 487709 h 511463"/>
                <a:gd name="connsiteX7" fmla="*/ 128102 w 387867"/>
                <a:gd name="connsiteY7" fmla="*/ 511464 h 511463"/>
                <a:gd name="connsiteX8" fmla="*/ 377790 w 387867"/>
                <a:gd name="connsiteY8" fmla="*/ 233543 h 511463"/>
                <a:gd name="connsiteX9" fmla="*/ 377647 w 387867"/>
                <a:gd name="connsiteY9" fmla="*/ 233391 h 511463"/>
                <a:gd name="connsiteX10" fmla="*/ 61017 w 387867"/>
                <a:gd name="connsiteY10" fmla="*/ 333604 h 511463"/>
                <a:gd name="connsiteX11" fmla="*/ 72866 w 387867"/>
                <a:gd name="connsiteY11" fmla="*/ 233391 h 511463"/>
                <a:gd name="connsiteX12" fmla="*/ 200377 w 387867"/>
                <a:gd name="connsiteY12" fmla="*/ 53445 h 511463"/>
                <a:gd name="connsiteX13" fmla="*/ 277682 w 387867"/>
                <a:gd name="connsiteY13" fmla="*/ 102737 h 511463"/>
                <a:gd name="connsiteX14" fmla="*/ 326698 w 387867"/>
                <a:gd name="connsiteY14" fmla="*/ 178460 h 511463"/>
                <a:gd name="connsiteX15" fmla="*/ 315744 w 387867"/>
                <a:gd name="connsiteY15" fmla="*/ 277930 h 511463"/>
                <a:gd name="connsiteX16" fmla="*/ 188233 w 387867"/>
                <a:gd name="connsiteY16" fmla="*/ 457876 h 511463"/>
                <a:gd name="connsiteX17" fmla="*/ 109147 w 387867"/>
                <a:gd name="connsiteY17" fmla="*/ 409327 h 511463"/>
                <a:gd name="connsiteX18" fmla="*/ 61170 w 387867"/>
                <a:gd name="connsiteY18" fmla="*/ 333604 h 511463"/>
                <a:gd name="connsiteX19" fmla="*/ 61017 w 387867"/>
                <a:gd name="connsiteY19" fmla="*/ 333604 h 51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867" h="511463">
                  <a:moveTo>
                    <a:pt x="377647" y="233391"/>
                  </a:moveTo>
                  <a:cubicBezTo>
                    <a:pt x="384010" y="190043"/>
                    <a:pt x="387868" y="151286"/>
                    <a:pt x="387868" y="118920"/>
                  </a:cubicBezTo>
                  <a:cubicBezTo>
                    <a:pt x="387868" y="79429"/>
                    <a:pt x="380314" y="48101"/>
                    <a:pt x="366389" y="23603"/>
                  </a:cubicBezTo>
                  <a:cubicBezTo>
                    <a:pt x="338547" y="7420"/>
                    <a:pt x="302705" y="0"/>
                    <a:pt x="259909" y="0"/>
                  </a:cubicBezTo>
                  <a:cubicBezTo>
                    <a:pt x="70933" y="0"/>
                    <a:pt x="36290" y="116843"/>
                    <a:pt x="11116" y="277930"/>
                  </a:cubicBezTo>
                  <a:cubicBezTo>
                    <a:pt x="4001" y="322174"/>
                    <a:pt x="0" y="360778"/>
                    <a:pt x="0" y="394040"/>
                  </a:cubicBezTo>
                  <a:cubicBezTo>
                    <a:pt x="0" y="432930"/>
                    <a:pt x="7553" y="463810"/>
                    <a:pt x="21184" y="487709"/>
                  </a:cubicBezTo>
                  <a:cubicBezTo>
                    <a:pt x="49321" y="504044"/>
                    <a:pt x="85458" y="511464"/>
                    <a:pt x="128102" y="511464"/>
                  </a:cubicBezTo>
                  <a:cubicBezTo>
                    <a:pt x="319440" y="511464"/>
                    <a:pt x="351730" y="402498"/>
                    <a:pt x="377790" y="233543"/>
                  </a:cubicBezTo>
                  <a:lnTo>
                    <a:pt x="377647" y="233391"/>
                  </a:lnTo>
                  <a:close/>
                  <a:moveTo>
                    <a:pt x="61017" y="333604"/>
                  </a:moveTo>
                  <a:cubicBezTo>
                    <a:pt x="61017" y="306734"/>
                    <a:pt x="65018" y="273625"/>
                    <a:pt x="72866" y="233391"/>
                  </a:cubicBezTo>
                  <a:cubicBezTo>
                    <a:pt x="87087" y="159153"/>
                    <a:pt x="93307" y="53445"/>
                    <a:pt x="200377" y="53445"/>
                  </a:cubicBezTo>
                  <a:cubicBezTo>
                    <a:pt x="241249" y="53445"/>
                    <a:pt x="267757" y="70666"/>
                    <a:pt x="277682" y="102737"/>
                  </a:cubicBezTo>
                  <a:cubicBezTo>
                    <a:pt x="309372" y="112690"/>
                    <a:pt x="326698" y="138665"/>
                    <a:pt x="326698" y="178460"/>
                  </a:cubicBezTo>
                  <a:cubicBezTo>
                    <a:pt x="326698" y="205330"/>
                    <a:pt x="321221" y="238439"/>
                    <a:pt x="315744" y="277930"/>
                  </a:cubicBezTo>
                  <a:cubicBezTo>
                    <a:pt x="300790" y="381410"/>
                    <a:pt x="286569" y="457876"/>
                    <a:pt x="188233" y="457876"/>
                  </a:cubicBezTo>
                  <a:cubicBezTo>
                    <a:pt x="141732" y="457876"/>
                    <a:pt x="117443" y="442874"/>
                    <a:pt x="109147" y="409327"/>
                  </a:cubicBezTo>
                  <a:cubicBezTo>
                    <a:pt x="75524" y="400717"/>
                    <a:pt x="61170" y="376809"/>
                    <a:pt x="61170" y="333604"/>
                  </a:cubicBezTo>
                  <a:lnTo>
                    <a:pt x="61017" y="333604"/>
                  </a:lnTo>
                  <a:close/>
                </a:path>
              </a:pathLst>
            </a:custGeom>
            <a:solidFill>
              <a:srgbClr val="FFFFFF"/>
            </a:solidFill>
            <a:ln w="9525" cap="flat">
              <a:noFill/>
              <a:prstDash val="solid"/>
              <a:miter/>
            </a:ln>
          </p:spPr>
          <p:txBody>
            <a:bodyPr rtlCol="0" anchor="ctr"/>
            <a:lstStyle/>
            <a:p>
              <a:pPr defTabSz="408094"/>
              <a:endParaRPr lang="en-GB" sz="1800">
                <a:solidFill>
                  <a:srgbClr val="FFFFFF"/>
                </a:solidFill>
                <a:latin typeface="Proximus"/>
              </a:endParaRPr>
            </a:p>
          </p:txBody>
        </p:sp>
      </p:grpSp>
      <p:sp>
        <p:nvSpPr>
          <p:cNvPr id="70" name="Round Single Corner of Rectangle 69">
            <a:extLst>
              <a:ext uri="{FF2B5EF4-FFF2-40B4-BE49-F238E27FC236}">
                <a16:creationId xmlns:a16="http://schemas.microsoft.com/office/drawing/2014/main" id="{43D88904-197B-1592-0342-9D8D31811902}"/>
              </a:ext>
            </a:extLst>
          </p:cNvPr>
          <p:cNvSpPr/>
          <p:nvPr/>
        </p:nvSpPr>
        <p:spPr>
          <a:xfrm>
            <a:off x="6865538" y="1429909"/>
            <a:ext cx="1814175" cy="900000"/>
          </a:xfrm>
          <a:prstGeom prst="round1Rect">
            <a:avLst>
              <a:gd name="adj" fmla="val 17327"/>
            </a:avLst>
          </a:prstGeom>
          <a:solidFill>
            <a:schemeClr val="tx1"/>
          </a:solidFill>
          <a:ln>
            <a:solidFill>
              <a:srgbClr val="F3F4F9"/>
            </a:solid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pic>
        <p:nvPicPr>
          <p:cNvPr id="71" name="!!px_logo">
            <a:extLst>
              <a:ext uri="{FF2B5EF4-FFF2-40B4-BE49-F238E27FC236}">
                <a16:creationId xmlns:a16="http://schemas.microsoft.com/office/drawing/2014/main" id="{CE7DB548-3BA7-A4E2-73FB-AE55EF3BD14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5763" y="1616257"/>
            <a:ext cx="649224" cy="527304"/>
          </a:xfrm>
          <a:prstGeom prst="rect">
            <a:avLst/>
          </a:prstGeom>
        </p:spPr>
      </p:pic>
      <p:pic>
        <p:nvPicPr>
          <p:cNvPr id="72" name="Picture 71">
            <a:extLst>
              <a:ext uri="{FF2B5EF4-FFF2-40B4-BE49-F238E27FC236}">
                <a16:creationId xmlns:a16="http://schemas.microsoft.com/office/drawing/2014/main" id="{8F9AD54A-315B-B8A9-A163-26D8BEECC755}"/>
              </a:ext>
            </a:extLst>
          </p:cNvPr>
          <p:cNvPicPr>
            <a:picLocks noChangeAspect="1"/>
          </p:cNvPicPr>
          <p:nvPr/>
        </p:nvPicPr>
        <p:blipFill rotWithShape="1">
          <a:blip r:embed="rId9">
            <a:clrChange>
              <a:clrFrom>
                <a:srgbClr val="FFFFFF"/>
              </a:clrFrom>
              <a:clrTo>
                <a:srgbClr val="FFFFFF">
                  <a:alpha val="0"/>
                </a:srgbClr>
              </a:clrTo>
            </a:clrChange>
          </a:blip>
          <a:srcRect t="24343" b="26293"/>
          <a:stretch/>
        </p:blipFill>
        <p:spPr>
          <a:xfrm>
            <a:off x="2373800" y="1640833"/>
            <a:ext cx="739626" cy="365106"/>
          </a:xfrm>
          <a:prstGeom prst="rect">
            <a:avLst/>
          </a:prstGeom>
        </p:spPr>
      </p:pic>
      <p:sp>
        <p:nvSpPr>
          <p:cNvPr id="76" name="TextBox 75">
            <a:extLst>
              <a:ext uri="{FF2B5EF4-FFF2-40B4-BE49-F238E27FC236}">
                <a16:creationId xmlns:a16="http://schemas.microsoft.com/office/drawing/2014/main" id="{FC9BC985-B5D2-16B2-D9AD-94EA19C63213}"/>
              </a:ext>
            </a:extLst>
          </p:cNvPr>
          <p:cNvSpPr txBox="1"/>
          <p:nvPr/>
        </p:nvSpPr>
        <p:spPr>
          <a:xfrm>
            <a:off x="2309554" y="2434007"/>
            <a:ext cx="868346" cy="307777"/>
          </a:xfrm>
          <a:prstGeom prst="rect">
            <a:avLst/>
          </a:prstGeom>
          <a:noFill/>
        </p:spPr>
        <p:txBody>
          <a:bodyPr wrap="square" lIns="0" tIns="0" rIns="0" bIns="0" anchor="ctr">
            <a:noAutofit/>
          </a:bodyPr>
          <a:lstStyle/>
          <a:p>
            <a:pPr algn="ctr" defTabSz="408094"/>
            <a:r>
              <a:rPr lang="en-US" sz="1200">
                <a:solidFill>
                  <a:srgbClr val="FFFFFF"/>
                </a:solidFill>
                <a:latin typeface="Proximus Bold" pitchFamily="2" charset="77"/>
              </a:rPr>
              <a:t>FTTH</a:t>
            </a:r>
            <a:endParaRPr lang="en-BE" sz="1600">
              <a:solidFill>
                <a:srgbClr val="FFFFFF"/>
              </a:solidFill>
              <a:latin typeface="Proximus Bold" pitchFamily="2" charset="77"/>
            </a:endParaRPr>
          </a:p>
        </p:txBody>
      </p:sp>
      <p:pic>
        <p:nvPicPr>
          <p:cNvPr id="78" name="!!px_logo">
            <a:extLst>
              <a:ext uri="{FF2B5EF4-FFF2-40B4-BE49-F238E27FC236}">
                <a16:creationId xmlns:a16="http://schemas.microsoft.com/office/drawing/2014/main" id="{B5F6ED11-8997-8D44-BD96-D17C5B14F1A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2496" y="1616257"/>
            <a:ext cx="649224" cy="527304"/>
          </a:xfrm>
          <a:prstGeom prst="rect">
            <a:avLst/>
          </a:prstGeom>
        </p:spPr>
      </p:pic>
      <p:sp>
        <p:nvSpPr>
          <p:cNvPr id="83" name="TextBox 82">
            <a:extLst>
              <a:ext uri="{FF2B5EF4-FFF2-40B4-BE49-F238E27FC236}">
                <a16:creationId xmlns:a16="http://schemas.microsoft.com/office/drawing/2014/main" id="{63221E38-4751-9DB4-5710-FD7D9C02B1EF}"/>
              </a:ext>
            </a:extLst>
          </p:cNvPr>
          <p:cNvSpPr txBox="1"/>
          <p:nvPr/>
        </p:nvSpPr>
        <p:spPr>
          <a:xfrm>
            <a:off x="5497083" y="2434007"/>
            <a:ext cx="868346" cy="307777"/>
          </a:xfrm>
          <a:prstGeom prst="rect">
            <a:avLst/>
          </a:prstGeom>
          <a:noFill/>
        </p:spPr>
        <p:txBody>
          <a:bodyPr wrap="square" lIns="0" tIns="0" rIns="0" bIns="0" anchor="ctr">
            <a:noAutofit/>
          </a:bodyPr>
          <a:lstStyle/>
          <a:p>
            <a:pPr algn="ctr" defTabSz="408094"/>
            <a:r>
              <a:rPr lang="en-US" sz="1200">
                <a:solidFill>
                  <a:srgbClr val="FFFFFF"/>
                </a:solidFill>
                <a:latin typeface="Proximus Bold" pitchFamily="2" charset="77"/>
              </a:rPr>
              <a:t>HFC</a:t>
            </a:r>
            <a:endParaRPr lang="en-BE" sz="1600">
              <a:solidFill>
                <a:srgbClr val="FFFFFF"/>
              </a:solidFill>
              <a:latin typeface="Proximus Bold" pitchFamily="2" charset="77"/>
            </a:endParaRPr>
          </a:p>
        </p:txBody>
      </p:sp>
      <p:sp>
        <p:nvSpPr>
          <p:cNvPr id="84" name="TextBox 83">
            <a:extLst>
              <a:ext uri="{FF2B5EF4-FFF2-40B4-BE49-F238E27FC236}">
                <a16:creationId xmlns:a16="http://schemas.microsoft.com/office/drawing/2014/main" id="{6901F3BB-48EE-A2BF-1C2F-88A439668ABC}"/>
              </a:ext>
            </a:extLst>
          </p:cNvPr>
          <p:cNvSpPr txBox="1"/>
          <p:nvPr/>
        </p:nvSpPr>
        <p:spPr>
          <a:xfrm>
            <a:off x="6878020" y="2434007"/>
            <a:ext cx="868346" cy="307777"/>
          </a:xfrm>
          <a:prstGeom prst="rect">
            <a:avLst/>
          </a:prstGeom>
          <a:noFill/>
        </p:spPr>
        <p:txBody>
          <a:bodyPr wrap="square" lIns="0" tIns="0" rIns="0" bIns="0" anchor="ctr">
            <a:noAutofit/>
          </a:bodyPr>
          <a:lstStyle/>
          <a:p>
            <a:pPr algn="ctr" defTabSz="408094"/>
            <a:r>
              <a:rPr lang="en-US" sz="1200" err="1">
                <a:solidFill>
                  <a:srgbClr val="FFFFFF"/>
                </a:solidFill>
                <a:latin typeface="Proximus Bold" pitchFamily="2" charset="77"/>
              </a:rPr>
              <a:t>xDSL</a:t>
            </a:r>
            <a:endParaRPr lang="en-BE" sz="1600">
              <a:solidFill>
                <a:srgbClr val="FFFFFF"/>
              </a:solidFill>
              <a:latin typeface="Proximus Bold" pitchFamily="2" charset="77"/>
            </a:endParaRPr>
          </a:p>
        </p:txBody>
      </p:sp>
      <p:sp>
        <p:nvSpPr>
          <p:cNvPr id="85" name="TextBox 84">
            <a:extLst>
              <a:ext uri="{FF2B5EF4-FFF2-40B4-BE49-F238E27FC236}">
                <a16:creationId xmlns:a16="http://schemas.microsoft.com/office/drawing/2014/main" id="{9624AC88-42E4-2459-4E9E-E7BBA9733E38}"/>
              </a:ext>
            </a:extLst>
          </p:cNvPr>
          <p:cNvSpPr txBox="1"/>
          <p:nvPr/>
        </p:nvSpPr>
        <p:spPr>
          <a:xfrm>
            <a:off x="7805434" y="2434007"/>
            <a:ext cx="868346" cy="307777"/>
          </a:xfrm>
          <a:prstGeom prst="rect">
            <a:avLst/>
          </a:prstGeom>
          <a:noFill/>
        </p:spPr>
        <p:txBody>
          <a:bodyPr wrap="square" lIns="0" tIns="0" rIns="0" bIns="0" anchor="ctr">
            <a:noAutofit/>
          </a:bodyPr>
          <a:lstStyle/>
          <a:p>
            <a:pPr algn="ctr" defTabSz="408094"/>
            <a:r>
              <a:rPr lang="en-US" sz="1200">
                <a:solidFill>
                  <a:srgbClr val="FFFFFF"/>
                </a:solidFill>
                <a:latin typeface="Proximus Bold" pitchFamily="2" charset="77"/>
              </a:rPr>
              <a:t>FWA</a:t>
            </a:r>
            <a:endParaRPr lang="en-BE" sz="1600">
              <a:solidFill>
                <a:srgbClr val="FFFFFF"/>
              </a:solidFill>
              <a:latin typeface="Proximus Bold" pitchFamily="2" charset="77"/>
            </a:endParaRPr>
          </a:p>
        </p:txBody>
      </p:sp>
      <p:sp>
        <p:nvSpPr>
          <p:cNvPr id="87" name="Round Same-side Corner of Rectangle 86">
            <a:extLst>
              <a:ext uri="{FF2B5EF4-FFF2-40B4-BE49-F238E27FC236}">
                <a16:creationId xmlns:a16="http://schemas.microsoft.com/office/drawing/2014/main" id="{89665084-46A2-EB80-0CD9-D58B14DE7E08}"/>
              </a:ext>
            </a:extLst>
          </p:cNvPr>
          <p:cNvSpPr/>
          <p:nvPr/>
        </p:nvSpPr>
        <p:spPr>
          <a:xfrm flipH="1" flipV="1">
            <a:off x="467044" y="2814630"/>
            <a:ext cx="8213405" cy="430930"/>
          </a:xfrm>
          <a:prstGeom prst="round2SameRect">
            <a:avLst>
              <a:gd name="adj1" fmla="val 50000"/>
              <a:gd name="adj2" fmla="val 0"/>
            </a:avLst>
          </a:prstGeom>
          <a:gradFill flip="none" rotWithShape="1">
            <a:gsLst>
              <a:gs pos="0">
                <a:schemeClr val="bg1">
                  <a:alpha val="50000"/>
                </a:schemeClr>
              </a:gs>
              <a:gs pos="99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p>
            <a:pPr algn="ctr" defTabSz="913791"/>
            <a:endParaRPr lang="en-US" sz="900" b="1" err="1">
              <a:solidFill>
                <a:srgbClr val="FFFFFF"/>
              </a:solidFill>
              <a:latin typeface="Proximus Bold" panose="00000500000000000000" pitchFamily="2" charset="0"/>
              <a:cs typeface="Proximus Bold"/>
            </a:endParaRPr>
          </a:p>
        </p:txBody>
      </p:sp>
      <p:sp>
        <p:nvSpPr>
          <p:cNvPr id="86" name="TextBox 85">
            <a:extLst>
              <a:ext uri="{FF2B5EF4-FFF2-40B4-BE49-F238E27FC236}">
                <a16:creationId xmlns:a16="http://schemas.microsoft.com/office/drawing/2014/main" id="{FD3D7516-5883-7394-DE5A-D3340AC44506}"/>
              </a:ext>
            </a:extLst>
          </p:cNvPr>
          <p:cNvSpPr txBox="1"/>
          <p:nvPr/>
        </p:nvSpPr>
        <p:spPr>
          <a:xfrm>
            <a:off x="460374" y="2814630"/>
            <a:ext cx="8220076" cy="438778"/>
          </a:xfrm>
          <a:prstGeom prst="rect">
            <a:avLst/>
          </a:prstGeom>
        </p:spPr>
        <p:txBody>
          <a:bodyPr vert="horz" wrap="square" lIns="0" tIns="0" rIns="0" bIns="0" numCol="1" spcCol="0" rtlCol="0" anchor="ctr" anchorCtr="0">
            <a:noAutofit/>
          </a:bodyPr>
          <a:lstStyle/>
          <a:p>
            <a:pPr algn="ctr" defTabSz="408094">
              <a:lnSpc>
                <a:spcPct val="90000"/>
              </a:lnSpc>
            </a:pPr>
            <a:r>
              <a:rPr lang="en-GB" sz="1400" b="1">
                <a:solidFill>
                  <a:srgbClr val="FFFFFF"/>
                </a:solidFill>
                <a:latin typeface="Proximus Bold" pitchFamily="2" charset="77"/>
              </a:rPr>
              <a:t>Next-generation product portfolio covering all technologies</a:t>
            </a:r>
          </a:p>
        </p:txBody>
      </p:sp>
      <p:sp>
        <p:nvSpPr>
          <p:cNvPr id="3" name="TextBox 2">
            <a:extLst>
              <a:ext uri="{FF2B5EF4-FFF2-40B4-BE49-F238E27FC236}">
                <a16:creationId xmlns:a16="http://schemas.microsoft.com/office/drawing/2014/main" id="{7D02FBED-3318-BE31-4C0F-64546713C073}"/>
              </a:ext>
            </a:extLst>
          </p:cNvPr>
          <p:cNvSpPr txBox="1"/>
          <p:nvPr/>
        </p:nvSpPr>
        <p:spPr>
          <a:xfrm>
            <a:off x="467044" y="4819840"/>
            <a:ext cx="4572000" cy="123111"/>
          </a:xfrm>
          <a:prstGeom prst="rect">
            <a:avLst/>
          </a:prstGeom>
          <a:noFill/>
        </p:spPr>
        <p:txBody>
          <a:bodyPr wrap="square" lIns="0" tIns="0" rIns="0" bIns="0">
            <a:spAutoFit/>
          </a:bodyPr>
          <a:lstStyle/>
          <a:p>
            <a:pPr defTabSz="408094"/>
            <a:r>
              <a:rPr lang="en-US" sz="800">
                <a:solidFill>
                  <a:srgbClr val="000000"/>
                </a:solidFill>
                <a:latin typeface="Proximus Light" pitchFamily="2" charset="77"/>
                <a:ea typeface="Times New Roman" panose="02020603050405020304" pitchFamily="18" charset="0"/>
                <a:cs typeface="Aptos" panose="020B0004020202020204" pitchFamily="34" charset="0"/>
              </a:rPr>
              <a:t>Subject to the parties reaching a final agreement as well as regulatory and antitrust approvals</a:t>
            </a:r>
            <a:endParaRPr lang="en-US" sz="800">
              <a:solidFill>
                <a:srgbClr val="FFFFFF"/>
              </a:solidFill>
              <a:latin typeface="Proximus"/>
            </a:endParaRPr>
          </a:p>
        </p:txBody>
      </p:sp>
      <p:sp>
        <p:nvSpPr>
          <p:cNvPr id="7" name="Title 1">
            <a:extLst>
              <a:ext uri="{FF2B5EF4-FFF2-40B4-BE49-F238E27FC236}">
                <a16:creationId xmlns:a16="http://schemas.microsoft.com/office/drawing/2014/main" id="{85F58AD9-FB6D-0696-7DEB-9CF5F4BF9563}"/>
              </a:ext>
            </a:extLst>
          </p:cNvPr>
          <p:cNvSpPr>
            <a:spLocks noGrp="1"/>
          </p:cNvSpPr>
          <p:nvPr>
            <p:ph type="title"/>
          </p:nvPr>
        </p:nvSpPr>
        <p:spPr>
          <a:xfrm>
            <a:off x="1226990" y="377827"/>
            <a:ext cx="7455051" cy="660092"/>
          </a:xfrm>
        </p:spPr>
        <p:txBody>
          <a:bodyPr anchor="ctr"/>
          <a:lstStyle/>
          <a:p>
            <a:r>
              <a:rPr lang="en-GB">
                <a:solidFill>
                  <a:srgbClr val="2A2234"/>
                </a:solidFill>
              </a:rPr>
              <a:t>Multi-access experience</a:t>
            </a:r>
          </a:p>
        </p:txBody>
      </p:sp>
      <p:sp>
        <p:nvSpPr>
          <p:cNvPr id="8" name="!!OVAL_network">
            <a:extLst>
              <a:ext uri="{FF2B5EF4-FFF2-40B4-BE49-F238E27FC236}">
                <a16:creationId xmlns:a16="http://schemas.microsoft.com/office/drawing/2014/main" id="{21FDBE32-E76B-041F-1DE6-3FBE16C38F73}"/>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tx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sp>
        <p:nvSpPr>
          <p:cNvPr id="10" name="!!OVAL_network">
            <a:extLst>
              <a:ext uri="{FF2B5EF4-FFF2-40B4-BE49-F238E27FC236}">
                <a16:creationId xmlns:a16="http://schemas.microsoft.com/office/drawing/2014/main" id="{B7BBCCE3-FB42-525D-0D5E-D20A8D30B5B4}"/>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pic>
        <p:nvPicPr>
          <p:cNvPr id="14" name="Graphic 13">
            <a:extLst>
              <a:ext uri="{FF2B5EF4-FFF2-40B4-BE49-F238E27FC236}">
                <a16:creationId xmlns:a16="http://schemas.microsoft.com/office/drawing/2014/main" id="{12416BDD-33FB-60AD-4D85-3DC61D8EA9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3875" y="517372"/>
            <a:ext cx="381000" cy="381000"/>
          </a:xfrm>
          <a:prstGeom prst="rect">
            <a:avLst/>
          </a:prstGeom>
        </p:spPr>
      </p:pic>
    </p:spTree>
    <p:extLst>
      <p:ext uri="{BB962C8B-B14F-4D97-AF65-F5344CB8AC3E}">
        <p14:creationId xmlns:p14="http://schemas.microsoft.com/office/powerpoint/2010/main" val="570686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113ED-9437-6100-B934-32520C8209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581983-C32D-D1EE-A6D8-3DA224803FAA}"/>
              </a:ext>
            </a:extLst>
          </p:cNvPr>
          <p:cNvSpPr>
            <a:spLocks noGrp="1"/>
          </p:cNvSpPr>
          <p:nvPr>
            <p:ph type="title"/>
          </p:nvPr>
        </p:nvSpPr>
        <p:spPr>
          <a:xfrm>
            <a:off x="1226990" y="377827"/>
            <a:ext cx="7455051" cy="660092"/>
          </a:xfrm>
        </p:spPr>
        <p:txBody>
          <a:bodyPr anchor="ctr"/>
          <a:lstStyle/>
          <a:p>
            <a:r>
              <a:rPr lang="en-GB">
                <a:solidFill>
                  <a:srgbClr val="2A2234"/>
                </a:solidFill>
              </a:rPr>
              <a:t>Multi-access experience </a:t>
            </a:r>
            <a:r>
              <a:rPr lang="en-BE" b="0">
                <a:solidFill>
                  <a:srgbClr val="2A2234"/>
                </a:solidFill>
                <a:latin typeface="Proximus Light" pitchFamily="2" charset="77"/>
              </a:rPr>
              <a:t>in 2025</a:t>
            </a:r>
            <a:endParaRPr lang="en-GB">
              <a:solidFill>
                <a:srgbClr val="2A2234"/>
              </a:solidFill>
            </a:endParaRPr>
          </a:p>
        </p:txBody>
      </p:sp>
      <p:sp>
        <p:nvSpPr>
          <p:cNvPr id="39" name="!!OVAL_network">
            <a:extLst>
              <a:ext uri="{FF2B5EF4-FFF2-40B4-BE49-F238E27FC236}">
                <a16:creationId xmlns:a16="http://schemas.microsoft.com/office/drawing/2014/main" id="{FA061019-D5D0-933F-5DCB-D764C7BC141D}"/>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0CEE8652-FAF7-4E0C-8DA1-CBDC7EDEA6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5" name="Text Placeholder 4">
            <a:extLst>
              <a:ext uri="{FF2B5EF4-FFF2-40B4-BE49-F238E27FC236}">
                <a16:creationId xmlns:a16="http://schemas.microsoft.com/office/drawing/2014/main" id="{1F64FD6A-D50F-B409-07B7-97D161F6374F}"/>
              </a:ext>
            </a:extLst>
          </p:cNvPr>
          <p:cNvSpPr txBox="1">
            <a:spLocks/>
          </p:cNvSpPr>
          <p:nvPr/>
        </p:nvSpPr>
        <p:spPr>
          <a:xfrm>
            <a:off x="460376" y="1326777"/>
            <a:ext cx="3004676" cy="3395696"/>
          </a:xfrm>
          <a:prstGeom prst="roundRect">
            <a:avLst>
              <a:gd name="adj" fmla="val 6340"/>
            </a:avLst>
          </a:prstGeom>
          <a:solidFill>
            <a:schemeClr val="tx1"/>
          </a:solidFill>
          <a:effectLst>
            <a:outerShdw blurRad="508000" dist="38100" dir="5400000" algn="t" rotWithShape="0">
              <a:prstClr val="black">
                <a:alpha val="15000"/>
              </a:prstClr>
            </a:outerShdw>
          </a:effectLst>
        </p:spPr>
        <p:txBody>
          <a:bodyPr lIns="180000" tIns="81000" rIns="180000" bIns="81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1350"/>
              </a:spcAft>
              <a:buClr>
                <a:srgbClr val="41C3FF"/>
              </a:buClr>
              <a:buNone/>
              <a:defRPr/>
            </a:pPr>
            <a:r>
              <a:rPr lang="en-US" sz="3200" b="1">
                <a:gradFill>
                  <a:gsLst>
                    <a:gs pos="0">
                      <a:schemeClr val="bg1"/>
                    </a:gs>
                    <a:gs pos="99000">
                      <a:srgbClr val="41C3FF"/>
                    </a:gs>
                  </a:gsLst>
                  <a:lin ang="3000000" scaled="0"/>
                </a:gradFill>
                <a:latin typeface="Proximus ExtraBold" pitchFamily="2" charset="77"/>
              </a:rPr>
              <a:t>1 </a:t>
            </a:r>
            <a:r>
              <a:rPr lang="en-US" sz="2100" b="1">
                <a:gradFill>
                  <a:gsLst>
                    <a:gs pos="0">
                      <a:schemeClr val="bg1"/>
                    </a:gs>
                    <a:gs pos="99000">
                      <a:srgbClr val="41C3FF"/>
                    </a:gs>
                  </a:gsLst>
                  <a:lin ang="3000000" scaled="0"/>
                </a:gradFill>
                <a:latin typeface="Proximus ExtraBold" pitchFamily="2" charset="77"/>
              </a:rPr>
              <a:t> </a:t>
            </a:r>
            <a:r>
              <a:rPr lang="en-US" sz="2000" b="1">
                <a:gradFill>
                  <a:gsLst>
                    <a:gs pos="0">
                      <a:schemeClr val="bg1"/>
                    </a:gs>
                    <a:gs pos="99000">
                      <a:srgbClr val="41C3FF"/>
                    </a:gs>
                  </a:gsLst>
                  <a:lin ang="3000000" scaled="0"/>
                </a:gradFill>
                <a:latin typeface="Proximus ExtraBold" pitchFamily="2" charset="77"/>
              </a:rPr>
              <a:t>Harmonize</a:t>
            </a:r>
            <a:endParaRPr lang="en-US" sz="2100" b="1">
              <a:gradFill>
                <a:gsLst>
                  <a:gs pos="0">
                    <a:schemeClr val="bg1"/>
                  </a:gs>
                  <a:gs pos="99000">
                    <a:srgbClr val="41C3FF"/>
                  </a:gs>
                </a:gsLst>
                <a:lin ang="3000000" scaled="0"/>
              </a:gradFill>
              <a:latin typeface="Proximus ExtraBold" pitchFamily="2" charset="77"/>
            </a:endParaRPr>
          </a:p>
          <a:p>
            <a:pPr marL="0" indent="0" defTabSz="914219">
              <a:lnSpc>
                <a:spcPct val="110000"/>
              </a:lnSpc>
              <a:spcBef>
                <a:spcPts val="0"/>
              </a:spcBef>
              <a:spcAft>
                <a:spcPts val="1350"/>
              </a:spcAft>
              <a:buClr>
                <a:srgbClr val="41C3FF"/>
              </a:buClr>
              <a:buNone/>
              <a:defRPr/>
            </a:pPr>
            <a:endParaRPr lang="en-US" sz="2000" b="1">
              <a:gradFill>
                <a:gsLst>
                  <a:gs pos="0">
                    <a:schemeClr val="bg1"/>
                  </a:gs>
                  <a:gs pos="99000">
                    <a:srgbClr val="41C3FF"/>
                  </a:gs>
                </a:gsLst>
                <a:lin ang="3000000" scaled="0"/>
              </a:gradFill>
              <a:latin typeface="Proximus ExtraBold" pitchFamily="2" charset="77"/>
            </a:endParaRPr>
          </a:p>
          <a:p>
            <a:pPr marL="667941" indent="-257175" defTabSz="914219">
              <a:lnSpc>
                <a:spcPct val="110000"/>
              </a:lnSpc>
              <a:spcBef>
                <a:spcPts val="0"/>
              </a:spcBef>
              <a:spcAft>
                <a:spcPts val="900"/>
              </a:spcAft>
              <a:buClr>
                <a:srgbClr val="41C3FF"/>
              </a:buClr>
              <a:buFont typeface="+mj-lt"/>
              <a:buAutoNum type="arabicPeriod"/>
              <a:defRPr/>
            </a:pPr>
            <a:r>
              <a:rPr lang="en-US" sz="1350" b="1">
                <a:solidFill>
                  <a:srgbClr val="141C24"/>
                </a:solidFill>
                <a:latin typeface="Proximus Light" pitchFamily="2" charset="77"/>
              </a:rPr>
              <a:t>Selling on HP</a:t>
            </a:r>
          </a:p>
          <a:p>
            <a:pPr marL="667941" indent="-257175" defTabSz="914219">
              <a:lnSpc>
                <a:spcPct val="110000"/>
              </a:lnSpc>
              <a:spcBef>
                <a:spcPts val="0"/>
              </a:spcBef>
              <a:spcAft>
                <a:spcPts val="900"/>
              </a:spcAft>
              <a:buClr>
                <a:srgbClr val="41C3FF"/>
              </a:buClr>
              <a:buFont typeface="+mj-lt"/>
              <a:buAutoNum type="arabicPeriod"/>
              <a:defRPr/>
            </a:pPr>
            <a:r>
              <a:rPr lang="en-US" sz="1350" b="1">
                <a:solidFill>
                  <a:srgbClr val="141C24"/>
                </a:solidFill>
                <a:latin typeface="Proximus Light" pitchFamily="2" charset="77"/>
              </a:rPr>
              <a:t>Target =</a:t>
            </a:r>
            <a:r>
              <a:rPr lang="en-US" sz="1350" b="1" err="1">
                <a:solidFill>
                  <a:srgbClr val="141C24"/>
                </a:solidFill>
                <a:latin typeface="Proximus Light" pitchFamily="2" charset="77"/>
              </a:rPr>
              <a:t>JViaB</a:t>
            </a:r>
            <a:r>
              <a:rPr lang="en-US" sz="1350" b="1">
                <a:solidFill>
                  <a:srgbClr val="141C24"/>
                </a:solidFill>
                <a:latin typeface="Proximus Light" pitchFamily="2" charset="77"/>
              </a:rPr>
              <a:t> model</a:t>
            </a:r>
          </a:p>
          <a:p>
            <a:pPr marL="667941" indent="-257175" defTabSz="914219">
              <a:lnSpc>
                <a:spcPct val="110000"/>
              </a:lnSpc>
              <a:spcBef>
                <a:spcPts val="0"/>
              </a:spcBef>
              <a:spcAft>
                <a:spcPts val="900"/>
              </a:spcAft>
              <a:buClr>
                <a:srgbClr val="41C3FF"/>
              </a:buClr>
              <a:buFont typeface="+mj-lt"/>
              <a:buAutoNum type="arabicPeriod"/>
              <a:defRPr/>
            </a:pPr>
            <a:r>
              <a:rPr lang="en-US" sz="1350" b="1">
                <a:solidFill>
                  <a:srgbClr val="141C24"/>
                </a:solidFill>
                <a:latin typeface="Proximus Light" pitchFamily="2" charset="77"/>
              </a:rPr>
              <a:t>Standard APIs for </a:t>
            </a:r>
            <a:r>
              <a:rPr lang="en-US" sz="1350" b="1" err="1">
                <a:solidFill>
                  <a:srgbClr val="141C24"/>
                </a:solidFill>
                <a:latin typeface="Proximus Light" pitchFamily="2" charset="77"/>
              </a:rPr>
              <a:t>Telenet</a:t>
            </a:r>
            <a:endParaRPr lang="en-US" sz="1350" b="1">
              <a:solidFill>
                <a:srgbClr val="141C24"/>
              </a:solidFill>
              <a:latin typeface="Proximus Light" pitchFamily="2" charset="77"/>
            </a:endParaRPr>
          </a:p>
        </p:txBody>
      </p:sp>
      <p:pic>
        <p:nvPicPr>
          <p:cNvPr id="10" name="Picture 9" descr="A blue text on a white background&#10;&#10;Description automatically generated">
            <a:extLst>
              <a:ext uri="{FF2B5EF4-FFF2-40B4-BE49-F238E27FC236}">
                <a16:creationId xmlns:a16="http://schemas.microsoft.com/office/drawing/2014/main" id="{5D949377-6E46-F234-A20A-7A0C5DCF53D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108375" y="2072887"/>
            <a:ext cx="1562597" cy="437531"/>
          </a:xfrm>
          <a:prstGeom prst="rect">
            <a:avLst/>
          </a:prstGeom>
          <a:noFill/>
        </p:spPr>
      </p:pic>
      <p:sp>
        <p:nvSpPr>
          <p:cNvPr id="13" name="Text Placeholder 4">
            <a:extLst>
              <a:ext uri="{FF2B5EF4-FFF2-40B4-BE49-F238E27FC236}">
                <a16:creationId xmlns:a16="http://schemas.microsoft.com/office/drawing/2014/main" id="{DDE5DAA2-BB35-DADE-2B79-AA835A30E864}"/>
              </a:ext>
            </a:extLst>
          </p:cNvPr>
          <p:cNvSpPr txBox="1">
            <a:spLocks/>
          </p:cNvSpPr>
          <p:nvPr/>
        </p:nvSpPr>
        <p:spPr>
          <a:xfrm>
            <a:off x="3735213" y="1326777"/>
            <a:ext cx="3004676" cy="3395696"/>
          </a:xfrm>
          <a:prstGeom prst="roundRect">
            <a:avLst>
              <a:gd name="adj" fmla="val 6340"/>
            </a:avLst>
          </a:prstGeom>
          <a:solidFill>
            <a:schemeClr val="tx1"/>
          </a:solidFill>
          <a:effectLst>
            <a:outerShdw blurRad="508000" dist="38100" dir="5400000" algn="t" rotWithShape="0">
              <a:prstClr val="black">
                <a:alpha val="15000"/>
              </a:prstClr>
            </a:outerShdw>
          </a:effectLst>
        </p:spPr>
        <p:txBody>
          <a:bodyPr lIns="180000" tIns="81000" rIns="180000" bIns="81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1350"/>
              </a:spcAft>
              <a:buClr>
                <a:srgbClr val="41C3FF"/>
              </a:buClr>
              <a:buNone/>
              <a:defRPr/>
            </a:pPr>
            <a:r>
              <a:rPr lang="en-US" sz="3200" b="1">
                <a:gradFill>
                  <a:gsLst>
                    <a:gs pos="0">
                      <a:srgbClr val="5C2D91"/>
                    </a:gs>
                    <a:gs pos="99000">
                      <a:srgbClr val="41C3FF"/>
                    </a:gs>
                  </a:gsLst>
                  <a:lin ang="3000000" scaled="0"/>
                </a:gradFill>
                <a:latin typeface="Proximus ExtraBold" pitchFamily="2" charset="77"/>
              </a:rPr>
              <a:t>2  </a:t>
            </a:r>
            <a:r>
              <a:rPr lang="en-US" sz="2000" b="1">
                <a:gradFill>
                  <a:gsLst>
                    <a:gs pos="0">
                      <a:srgbClr val="5C2D91"/>
                    </a:gs>
                    <a:gs pos="99000">
                      <a:srgbClr val="41C3FF"/>
                    </a:gs>
                  </a:gsLst>
                  <a:lin ang="3000000" scaled="0"/>
                </a:gradFill>
                <a:latin typeface="Proximus ExtraBold" pitchFamily="2" charset="77"/>
              </a:rPr>
              <a:t>Prepare HFC</a:t>
            </a:r>
          </a:p>
          <a:p>
            <a:pPr marL="0" indent="0" defTabSz="914219">
              <a:lnSpc>
                <a:spcPct val="110000"/>
              </a:lnSpc>
              <a:spcBef>
                <a:spcPts val="0"/>
              </a:spcBef>
              <a:spcAft>
                <a:spcPts val="1350"/>
              </a:spcAft>
              <a:buClr>
                <a:srgbClr val="41C3FF"/>
              </a:buClr>
              <a:buNone/>
              <a:defRPr/>
            </a:pPr>
            <a:endParaRPr lang="en-US" sz="2000" b="1">
              <a:gradFill>
                <a:gsLst>
                  <a:gs pos="0">
                    <a:srgbClr val="5C2D91"/>
                  </a:gs>
                  <a:gs pos="99000">
                    <a:srgbClr val="41C3FF"/>
                  </a:gs>
                </a:gsLst>
                <a:lin ang="3000000" scaled="0"/>
              </a:gradFill>
              <a:latin typeface="Proximus ExtraBold" pitchFamily="2" charset="77"/>
            </a:endParaRPr>
          </a:p>
          <a:p>
            <a:pPr marL="714375" indent="-258763" defTabSz="914219">
              <a:lnSpc>
                <a:spcPct val="110000"/>
              </a:lnSpc>
              <a:spcBef>
                <a:spcPts val="0"/>
              </a:spcBef>
              <a:spcAft>
                <a:spcPts val="900"/>
              </a:spcAft>
              <a:buClr>
                <a:srgbClr val="41C3FF"/>
              </a:buClr>
              <a:buFont typeface="+mj-lt"/>
              <a:buAutoNum type="arabicPeriod"/>
              <a:defRPr/>
            </a:pPr>
            <a:r>
              <a:rPr lang="en-US" sz="1350" b="1">
                <a:solidFill>
                  <a:srgbClr val="141C24"/>
                </a:solidFill>
                <a:latin typeface="Proximus Light" pitchFamily="2" charset="77"/>
              </a:rPr>
              <a:t>New Proximus product on HFC</a:t>
            </a:r>
          </a:p>
          <a:p>
            <a:pPr marL="714375" indent="-258763" defTabSz="914219">
              <a:lnSpc>
                <a:spcPct val="110000"/>
              </a:lnSpc>
              <a:spcBef>
                <a:spcPts val="0"/>
              </a:spcBef>
              <a:spcAft>
                <a:spcPts val="900"/>
              </a:spcAft>
              <a:buClr>
                <a:srgbClr val="41C3FF"/>
              </a:buClr>
              <a:buFont typeface="+mj-lt"/>
              <a:buAutoNum type="arabicPeriod"/>
              <a:defRPr/>
            </a:pPr>
            <a:r>
              <a:rPr lang="en-US" sz="1350" b="1">
                <a:solidFill>
                  <a:srgbClr val="141C24"/>
                </a:solidFill>
                <a:latin typeface="Proximus Light" pitchFamily="2" charset="77"/>
              </a:rPr>
              <a:t>HFC modem</a:t>
            </a:r>
          </a:p>
          <a:p>
            <a:pPr marL="714375" indent="-258763" defTabSz="914219">
              <a:lnSpc>
                <a:spcPct val="110000"/>
              </a:lnSpc>
              <a:spcBef>
                <a:spcPts val="0"/>
              </a:spcBef>
              <a:spcAft>
                <a:spcPts val="900"/>
              </a:spcAft>
              <a:buClr>
                <a:srgbClr val="41C3FF"/>
              </a:buClr>
              <a:buFont typeface="+mj-lt"/>
              <a:buAutoNum type="arabicPeriod"/>
              <a:defRPr/>
            </a:pPr>
            <a:r>
              <a:rPr lang="en-US" sz="1350" b="1">
                <a:solidFill>
                  <a:srgbClr val="141C24"/>
                </a:solidFill>
                <a:latin typeface="Proximus Light" pitchFamily="2" charset="77"/>
              </a:rPr>
              <a:t>End-to-end network solution</a:t>
            </a:r>
          </a:p>
          <a:p>
            <a:pPr marL="714375" indent="-258763" defTabSz="914219">
              <a:lnSpc>
                <a:spcPct val="110000"/>
              </a:lnSpc>
              <a:spcBef>
                <a:spcPts val="0"/>
              </a:spcBef>
              <a:spcAft>
                <a:spcPts val="900"/>
              </a:spcAft>
              <a:buClr>
                <a:srgbClr val="41C3FF"/>
              </a:buClr>
              <a:buFont typeface="+mj-lt"/>
              <a:buAutoNum type="arabicPeriod"/>
              <a:defRPr/>
            </a:pPr>
            <a:r>
              <a:rPr lang="en-US" sz="1350" b="1">
                <a:solidFill>
                  <a:srgbClr val="141C24"/>
                </a:solidFill>
                <a:latin typeface="Proximus Light" pitchFamily="2" charset="77"/>
              </a:rPr>
              <a:t>APIs with Wyre</a:t>
            </a:r>
          </a:p>
          <a:p>
            <a:pPr marL="257175" indent="-257175" defTabSz="914219">
              <a:lnSpc>
                <a:spcPct val="110000"/>
              </a:lnSpc>
              <a:spcBef>
                <a:spcPts val="0"/>
              </a:spcBef>
              <a:spcAft>
                <a:spcPts val="900"/>
              </a:spcAft>
              <a:buClr>
                <a:srgbClr val="41C3FF"/>
              </a:buClr>
              <a:buFont typeface="+mj-lt"/>
              <a:buAutoNum type="arabicPeriod"/>
              <a:defRPr/>
            </a:pPr>
            <a:endParaRPr lang="en-US" sz="1350" b="1">
              <a:solidFill>
                <a:srgbClr val="141C24"/>
              </a:solidFill>
              <a:latin typeface="Proximus Light" pitchFamily="2" charset="77"/>
            </a:endParaRPr>
          </a:p>
        </p:txBody>
      </p:sp>
      <p:grpSp>
        <p:nvGrpSpPr>
          <p:cNvPr id="16" name="Group 15">
            <a:extLst>
              <a:ext uri="{FF2B5EF4-FFF2-40B4-BE49-F238E27FC236}">
                <a16:creationId xmlns:a16="http://schemas.microsoft.com/office/drawing/2014/main" id="{AD734A48-4AC0-D205-D547-9955B2FF0466}"/>
              </a:ext>
            </a:extLst>
          </p:cNvPr>
          <p:cNvGrpSpPr/>
          <p:nvPr/>
        </p:nvGrpSpPr>
        <p:grpSpPr>
          <a:xfrm>
            <a:off x="4419600" y="2144447"/>
            <a:ext cx="902825" cy="294403"/>
            <a:chOff x="6399138" y="1794304"/>
            <a:chExt cx="1373876" cy="530467"/>
          </a:xfrm>
        </p:grpSpPr>
        <p:sp>
          <p:nvSpPr>
            <p:cNvPr id="17" name="Freeform: Shape 40">
              <a:extLst>
                <a:ext uri="{FF2B5EF4-FFF2-40B4-BE49-F238E27FC236}">
                  <a16:creationId xmlns:a16="http://schemas.microsoft.com/office/drawing/2014/main" id="{D37B87E3-B356-4E27-7B8B-68DE57D38270}"/>
                </a:ext>
              </a:extLst>
            </p:cNvPr>
            <p:cNvSpPr/>
            <p:nvPr/>
          </p:nvSpPr>
          <p:spPr>
            <a:xfrm>
              <a:off x="6399138" y="1794515"/>
              <a:ext cx="503317" cy="327682"/>
            </a:xfrm>
            <a:custGeom>
              <a:avLst/>
              <a:gdLst>
                <a:gd name="connsiteX0" fmla="*/ 248457 w 503317"/>
                <a:gd name="connsiteY0" fmla="*/ 285725 h 327682"/>
                <a:gd name="connsiteX1" fmla="*/ 251220 w 503317"/>
                <a:gd name="connsiteY1" fmla="*/ 288487 h 327682"/>
                <a:gd name="connsiteX2" fmla="*/ 282080 w 503317"/>
                <a:gd name="connsiteY2" fmla="*/ 310966 h 327682"/>
                <a:gd name="connsiteX3" fmla="*/ 351994 w 503317"/>
                <a:gd name="connsiteY3" fmla="*/ 326777 h 327682"/>
                <a:gd name="connsiteX4" fmla="*/ 502679 w 503317"/>
                <a:gd name="connsiteY4" fmla="*/ 180950 h 327682"/>
                <a:gd name="connsiteX5" fmla="*/ 502679 w 503317"/>
                <a:gd name="connsiteY5" fmla="*/ -501 h 327682"/>
                <a:gd name="connsiteX6" fmla="*/ 431337 w 503317"/>
                <a:gd name="connsiteY6" fmla="*/ -501 h 327682"/>
                <a:gd name="connsiteX7" fmla="*/ 431337 w 503317"/>
                <a:gd name="connsiteY7" fmla="*/ 183331 h 327682"/>
                <a:gd name="connsiteX8" fmla="*/ 421812 w 503317"/>
                <a:gd name="connsiteY8" fmla="*/ 223336 h 327682"/>
                <a:gd name="connsiteX9" fmla="*/ 395904 w 503317"/>
                <a:gd name="connsiteY9" fmla="*/ 248482 h 327682"/>
                <a:gd name="connsiteX10" fmla="*/ 354470 w 503317"/>
                <a:gd name="connsiteY10" fmla="*/ 258007 h 327682"/>
                <a:gd name="connsiteX11" fmla="*/ 317799 w 503317"/>
                <a:gd name="connsiteY11" fmla="*/ 249911 h 327682"/>
                <a:gd name="connsiteX12" fmla="*/ 295320 w 503317"/>
                <a:gd name="connsiteY12" fmla="*/ 228575 h 327682"/>
                <a:gd name="connsiteX13" fmla="*/ 287034 w 503317"/>
                <a:gd name="connsiteY13" fmla="*/ 194761 h 327682"/>
                <a:gd name="connsiteX14" fmla="*/ 287034 w 503317"/>
                <a:gd name="connsiteY14" fmla="*/ 3309 h 327682"/>
                <a:gd name="connsiteX15" fmla="*/ 215310 w 503317"/>
                <a:gd name="connsiteY15" fmla="*/ 3309 h 327682"/>
                <a:gd name="connsiteX16" fmla="*/ 215310 w 503317"/>
                <a:gd name="connsiteY16" fmla="*/ 183522 h 327682"/>
                <a:gd name="connsiteX17" fmla="*/ 205785 w 503317"/>
                <a:gd name="connsiteY17" fmla="*/ 223527 h 327682"/>
                <a:gd name="connsiteX18" fmla="*/ 179877 w 503317"/>
                <a:gd name="connsiteY18" fmla="*/ 248672 h 327682"/>
                <a:gd name="connsiteX19" fmla="*/ 138539 w 503317"/>
                <a:gd name="connsiteY19" fmla="*/ 258197 h 327682"/>
                <a:gd name="connsiteX20" fmla="*/ 101772 w 503317"/>
                <a:gd name="connsiteY20" fmla="*/ 250101 h 327682"/>
                <a:gd name="connsiteX21" fmla="*/ 79293 w 503317"/>
                <a:gd name="connsiteY21" fmla="*/ 228765 h 327682"/>
                <a:gd name="connsiteX22" fmla="*/ 71007 w 503317"/>
                <a:gd name="connsiteY22" fmla="*/ 194952 h 327682"/>
                <a:gd name="connsiteX23" fmla="*/ 71007 w 503317"/>
                <a:gd name="connsiteY23" fmla="*/ 3499 h 327682"/>
                <a:gd name="connsiteX24" fmla="*/ -621 w 503317"/>
                <a:gd name="connsiteY24" fmla="*/ 3499 h 327682"/>
                <a:gd name="connsiteX25" fmla="*/ -621 w 503317"/>
                <a:gd name="connsiteY25" fmla="*/ 197904 h 327682"/>
                <a:gd name="connsiteX26" fmla="*/ 16809 w 503317"/>
                <a:gd name="connsiteY26" fmla="*/ 265436 h 327682"/>
                <a:gd name="connsiteX27" fmla="*/ 65958 w 503317"/>
                <a:gd name="connsiteY27" fmla="*/ 311347 h 327682"/>
                <a:gd name="connsiteX28" fmla="*/ 135872 w 503317"/>
                <a:gd name="connsiteY28" fmla="*/ 327159 h 327682"/>
                <a:gd name="connsiteX29" fmla="*/ 245314 w 503317"/>
                <a:gd name="connsiteY29" fmla="*/ 289059 h 32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3317" h="327682">
                  <a:moveTo>
                    <a:pt x="248457" y="285725"/>
                  </a:moveTo>
                  <a:lnTo>
                    <a:pt x="251220" y="288487"/>
                  </a:lnTo>
                  <a:cubicBezTo>
                    <a:pt x="260249" y="297574"/>
                    <a:pt x="270670" y="305156"/>
                    <a:pt x="282080" y="310966"/>
                  </a:cubicBezTo>
                  <a:cubicBezTo>
                    <a:pt x="303779" y="321777"/>
                    <a:pt x="327763" y="327197"/>
                    <a:pt x="351994" y="326777"/>
                  </a:cubicBezTo>
                  <a:cubicBezTo>
                    <a:pt x="444958" y="326777"/>
                    <a:pt x="502679" y="270866"/>
                    <a:pt x="502679" y="180950"/>
                  </a:cubicBezTo>
                  <a:lnTo>
                    <a:pt x="502679" y="-501"/>
                  </a:lnTo>
                  <a:lnTo>
                    <a:pt x="431337" y="-501"/>
                  </a:lnTo>
                  <a:lnTo>
                    <a:pt x="431337" y="183331"/>
                  </a:lnTo>
                  <a:cubicBezTo>
                    <a:pt x="431709" y="197266"/>
                    <a:pt x="428423" y="211058"/>
                    <a:pt x="421812" y="223336"/>
                  </a:cubicBezTo>
                  <a:cubicBezTo>
                    <a:pt x="415764" y="234033"/>
                    <a:pt x="406772" y="242758"/>
                    <a:pt x="395904" y="248482"/>
                  </a:cubicBezTo>
                  <a:cubicBezTo>
                    <a:pt x="383093" y="255026"/>
                    <a:pt x="368853" y="258293"/>
                    <a:pt x="354470" y="258007"/>
                  </a:cubicBezTo>
                  <a:cubicBezTo>
                    <a:pt x="341773" y="258293"/>
                    <a:pt x="329201" y="255511"/>
                    <a:pt x="317799" y="249911"/>
                  </a:cubicBezTo>
                  <a:cubicBezTo>
                    <a:pt x="308303" y="245263"/>
                    <a:pt x="300464" y="237814"/>
                    <a:pt x="295320" y="228575"/>
                  </a:cubicBezTo>
                  <a:cubicBezTo>
                    <a:pt x="289615" y="218240"/>
                    <a:pt x="286758" y="206572"/>
                    <a:pt x="287034" y="194761"/>
                  </a:cubicBezTo>
                  <a:lnTo>
                    <a:pt x="287034" y="3309"/>
                  </a:lnTo>
                  <a:lnTo>
                    <a:pt x="215310" y="3309"/>
                  </a:lnTo>
                  <a:lnTo>
                    <a:pt x="215310" y="183522"/>
                  </a:lnTo>
                  <a:cubicBezTo>
                    <a:pt x="215682" y="197457"/>
                    <a:pt x="212396" y="211249"/>
                    <a:pt x="205785" y="223527"/>
                  </a:cubicBezTo>
                  <a:cubicBezTo>
                    <a:pt x="199794" y="234261"/>
                    <a:pt x="190793" y="243005"/>
                    <a:pt x="179877" y="248672"/>
                  </a:cubicBezTo>
                  <a:cubicBezTo>
                    <a:pt x="167094" y="255216"/>
                    <a:pt x="152893" y="258483"/>
                    <a:pt x="138539" y="258197"/>
                  </a:cubicBezTo>
                  <a:cubicBezTo>
                    <a:pt x="125813" y="258483"/>
                    <a:pt x="113202" y="255702"/>
                    <a:pt x="101772" y="250101"/>
                  </a:cubicBezTo>
                  <a:cubicBezTo>
                    <a:pt x="92276" y="245453"/>
                    <a:pt x="84437" y="238004"/>
                    <a:pt x="79293" y="228765"/>
                  </a:cubicBezTo>
                  <a:cubicBezTo>
                    <a:pt x="73588" y="218431"/>
                    <a:pt x="70721" y="206763"/>
                    <a:pt x="71007" y="194952"/>
                  </a:cubicBezTo>
                  <a:lnTo>
                    <a:pt x="71007" y="3499"/>
                  </a:lnTo>
                  <a:lnTo>
                    <a:pt x="-621" y="3499"/>
                  </a:lnTo>
                  <a:lnTo>
                    <a:pt x="-621" y="197904"/>
                  </a:lnTo>
                  <a:cubicBezTo>
                    <a:pt x="-1003" y="221574"/>
                    <a:pt x="5017" y="244910"/>
                    <a:pt x="16809" y="265436"/>
                  </a:cubicBezTo>
                  <a:cubicBezTo>
                    <a:pt x="28497" y="285106"/>
                    <a:pt x="45546" y="301031"/>
                    <a:pt x="65958" y="311347"/>
                  </a:cubicBezTo>
                  <a:cubicBezTo>
                    <a:pt x="87656" y="322158"/>
                    <a:pt x="111640" y="327577"/>
                    <a:pt x="135872" y="327159"/>
                  </a:cubicBezTo>
                  <a:cubicBezTo>
                    <a:pt x="181116" y="327159"/>
                    <a:pt x="218930" y="313919"/>
                    <a:pt x="245314" y="289059"/>
                  </a:cubicBezTo>
                  <a:close/>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sp>
          <p:nvSpPr>
            <p:cNvPr id="18" name="Freeform: Shape 41">
              <a:extLst>
                <a:ext uri="{FF2B5EF4-FFF2-40B4-BE49-F238E27FC236}">
                  <a16:creationId xmlns:a16="http://schemas.microsoft.com/office/drawing/2014/main" id="{8053D3BC-B6A6-886E-0388-5574617691FD}"/>
                </a:ext>
              </a:extLst>
            </p:cNvPr>
            <p:cNvSpPr/>
            <p:nvPr/>
          </p:nvSpPr>
          <p:spPr>
            <a:xfrm>
              <a:off x="6538506" y="1794515"/>
              <a:ext cx="695134" cy="530256"/>
            </a:xfrm>
            <a:custGeom>
              <a:avLst/>
              <a:gdLst>
                <a:gd name="connsiteX0" fmla="*/ -639 w 695134"/>
                <a:gd name="connsiteY0" fmla="*/ 394024 h 530256"/>
                <a:gd name="connsiteX1" fmla="*/ 20983 w 695134"/>
                <a:gd name="connsiteY1" fmla="*/ 446507 h 530256"/>
                <a:gd name="connsiteX2" fmla="*/ 74323 w 695134"/>
                <a:gd name="connsiteY2" fmla="*/ 468796 h 530256"/>
                <a:gd name="connsiteX3" fmla="*/ 379123 w 695134"/>
                <a:gd name="connsiteY3" fmla="*/ 468796 h 530256"/>
                <a:gd name="connsiteX4" fmla="*/ 380075 w 695134"/>
                <a:gd name="connsiteY4" fmla="*/ 471558 h 530256"/>
                <a:gd name="connsiteX5" fmla="*/ 457990 w 695134"/>
                <a:gd name="connsiteY5" fmla="*/ 529755 h 530256"/>
                <a:gd name="connsiteX6" fmla="*/ 694496 w 695134"/>
                <a:gd name="connsiteY6" fmla="*/ 244958 h 530256"/>
                <a:gd name="connsiteX7" fmla="*/ 694496 w 695134"/>
                <a:gd name="connsiteY7" fmla="*/ 2927 h 530256"/>
                <a:gd name="connsiteX8" fmla="*/ 623154 w 695134"/>
                <a:gd name="connsiteY8" fmla="*/ 2927 h 530256"/>
                <a:gd name="connsiteX9" fmla="*/ 623154 w 695134"/>
                <a:gd name="connsiteY9" fmla="*/ 173139 h 530256"/>
                <a:gd name="connsiteX10" fmla="*/ 623154 w 695134"/>
                <a:gd name="connsiteY10" fmla="*/ 173139 h 530256"/>
                <a:gd name="connsiteX11" fmla="*/ 623154 w 695134"/>
                <a:gd name="connsiteY11" fmla="*/ 190189 h 530256"/>
                <a:gd name="connsiteX12" fmla="*/ 613629 w 695134"/>
                <a:gd name="connsiteY12" fmla="*/ 223145 h 530256"/>
                <a:gd name="connsiteX13" fmla="*/ 587720 w 695134"/>
                <a:gd name="connsiteY13" fmla="*/ 248196 h 530256"/>
                <a:gd name="connsiteX14" fmla="*/ 546382 w 695134"/>
                <a:gd name="connsiteY14" fmla="*/ 257721 h 530256"/>
                <a:gd name="connsiteX15" fmla="*/ 509616 w 695134"/>
                <a:gd name="connsiteY15" fmla="*/ 249625 h 530256"/>
                <a:gd name="connsiteX16" fmla="*/ 487136 w 695134"/>
                <a:gd name="connsiteY16" fmla="*/ 228289 h 530256"/>
                <a:gd name="connsiteX17" fmla="*/ 478850 w 695134"/>
                <a:gd name="connsiteY17" fmla="*/ 194475 h 530256"/>
                <a:gd name="connsiteX18" fmla="*/ 478850 w 695134"/>
                <a:gd name="connsiteY18" fmla="*/ -501 h 530256"/>
                <a:gd name="connsiteX19" fmla="*/ 407603 w 695134"/>
                <a:gd name="connsiteY19" fmla="*/ -501 h 530256"/>
                <a:gd name="connsiteX20" fmla="*/ 407603 w 695134"/>
                <a:gd name="connsiteY20" fmla="*/ 197523 h 530256"/>
                <a:gd name="connsiteX21" fmla="*/ 425034 w 695134"/>
                <a:gd name="connsiteY21" fmla="*/ 265056 h 530256"/>
                <a:gd name="connsiteX22" fmla="*/ 474183 w 695134"/>
                <a:gd name="connsiteY22" fmla="*/ 310966 h 530256"/>
                <a:gd name="connsiteX23" fmla="*/ 544096 w 695134"/>
                <a:gd name="connsiteY23" fmla="*/ 326777 h 530256"/>
                <a:gd name="connsiteX24" fmla="*/ 612390 w 695134"/>
                <a:gd name="connsiteY24" fmla="*/ 301155 h 530256"/>
                <a:gd name="connsiteX25" fmla="*/ 620486 w 695134"/>
                <a:gd name="connsiteY25" fmla="*/ 294869 h 530256"/>
                <a:gd name="connsiteX26" fmla="*/ 618867 w 695134"/>
                <a:gd name="connsiteY26" fmla="*/ 305061 h 530256"/>
                <a:gd name="connsiteX27" fmla="*/ 396554 w 695134"/>
                <a:gd name="connsiteY27" fmla="*/ 459365 h 530256"/>
                <a:gd name="connsiteX28" fmla="*/ 393791 w 695134"/>
                <a:gd name="connsiteY28" fmla="*/ 459365 h 530256"/>
                <a:gd name="connsiteX29" fmla="*/ 392935 w 695134"/>
                <a:gd name="connsiteY29" fmla="*/ 456699 h 530256"/>
                <a:gd name="connsiteX30" fmla="*/ 316735 w 695134"/>
                <a:gd name="connsiteY30" fmla="*/ 394500 h 53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5134" h="530256">
                  <a:moveTo>
                    <a:pt x="-639" y="394024"/>
                  </a:moveTo>
                  <a:cubicBezTo>
                    <a:pt x="85" y="413541"/>
                    <a:pt x="7753" y="432152"/>
                    <a:pt x="20983" y="446507"/>
                  </a:cubicBezTo>
                  <a:cubicBezTo>
                    <a:pt x="35042" y="460804"/>
                    <a:pt x="54273" y="468843"/>
                    <a:pt x="74323" y="468796"/>
                  </a:cubicBezTo>
                  <a:lnTo>
                    <a:pt x="379123" y="468796"/>
                  </a:lnTo>
                  <a:lnTo>
                    <a:pt x="380075" y="471558"/>
                  </a:lnTo>
                  <a:cubicBezTo>
                    <a:pt x="388267" y="495275"/>
                    <a:pt x="405317" y="529755"/>
                    <a:pt x="457990" y="529755"/>
                  </a:cubicBezTo>
                  <a:cubicBezTo>
                    <a:pt x="602579" y="529755"/>
                    <a:pt x="694496" y="429933"/>
                    <a:pt x="694496" y="244958"/>
                  </a:cubicBezTo>
                  <a:lnTo>
                    <a:pt x="694496" y="2927"/>
                  </a:lnTo>
                  <a:lnTo>
                    <a:pt x="623154" y="2927"/>
                  </a:lnTo>
                  <a:lnTo>
                    <a:pt x="623154" y="173139"/>
                  </a:lnTo>
                  <a:lnTo>
                    <a:pt x="623154" y="173139"/>
                  </a:lnTo>
                  <a:lnTo>
                    <a:pt x="623154" y="190189"/>
                  </a:lnTo>
                  <a:cubicBezTo>
                    <a:pt x="622478" y="201753"/>
                    <a:pt x="619220" y="213011"/>
                    <a:pt x="613629" y="223145"/>
                  </a:cubicBezTo>
                  <a:cubicBezTo>
                    <a:pt x="607666" y="233880"/>
                    <a:pt x="598646" y="242595"/>
                    <a:pt x="587720" y="248196"/>
                  </a:cubicBezTo>
                  <a:cubicBezTo>
                    <a:pt x="574957" y="254788"/>
                    <a:pt x="560746" y="258064"/>
                    <a:pt x="546382" y="257721"/>
                  </a:cubicBezTo>
                  <a:cubicBezTo>
                    <a:pt x="533657" y="258007"/>
                    <a:pt x="521045" y="255226"/>
                    <a:pt x="509616" y="249625"/>
                  </a:cubicBezTo>
                  <a:cubicBezTo>
                    <a:pt x="500138" y="244948"/>
                    <a:pt x="492299" y="237509"/>
                    <a:pt x="487136" y="228289"/>
                  </a:cubicBezTo>
                  <a:cubicBezTo>
                    <a:pt x="481431" y="217954"/>
                    <a:pt x="478574" y="206287"/>
                    <a:pt x="478850" y="194475"/>
                  </a:cubicBezTo>
                  <a:lnTo>
                    <a:pt x="478850" y="-501"/>
                  </a:lnTo>
                  <a:lnTo>
                    <a:pt x="407603" y="-501"/>
                  </a:lnTo>
                  <a:lnTo>
                    <a:pt x="407603" y="197523"/>
                  </a:lnTo>
                  <a:cubicBezTo>
                    <a:pt x="407222" y="221193"/>
                    <a:pt x="413241" y="244529"/>
                    <a:pt x="425034" y="265056"/>
                  </a:cubicBezTo>
                  <a:cubicBezTo>
                    <a:pt x="436721" y="284725"/>
                    <a:pt x="453770" y="300651"/>
                    <a:pt x="474183" y="310966"/>
                  </a:cubicBezTo>
                  <a:cubicBezTo>
                    <a:pt x="495881" y="321777"/>
                    <a:pt x="519865" y="327197"/>
                    <a:pt x="544096" y="326777"/>
                  </a:cubicBezTo>
                  <a:cubicBezTo>
                    <a:pt x="569109" y="326225"/>
                    <a:pt x="593188" y="317186"/>
                    <a:pt x="612390" y="301155"/>
                  </a:cubicBezTo>
                  <a:lnTo>
                    <a:pt x="620486" y="294869"/>
                  </a:lnTo>
                  <a:lnTo>
                    <a:pt x="618867" y="305061"/>
                  </a:lnTo>
                  <a:cubicBezTo>
                    <a:pt x="600484" y="447936"/>
                    <a:pt x="496567" y="459365"/>
                    <a:pt x="396554" y="459365"/>
                  </a:cubicBezTo>
                  <a:lnTo>
                    <a:pt x="393791" y="459365"/>
                  </a:lnTo>
                  <a:lnTo>
                    <a:pt x="392935" y="456699"/>
                  </a:lnTo>
                  <a:cubicBezTo>
                    <a:pt x="384457" y="428124"/>
                    <a:pt x="370741" y="394500"/>
                    <a:pt x="316735" y="394500"/>
                  </a:cubicBezTo>
                  <a:close/>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sp>
          <p:nvSpPr>
            <p:cNvPr id="19" name="Freeform: Shape 42">
              <a:extLst>
                <a:ext uri="{FF2B5EF4-FFF2-40B4-BE49-F238E27FC236}">
                  <a16:creationId xmlns:a16="http://schemas.microsoft.com/office/drawing/2014/main" id="{E74D0BCE-83EB-FA0D-70C6-D39089204D8F}"/>
                </a:ext>
              </a:extLst>
            </p:cNvPr>
            <p:cNvSpPr/>
            <p:nvPr/>
          </p:nvSpPr>
          <p:spPr>
            <a:xfrm>
              <a:off x="7479861" y="1794515"/>
              <a:ext cx="293153" cy="326898"/>
            </a:xfrm>
            <a:custGeom>
              <a:avLst/>
              <a:gdLst>
                <a:gd name="connsiteX0" fmla="*/ 72133 w 293153"/>
                <a:gd name="connsiteY0" fmla="*/ 130848 h 326898"/>
                <a:gd name="connsiteX1" fmla="*/ 157858 w 293153"/>
                <a:gd name="connsiteY1" fmla="*/ 64173 h 326898"/>
                <a:gd name="connsiteX2" fmla="*/ 213960 w 293153"/>
                <a:gd name="connsiteY2" fmla="*/ 132468 h 326898"/>
                <a:gd name="connsiteX3" fmla="*/ 72419 w 293153"/>
                <a:gd name="connsiteY3" fmla="*/ 130943 h 326898"/>
                <a:gd name="connsiteX4" fmla="*/ 159382 w 293153"/>
                <a:gd name="connsiteY4" fmla="*/ -501 h 326898"/>
                <a:gd name="connsiteX5" fmla="*/ -639 w 293153"/>
                <a:gd name="connsiteY5" fmla="*/ 167805 h 326898"/>
                <a:gd name="connsiteX6" fmla="*/ 162049 w 293153"/>
                <a:gd name="connsiteY6" fmla="*/ 326397 h 326898"/>
                <a:gd name="connsiteX7" fmla="*/ 290351 w 293153"/>
                <a:gd name="connsiteY7" fmla="*/ 288297 h 326898"/>
                <a:gd name="connsiteX8" fmla="*/ 255870 w 293153"/>
                <a:gd name="connsiteY8" fmla="*/ 232480 h 326898"/>
                <a:gd name="connsiteX9" fmla="*/ 162049 w 293153"/>
                <a:gd name="connsiteY9" fmla="*/ 258388 h 326898"/>
                <a:gd name="connsiteX10" fmla="*/ 71085 w 293153"/>
                <a:gd name="connsiteY10" fmla="*/ 193713 h 326898"/>
                <a:gd name="connsiteX11" fmla="*/ 289017 w 293153"/>
                <a:gd name="connsiteY11" fmla="*/ 140373 h 326898"/>
                <a:gd name="connsiteX12" fmla="*/ 159382 w 293153"/>
                <a:gd name="connsiteY12" fmla="*/ -25 h 32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153" h="326898">
                  <a:moveTo>
                    <a:pt x="72133" y="130848"/>
                  </a:moveTo>
                  <a:cubicBezTo>
                    <a:pt x="72133" y="130848"/>
                    <a:pt x="80515" y="64173"/>
                    <a:pt x="157858" y="64173"/>
                  </a:cubicBezTo>
                  <a:cubicBezTo>
                    <a:pt x="225866" y="64173"/>
                    <a:pt x="241678" y="113227"/>
                    <a:pt x="213960" y="132468"/>
                  </a:cubicBezTo>
                  <a:cubicBezTo>
                    <a:pt x="179956" y="155994"/>
                    <a:pt x="96707" y="145040"/>
                    <a:pt x="72419" y="130943"/>
                  </a:cubicBezTo>
                  <a:moveTo>
                    <a:pt x="159382" y="-501"/>
                  </a:moveTo>
                  <a:cubicBezTo>
                    <a:pt x="32604" y="-501"/>
                    <a:pt x="-639" y="102178"/>
                    <a:pt x="-639" y="167805"/>
                  </a:cubicBezTo>
                  <a:cubicBezTo>
                    <a:pt x="-639" y="264198"/>
                    <a:pt x="66799" y="326397"/>
                    <a:pt x="162049" y="326397"/>
                  </a:cubicBezTo>
                  <a:cubicBezTo>
                    <a:pt x="247774" y="326397"/>
                    <a:pt x="290351" y="288297"/>
                    <a:pt x="290351" y="288297"/>
                  </a:cubicBezTo>
                  <a:lnTo>
                    <a:pt x="255870" y="232480"/>
                  </a:lnTo>
                  <a:cubicBezTo>
                    <a:pt x="227714" y="249892"/>
                    <a:pt x="195158" y="258883"/>
                    <a:pt x="162049" y="258388"/>
                  </a:cubicBezTo>
                  <a:cubicBezTo>
                    <a:pt x="76324" y="258388"/>
                    <a:pt x="71085" y="193713"/>
                    <a:pt x="71085" y="193713"/>
                  </a:cubicBezTo>
                  <a:cubicBezTo>
                    <a:pt x="71085" y="193713"/>
                    <a:pt x="257489" y="238100"/>
                    <a:pt x="289017" y="140373"/>
                  </a:cubicBezTo>
                  <a:cubicBezTo>
                    <a:pt x="304828" y="91129"/>
                    <a:pt x="267967" y="-25"/>
                    <a:pt x="159382" y="-25"/>
                  </a:cubicBezTo>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sp>
          <p:nvSpPr>
            <p:cNvPr id="20" name="Freeform: Shape 43">
              <a:extLst>
                <a:ext uri="{FF2B5EF4-FFF2-40B4-BE49-F238E27FC236}">
                  <a16:creationId xmlns:a16="http://schemas.microsoft.com/office/drawing/2014/main" id="{9295D910-7F4E-3A0D-8C3D-F26BBC072730}"/>
                </a:ext>
              </a:extLst>
            </p:cNvPr>
            <p:cNvSpPr/>
            <p:nvPr/>
          </p:nvSpPr>
          <p:spPr>
            <a:xfrm>
              <a:off x="7276979" y="1794304"/>
              <a:ext cx="216884" cy="322822"/>
            </a:xfrm>
            <a:custGeom>
              <a:avLst/>
              <a:gdLst>
                <a:gd name="connsiteX0" fmla="*/ -639 w 216884"/>
                <a:gd name="connsiteY0" fmla="*/ 322321 h 322822"/>
                <a:gd name="connsiteX1" fmla="*/ 70704 w 216884"/>
                <a:gd name="connsiteY1" fmla="*/ 322321 h 322822"/>
                <a:gd name="connsiteX2" fmla="*/ 70704 w 216884"/>
                <a:gd name="connsiteY2" fmla="*/ 143060 h 322822"/>
                <a:gd name="connsiteX3" fmla="*/ 80229 w 216884"/>
                <a:gd name="connsiteY3" fmla="*/ 103055 h 322822"/>
                <a:gd name="connsiteX4" fmla="*/ 106137 w 216884"/>
                <a:gd name="connsiteY4" fmla="*/ 78005 h 322822"/>
                <a:gd name="connsiteX5" fmla="*/ 147475 w 216884"/>
                <a:gd name="connsiteY5" fmla="*/ 68480 h 322822"/>
                <a:gd name="connsiteX6" fmla="*/ 180718 w 216884"/>
                <a:gd name="connsiteY6" fmla="*/ 74861 h 322822"/>
                <a:gd name="connsiteX7" fmla="*/ 216246 w 216884"/>
                <a:gd name="connsiteY7" fmla="*/ 13425 h 322822"/>
                <a:gd name="connsiteX8" fmla="*/ 150142 w 216884"/>
                <a:gd name="connsiteY8" fmla="*/ -481 h 322822"/>
                <a:gd name="connsiteX9" fmla="*/ -543 w 216884"/>
                <a:gd name="connsiteY9" fmla="*/ 145346 h 32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884" h="322822">
                  <a:moveTo>
                    <a:pt x="-639" y="322321"/>
                  </a:moveTo>
                  <a:lnTo>
                    <a:pt x="70704" y="322321"/>
                  </a:lnTo>
                  <a:lnTo>
                    <a:pt x="70704" y="143060"/>
                  </a:lnTo>
                  <a:cubicBezTo>
                    <a:pt x="70332" y="129125"/>
                    <a:pt x="73619" y="115333"/>
                    <a:pt x="80229" y="103055"/>
                  </a:cubicBezTo>
                  <a:cubicBezTo>
                    <a:pt x="86192" y="92321"/>
                    <a:pt x="95211" y="83605"/>
                    <a:pt x="106137" y="78005"/>
                  </a:cubicBezTo>
                  <a:cubicBezTo>
                    <a:pt x="118900" y="71413"/>
                    <a:pt x="133111" y="68137"/>
                    <a:pt x="147475" y="68480"/>
                  </a:cubicBezTo>
                  <a:cubicBezTo>
                    <a:pt x="158877" y="68299"/>
                    <a:pt x="170192" y="70470"/>
                    <a:pt x="180718" y="74861"/>
                  </a:cubicBezTo>
                  <a:lnTo>
                    <a:pt x="216246" y="13425"/>
                  </a:lnTo>
                  <a:cubicBezTo>
                    <a:pt x="195529" y="3900"/>
                    <a:pt x="172936" y="-853"/>
                    <a:pt x="150142" y="-481"/>
                  </a:cubicBezTo>
                  <a:cubicBezTo>
                    <a:pt x="57178" y="-481"/>
                    <a:pt x="-543" y="55430"/>
                    <a:pt x="-543" y="145346"/>
                  </a:cubicBezTo>
                  <a:close/>
                </a:path>
              </a:pathLst>
            </a:custGeom>
            <a:solidFill>
              <a:srgbClr val="008360"/>
            </a:solidFill>
            <a:ln w="9525" cap="flat">
              <a:noFill/>
              <a:prstDash val="solid"/>
              <a:miter/>
            </a:ln>
          </p:spPr>
          <p:txBody>
            <a:bodyPr rtlCol="0" anchor="ctr"/>
            <a:lstStyle/>
            <a:p>
              <a:pPr defTabSz="685800"/>
              <a:endParaRPr lang="en-GB" sz="1350">
                <a:solidFill>
                  <a:srgbClr val="FFFFFF"/>
                </a:solidFill>
                <a:latin typeface="Proximus"/>
              </a:endParaRPr>
            </a:p>
          </p:txBody>
        </p:sp>
      </p:grpSp>
      <p:sp>
        <p:nvSpPr>
          <p:cNvPr id="8" name="Afgeronde rechthoek 7">
            <a:extLst>
              <a:ext uri="{FF2B5EF4-FFF2-40B4-BE49-F238E27FC236}">
                <a16:creationId xmlns:a16="http://schemas.microsoft.com/office/drawing/2014/main" id="{45F5665B-C907-CDC8-6453-67A443CE0D8A}"/>
              </a:ext>
            </a:extLst>
          </p:cNvPr>
          <p:cNvSpPr/>
          <p:nvPr/>
        </p:nvSpPr>
        <p:spPr>
          <a:xfrm>
            <a:off x="453233" y="4003675"/>
            <a:ext cx="3011819" cy="718797"/>
          </a:xfrm>
          <a:prstGeom prst="round2SameRect">
            <a:avLst>
              <a:gd name="adj1" fmla="val 0"/>
              <a:gd name="adj2" fmla="val 22859"/>
            </a:avLst>
          </a:prstGeom>
          <a:gradFill>
            <a:gsLst>
              <a:gs pos="0">
                <a:srgbClr val="5C2D91"/>
              </a:gs>
              <a:gs pos="99000">
                <a:srgbClr val="41C3FF"/>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0" rtlCol="0" anchor="ctr" anchorCtr="0"/>
          <a:lstStyle/>
          <a:p>
            <a:pPr marL="804863" defTabSz="1218418"/>
            <a:r>
              <a:rPr lang="en-US" sz="1100" b="1">
                <a:solidFill>
                  <a:schemeClr val="tx1"/>
                </a:solidFill>
                <a:latin typeface="Proximus Light" pitchFamily="2" charset="77"/>
              </a:rPr>
              <a:t>Secure roll-out: </a:t>
            </a:r>
            <a:br>
              <a:rPr lang="en-US" sz="1100" b="1">
                <a:solidFill>
                  <a:srgbClr val="141C24"/>
                </a:solidFill>
                <a:latin typeface="Proximus Light" pitchFamily="2" charset="77"/>
              </a:rPr>
            </a:br>
            <a:r>
              <a:rPr lang="en-US" sz="1100" b="1">
                <a:solidFill>
                  <a:schemeClr val="tx1"/>
                </a:solidFill>
                <a:latin typeface="Proximus Light" pitchFamily="2" charset="77"/>
              </a:rPr>
              <a:t>no IT disruption</a:t>
            </a:r>
          </a:p>
        </p:txBody>
      </p:sp>
      <p:sp>
        <p:nvSpPr>
          <p:cNvPr id="3" name="Text Placeholder 4">
            <a:extLst>
              <a:ext uri="{FF2B5EF4-FFF2-40B4-BE49-F238E27FC236}">
                <a16:creationId xmlns:a16="http://schemas.microsoft.com/office/drawing/2014/main" id="{E4301D69-45F5-E21A-BA6F-EE188973D647}"/>
              </a:ext>
            </a:extLst>
          </p:cNvPr>
          <p:cNvSpPr txBox="1">
            <a:spLocks/>
          </p:cNvSpPr>
          <p:nvPr/>
        </p:nvSpPr>
        <p:spPr>
          <a:xfrm>
            <a:off x="7010049" y="1326777"/>
            <a:ext cx="1657199" cy="3395696"/>
          </a:xfrm>
          <a:prstGeom prst="roundRect">
            <a:avLst>
              <a:gd name="adj" fmla="val 11495"/>
            </a:avLst>
          </a:prstGeom>
          <a:blipFill>
            <a:blip r:embed="rId6">
              <a:extLst>
                <a:ext uri="{BEBA8EAE-BF5A-486C-A8C5-ECC9F3942E4B}">
                  <a14:imgProps xmlns:a14="http://schemas.microsoft.com/office/drawing/2010/main">
                    <a14:imgLayer r:embed="rId7">
                      <a14:imgEffect>
                        <a14:brightnessContrast bright="20000" contrast="20000"/>
                      </a14:imgEffect>
                    </a14:imgLayer>
                  </a14:imgProps>
                </a:ext>
              </a:extLst>
            </a:blip>
            <a:srcRect/>
            <a:stretch>
              <a:fillRect l="-46806" r="-217472"/>
            </a:stretch>
          </a:blipFill>
          <a:effectLst>
            <a:outerShdw blurRad="508000" dist="38100" dir="5400000" algn="t" rotWithShape="0">
              <a:prstClr val="black">
                <a:alpha val="15000"/>
              </a:prstClr>
            </a:outerShdw>
          </a:effectLst>
        </p:spPr>
        <p:txBody>
          <a:bodyPr lIns="180000" tIns="81000" rIns="180000" bIns="81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900"/>
              </a:spcAft>
              <a:buClr>
                <a:srgbClr val="41C3FF"/>
              </a:buClr>
              <a:buNone/>
              <a:defRPr/>
            </a:pPr>
            <a:endParaRPr lang="en-US" sz="1350" b="1">
              <a:solidFill>
                <a:srgbClr val="141C24"/>
              </a:solidFill>
              <a:latin typeface="Proximus Light" pitchFamily="2" charset="77"/>
            </a:endParaRPr>
          </a:p>
        </p:txBody>
      </p:sp>
      <p:sp>
        <p:nvSpPr>
          <p:cNvPr id="7" name="Text Placeholder 4">
            <a:extLst>
              <a:ext uri="{FF2B5EF4-FFF2-40B4-BE49-F238E27FC236}">
                <a16:creationId xmlns:a16="http://schemas.microsoft.com/office/drawing/2014/main" id="{7B106141-DF9D-915A-6BD8-273ACC49E2E8}"/>
              </a:ext>
            </a:extLst>
          </p:cNvPr>
          <p:cNvSpPr txBox="1">
            <a:spLocks/>
          </p:cNvSpPr>
          <p:nvPr/>
        </p:nvSpPr>
        <p:spPr>
          <a:xfrm>
            <a:off x="7017192" y="1442148"/>
            <a:ext cx="1657199" cy="659315"/>
          </a:xfrm>
          <a:prstGeom prst="roundRect">
            <a:avLst>
              <a:gd name="adj" fmla="val 11495"/>
            </a:avLst>
          </a:prstGeom>
          <a:noFill/>
          <a:effectLst>
            <a:outerShdw blurRad="508000" dist="38100" dir="5400000" algn="t" rotWithShape="0">
              <a:prstClr val="black">
                <a:alpha val="15000"/>
              </a:prstClr>
            </a:outerShdw>
          </a:effectLst>
        </p:spPr>
        <p:txBody>
          <a:bodyPr lIns="180000" tIns="81000" rIns="180000" bIns="81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1350"/>
              </a:spcAft>
              <a:buClr>
                <a:srgbClr val="5C2D91"/>
              </a:buClr>
              <a:buNone/>
              <a:defRPr/>
            </a:pPr>
            <a:r>
              <a:rPr lang="en-US" sz="1800" b="1">
                <a:gradFill>
                  <a:gsLst>
                    <a:gs pos="0">
                      <a:srgbClr val="5C2D91"/>
                    </a:gs>
                    <a:gs pos="99000">
                      <a:srgbClr val="41C3FF"/>
                    </a:gs>
                  </a:gsLst>
                  <a:lin ang="3000000" scaled="0"/>
                </a:gradFill>
                <a:latin typeface="Proximus ExtraBold" pitchFamily="2" charset="77"/>
              </a:rPr>
              <a:t>Icebreaker concept</a:t>
            </a:r>
            <a:endParaRPr lang="en-US" sz="3000" b="1">
              <a:gradFill>
                <a:gsLst>
                  <a:gs pos="0">
                    <a:srgbClr val="5C2D91"/>
                  </a:gs>
                  <a:gs pos="99000">
                    <a:srgbClr val="41C3FF"/>
                  </a:gs>
                </a:gsLst>
                <a:lin ang="3000000" scaled="0"/>
              </a:gradFill>
              <a:latin typeface="Proximus ExtraBold" pitchFamily="2" charset="77"/>
            </a:endParaRPr>
          </a:p>
        </p:txBody>
      </p:sp>
      <p:sp>
        <p:nvSpPr>
          <p:cNvPr id="14" name="TextBox 13">
            <a:extLst>
              <a:ext uri="{FF2B5EF4-FFF2-40B4-BE49-F238E27FC236}">
                <a16:creationId xmlns:a16="http://schemas.microsoft.com/office/drawing/2014/main" id="{D5811B9D-5649-AE5F-963E-C54610DD523B}"/>
              </a:ext>
            </a:extLst>
          </p:cNvPr>
          <p:cNvSpPr txBox="1"/>
          <p:nvPr/>
        </p:nvSpPr>
        <p:spPr>
          <a:xfrm>
            <a:off x="1108375" y="4025107"/>
            <a:ext cx="419695" cy="632619"/>
          </a:xfrm>
          <a:prstGeom prst="rect">
            <a:avLst/>
          </a:prstGeom>
          <a:noFill/>
        </p:spPr>
        <p:txBody>
          <a:bodyPr wrap="square" lIns="0" tIns="0" rIns="0" bIns="0" anchor="ctr">
            <a:noAutofit/>
          </a:bodyPr>
          <a:lstStyle/>
          <a:p>
            <a:r>
              <a:rPr lang="en-US" sz="3200" b="1">
                <a:latin typeface="Proximus ExtraBold" pitchFamily="2" charset="77"/>
              </a:rPr>
              <a:t>!</a:t>
            </a:r>
            <a:endParaRPr lang="en-BE" sz="2800"/>
          </a:p>
        </p:txBody>
      </p:sp>
    </p:spTree>
    <p:extLst>
      <p:ext uri="{BB962C8B-B14F-4D97-AF65-F5344CB8AC3E}">
        <p14:creationId xmlns:p14="http://schemas.microsoft.com/office/powerpoint/2010/main" val="556553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5856656-38A4-3694-A9C0-EB08C10288D0}"/>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29B5343B-D6A8-5D22-982F-65128C3AC73A}"/>
              </a:ext>
            </a:extLst>
          </p:cNvPr>
          <p:cNvSpPr>
            <a:spLocks noGrp="1"/>
          </p:cNvSpPr>
          <p:nvPr>
            <p:ph type="body" sz="quarter" idx="13"/>
          </p:nvPr>
        </p:nvSpPr>
        <p:spPr>
          <a:xfrm>
            <a:off x="460369" y="923131"/>
            <a:ext cx="1908000" cy="3297238"/>
          </a:xfrm>
          <a:solidFill>
            <a:schemeClr val="tx1"/>
          </a:solidFill>
        </p:spPr>
        <p:txBody>
          <a:bodyPr tIns="1494000"/>
          <a:lstStyle/>
          <a:p>
            <a:pPr algn="ctr"/>
            <a:r>
              <a:rPr lang="en-BE" sz="1600" b="1">
                <a:solidFill>
                  <a:srgbClr val="2A2234"/>
                </a:solidFill>
                <a:latin typeface="Proximus ExtraBold" pitchFamily="2" charset="77"/>
              </a:rPr>
              <a:t>Bold experiences</a:t>
            </a:r>
          </a:p>
        </p:txBody>
      </p:sp>
      <p:sp>
        <p:nvSpPr>
          <p:cNvPr id="4" name="!!box2">
            <a:extLst>
              <a:ext uri="{FF2B5EF4-FFF2-40B4-BE49-F238E27FC236}">
                <a16:creationId xmlns:a16="http://schemas.microsoft.com/office/drawing/2014/main" id="{A86B7657-0AFB-F885-502B-2CE427831717}"/>
              </a:ext>
            </a:extLst>
          </p:cNvPr>
          <p:cNvSpPr>
            <a:spLocks noGrp="1"/>
          </p:cNvSpPr>
          <p:nvPr>
            <p:ph type="body" sz="quarter" idx="14"/>
          </p:nvPr>
        </p:nvSpPr>
        <p:spPr>
          <a:xfrm>
            <a:off x="2562393" y="923131"/>
            <a:ext cx="1908000" cy="3297238"/>
          </a:xfrm>
          <a:gradFill flip="none" rotWithShape="1">
            <a:gsLst>
              <a:gs pos="0">
                <a:schemeClr val="bg1"/>
              </a:gs>
              <a:gs pos="100000">
                <a:schemeClr val="accent2"/>
              </a:gs>
            </a:gsLst>
            <a:lin ang="4200000" scaled="0"/>
            <a:tileRect/>
          </a:gradFill>
        </p:spPr>
        <p:txBody>
          <a:bodyPr tIns="1494000"/>
          <a:lstStyle/>
          <a:p>
            <a:pPr algn="ctr"/>
            <a:r>
              <a:rPr lang="en-BE" sz="1600" b="1">
                <a:solidFill>
                  <a:schemeClr val="tx1"/>
                </a:solidFill>
                <a:latin typeface="Proximus ExtraBold" pitchFamily="2" charset="77"/>
              </a:rPr>
              <a:t>Bold</a:t>
            </a:r>
            <a:r>
              <a:rPr lang="en-GB" sz="1600" b="1">
                <a:solidFill>
                  <a:schemeClr val="tx1"/>
                </a:solidFill>
                <a:latin typeface="Proximus ExtraBold" pitchFamily="2" charset="77"/>
              </a:rPr>
              <a:t> </a:t>
            </a:r>
            <a:br>
              <a:rPr lang="en-GB" sz="1600" b="1">
                <a:solidFill>
                  <a:schemeClr val="tx1"/>
                </a:solidFill>
                <a:latin typeface="Proximus ExtraBold" pitchFamily="2" charset="77"/>
              </a:rPr>
            </a:br>
            <a:r>
              <a:rPr lang="en-GB" sz="1600" b="1">
                <a:solidFill>
                  <a:schemeClr val="tx1"/>
                </a:solidFill>
                <a:latin typeface="Proximus ExtraBold" pitchFamily="2" charset="77"/>
              </a:rPr>
              <a:t>efficiency</a:t>
            </a:r>
          </a:p>
        </p:txBody>
      </p:sp>
      <p:sp>
        <p:nvSpPr>
          <p:cNvPr id="5" name="!!box3">
            <a:extLst>
              <a:ext uri="{FF2B5EF4-FFF2-40B4-BE49-F238E27FC236}">
                <a16:creationId xmlns:a16="http://schemas.microsoft.com/office/drawing/2014/main" id="{01E1207E-863A-03E7-D16B-C6D2840E8CEF}"/>
              </a:ext>
            </a:extLst>
          </p:cNvPr>
          <p:cNvSpPr>
            <a:spLocks noGrp="1"/>
          </p:cNvSpPr>
          <p:nvPr>
            <p:ph type="body" sz="quarter" idx="15"/>
          </p:nvPr>
        </p:nvSpPr>
        <p:spPr>
          <a:xfrm>
            <a:off x="466842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future-proofness</a:t>
            </a:r>
            <a:endParaRPr lang="en-BE" sz="1600" b="1">
              <a:solidFill>
                <a:srgbClr val="2A2234"/>
              </a:solidFill>
              <a:latin typeface="Proximus ExtraBold" pitchFamily="2" charset="77"/>
            </a:endParaRPr>
          </a:p>
        </p:txBody>
      </p:sp>
      <p:sp>
        <p:nvSpPr>
          <p:cNvPr id="7" name="!!box5">
            <a:extLst>
              <a:ext uri="{FF2B5EF4-FFF2-40B4-BE49-F238E27FC236}">
                <a16:creationId xmlns:a16="http://schemas.microsoft.com/office/drawing/2014/main" id="{77754D97-69ED-DEB9-DB06-BEA8622592FC}"/>
              </a:ext>
            </a:extLst>
          </p:cNvPr>
          <p:cNvSpPr>
            <a:spLocks noGrp="1"/>
          </p:cNvSpPr>
          <p:nvPr>
            <p:ph type="body" sz="quarter" idx="17"/>
          </p:nvPr>
        </p:nvSpPr>
        <p:spPr>
          <a:xfrm>
            <a:off x="6772450"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people</a:t>
            </a:r>
          </a:p>
        </p:txBody>
      </p:sp>
      <p:grpSp>
        <p:nvGrpSpPr>
          <p:cNvPr id="63" name="Group 62">
            <a:extLst>
              <a:ext uri="{FF2B5EF4-FFF2-40B4-BE49-F238E27FC236}">
                <a16:creationId xmlns:a16="http://schemas.microsoft.com/office/drawing/2014/main" id="{E7115CBA-760B-6164-8779-EB87BED7724E}"/>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56B57833-D691-9AC6-9A5A-C25EDB95AB63}"/>
                </a:ext>
              </a:extLst>
            </p:cNvPr>
            <p:cNvSpPr>
              <a:spLocks noChangeAspect="1"/>
            </p:cNvSpPr>
            <p:nvPr/>
          </p:nvSpPr>
          <p:spPr>
            <a:xfrm>
              <a:off x="869838" y="1363153"/>
              <a:ext cx="648000" cy="648000"/>
            </a:xfrm>
            <a:prstGeom prst="ellipse">
              <a:avLst/>
            </a:prstGeom>
            <a:gradFill flip="none" rotWithShape="1">
              <a:gsLst>
                <a:gs pos="0">
                  <a:schemeClr val="bg1"/>
                </a:gs>
                <a:gs pos="99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522A4FB2-77FF-FFEE-9152-5F3C88C8C362}"/>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2EE339E2-1BCA-1E42-3349-B2D31A8520B1}"/>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EA5DB3DE-E16C-E23F-717D-97588E8AA8C3}"/>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pic>
        <p:nvPicPr>
          <p:cNvPr id="49" name="Graphic 48">
            <a:extLst>
              <a:ext uri="{FF2B5EF4-FFF2-40B4-BE49-F238E27FC236}">
                <a16:creationId xmlns:a16="http://schemas.microsoft.com/office/drawing/2014/main" id="{F18214A3-FB05-7F80-A014-22DA5333BA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38593" y="1536636"/>
            <a:ext cx="355600" cy="355600"/>
          </a:xfrm>
          <a:prstGeom prst="rect">
            <a:avLst/>
          </a:prstGeom>
        </p:spPr>
      </p:pic>
      <p:sp>
        <p:nvSpPr>
          <p:cNvPr id="50" name="!!OVAL_technology">
            <a:extLst>
              <a:ext uri="{FF2B5EF4-FFF2-40B4-BE49-F238E27FC236}">
                <a16:creationId xmlns:a16="http://schemas.microsoft.com/office/drawing/2014/main" id="{E79A1102-0B51-FB57-F3C7-388480965414}"/>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8" name="Group 67">
            <a:extLst>
              <a:ext uri="{FF2B5EF4-FFF2-40B4-BE49-F238E27FC236}">
                <a16:creationId xmlns:a16="http://schemas.microsoft.com/office/drawing/2014/main" id="{E4395B8F-083A-AB1A-36A2-DF5DFAE64F47}"/>
              </a:ext>
            </a:extLst>
          </p:cNvPr>
          <p:cNvGrpSpPr/>
          <p:nvPr/>
        </p:nvGrpSpPr>
        <p:grpSpPr>
          <a:xfrm>
            <a:off x="7402450" y="1390436"/>
            <a:ext cx="648000" cy="648000"/>
            <a:chOff x="8824393" y="1279878"/>
            <a:chExt cx="648000" cy="648000"/>
          </a:xfrm>
        </p:grpSpPr>
        <p:sp>
          <p:nvSpPr>
            <p:cNvPr id="53" name="!!OVAL_technology">
              <a:extLst>
                <a:ext uri="{FF2B5EF4-FFF2-40B4-BE49-F238E27FC236}">
                  <a16:creationId xmlns:a16="http://schemas.microsoft.com/office/drawing/2014/main" id="{12CE9347-8FE1-FF2C-0302-78AC74D0350C}"/>
                </a:ext>
              </a:extLst>
            </p:cNvPr>
            <p:cNvSpPr>
              <a:spLocks noChangeAspect="1"/>
            </p:cNvSpPr>
            <p:nvPr/>
          </p:nvSpPr>
          <p:spPr>
            <a:xfrm>
              <a:off x="8824393" y="1279878"/>
              <a:ext cx="648000" cy="648000"/>
            </a:xfrm>
            <a:prstGeom prst="ellipse">
              <a:avLst/>
            </a:prstGeom>
            <a:gradFill flip="none" rotWithShape="1">
              <a:gsLst>
                <a:gs pos="0">
                  <a:schemeClr val="bg1"/>
                </a:gs>
                <a:gs pos="99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711F83E1-B78E-11FB-3D44-33ACB4CAED80}"/>
                </a:ext>
              </a:extLst>
            </p:cNvPr>
            <p:cNvGrpSpPr/>
            <p:nvPr/>
          </p:nvGrpSpPr>
          <p:grpSpPr>
            <a:xfrm>
              <a:off x="8967408" y="1422903"/>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A7DB46F2-4ADD-497D-2FCA-EAF39474BA42}"/>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94101E32-C1B7-DBF5-AB7F-34B6081D12BA}"/>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ACC66028-070F-81EC-E27D-1CB7D061146E}"/>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grpSp>
        <p:nvGrpSpPr>
          <p:cNvPr id="24" name="Group 23">
            <a:extLst>
              <a:ext uri="{FF2B5EF4-FFF2-40B4-BE49-F238E27FC236}">
                <a16:creationId xmlns:a16="http://schemas.microsoft.com/office/drawing/2014/main" id="{096FD437-2312-5B47-839E-C3524C241B5B}"/>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8DA75427-2B90-5E9D-D5C5-050419D9E0D0}"/>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BD15290C-4DA9-65AB-3472-E2D80B7E7A16}"/>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D8A7C92A-3DF3-8064-7136-6EC79A156F5E}"/>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2B0B52E4-3C4F-4F44-82BE-DC1FB272B536}"/>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3CDA27BF-81B0-0F96-EE4C-2E1749D77421}"/>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Tree>
    <p:extLst>
      <p:ext uri="{BB962C8B-B14F-4D97-AF65-F5344CB8AC3E}">
        <p14:creationId xmlns:p14="http://schemas.microsoft.com/office/powerpoint/2010/main" val="18867340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57C5F1-E7C0-8170-3A92-9DCFA94DC9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D67291-4AEB-445E-C7A5-434EFE54B27C}"/>
              </a:ext>
            </a:extLst>
          </p:cNvPr>
          <p:cNvSpPr>
            <a:spLocks noGrp="1"/>
          </p:cNvSpPr>
          <p:nvPr>
            <p:ph type="title"/>
          </p:nvPr>
        </p:nvSpPr>
        <p:spPr>
          <a:xfrm>
            <a:off x="1252548" y="377826"/>
            <a:ext cx="7429492" cy="660092"/>
          </a:xfrm>
        </p:spPr>
        <p:txBody>
          <a:bodyPr anchor="ctr"/>
          <a:lstStyle/>
          <a:p>
            <a:r>
              <a:rPr lang="en-BE">
                <a:solidFill>
                  <a:srgbClr val="2A2234"/>
                </a:solidFill>
              </a:rPr>
              <a:t>Bold efficiency</a:t>
            </a:r>
          </a:p>
        </p:txBody>
      </p:sp>
      <p:sp>
        <p:nvSpPr>
          <p:cNvPr id="3" name="Text Placeholder 2">
            <a:extLst>
              <a:ext uri="{FF2B5EF4-FFF2-40B4-BE49-F238E27FC236}">
                <a16:creationId xmlns:a16="http://schemas.microsoft.com/office/drawing/2014/main" id="{A0277F63-E479-9870-3BA3-563C04DCCDE8}"/>
              </a:ext>
            </a:extLst>
          </p:cNvPr>
          <p:cNvSpPr>
            <a:spLocks noGrp="1"/>
          </p:cNvSpPr>
          <p:nvPr>
            <p:ph type="body" sz="quarter" idx="4294967295"/>
          </p:nvPr>
        </p:nvSpPr>
        <p:spPr>
          <a:xfrm>
            <a:off x="460375" y="1408113"/>
            <a:ext cx="1890252" cy="2774950"/>
          </a:xfrm>
          <a:prstGeom prst="roundRect">
            <a:avLst>
              <a:gd name="adj" fmla="val 10078"/>
            </a:avLst>
          </a:prstGeom>
          <a:gradFill flip="none" rotWithShape="1">
            <a:gsLst>
              <a:gs pos="0">
                <a:schemeClr val="bg1"/>
              </a:gs>
              <a:gs pos="100000">
                <a:srgbClr val="F3800B"/>
              </a:gs>
            </a:gsLst>
            <a:lin ang="10800000" scaled="1"/>
            <a:tileRect/>
          </a:gradFill>
        </p:spPr>
        <p:txBody>
          <a:bodyPr tIns="576000" anchor="ctr"/>
          <a:lstStyle/>
          <a:p>
            <a:pPr marL="0" indent="0" algn="ctr">
              <a:buNone/>
            </a:pPr>
            <a:r>
              <a:rPr lang="en-GB" sz="1600" b="1">
                <a:solidFill>
                  <a:schemeClr val="tx1"/>
                </a:solidFill>
                <a:latin typeface="Proximus ExtraBold" pitchFamily="2" charset="77"/>
              </a:rPr>
              <a:t>Elevating </a:t>
            </a:r>
            <a:br>
              <a:rPr lang="en-GB" sz="1600" b="1">
                <a:solidFill>
                  <a:schemeClr val="tx1"/>
                </a:solidFill>
                <a:latin typeface="Proximus ExtraBold" pitchFamily="2" charset="77"/>
              </a:rPr>
            </a:br>
            <a:r>
              <a:rPr lang="en-GB" sz="1600" b="1">
                <a:solidFill>
                  <a:schemeClr val="tx1"/>
                </a:solidFill>
                <a:latin typeface="Proximus ExtraBold" pitchFamily="2" charset="77"/>
              </a:rPr>
              <a:t>efficiency through automation </a:t>
            </a:r>
            <a:br>
              <a:rPr lang="en-GB" sz="1600" b="1">
                <a:solidFill>
                  <a:schemeClr val="tx1"/>
                </a:solidFill>
                <a:latin typeface="Proximus ExtraBold" pitchFamily="2" charset="77"/>
              </a:rPr>
            </a:br>
            <a:r>
              <a:rPr lang="en-GB" sz="1600" b="1">
                <a:solidFill>
                  <a:schemeClr val="tx1"/>
                </a:solidFill>
                <a:latin typeface="Proximus ExtraBold" pitchFamily="2" charset="77"/>
              </a:rPr>
              <a:t>&amp; AI</a:t>
            </a:r>
            <a:endParaRPr lang="en-BE" sz="1600" b="1">
              <a:solidFill>
                <a:schemeClr val="tx1"/>
              </a:solidFill>
              <a:latin typeface="Proximus ExtraBold" pitchFamily="2" charset="77"/>
            </a:endParaRPr>
          </a:p>
        </p:txBody>
      </p:sp>
      <p:sp>
        <p:nvSpPr>
          <p:cNvPr id="8" name="Text Placeholder 7">
            <a:extLst>
              <a:ext uri="{FF2B5EF4-FFF2-40B4-BE49-F238E27FC236}">
                <a16:creationId xmlns:a16="http://schemas.microsoft.com/office/drawing/2014/main" id="{BB64E9FF-3A95-AE2A-8BCA-911FDD5CBFBE}"/>
              </a:ext>
            </a:extLst>
          </p:cNvPr>
          <p:cNvSpPr>
            <a:spLocks noGrp="1"/>
          </p:cNvSpPr>
          <p:nvPr>
            <p:ph type="body" sz="quarter" idx="4294967295"/>
          </p:nvPr>
        </p:nvSpPr>
        <p:spPr>
          <a:xfrm>
            <a:off x="2515731" y="1408113"/>
            <a:ext cx="1963483" cy="2774950"/>
          </a:xfrm>
          <a:prstGeom prst="roundRect">
            <a:avLst>
              <a:gd name="adj" fmla="val 9702"/>
            </a:avLst>
          </a:prstGeom>
          <a:solidFill>
            <a:schemeClr val="bg1"/>
          </a:solidFill>
        </p:spPr>
        <p:txBody>
          <a:bodyPr tIns="576000" anchor="ctr"/>
          <a:lstStyle/>
          <a:p>
            <a:pPr marL="0" indent="0" algn="ctr">
              <a:buNone/>
            </a:pPr>
            <a:r>
              <a:rPr lang="en-GB" sz="1600" b="1">
                <a:solidFill>
                  <a:schemeClr val="tx1"/>
                </a:solidFill>
                <a:latin typeface="Proximus ExtraBold" pitchFamily="2" charset="77"/>
              </a:rPr>
              <a:t>Copper </a:t>
            </a:r>
            <a:br>
              <a:rPr lang="en-GB" sz="1600" b="1">
                <a:solidFill>
                  <a:schemeClr val="tx1"/>
                </a:solidFill>
                <a:latin typeface="Proximus ExtraBold" pitchFamily="2" charset="77"/>
              </a:rPr>
            </a:br>
            <a:r>
              <a:rPr lang="en-GB" sz="1600" b="1">
                <a:solidFill>
                  <a:schemeClr val="tx1"/>
                </a:solidFill>
                <a:latin typeface="Proximus ExtraBold" pitchFamily="2" charset="77"/>
              </a:rPr>
              <a:t>switch-off</a:t>
            </a:r>
          </a:p>
        </p:txBody>
      </p:sp>
      <p:pic>
        <p:nvPicPr>
          <p:cNvPr id="21" name="Graphic 20">
            <a:extLst>
              <a:ext uri="{FF2B5EF4-FFF2-40B4-BE49-F238E27FC236}">
                <a16:creationId xmlns:a16="http://schemas.microsoft.com/office/drawing/2014/main" id="{90717BC6-8F26-52C5-28E1-A22C2A6F8D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51699" y="-539939"/>
            <a:ext cx="314325" cy="361950"/>
          </a:xfrm>
          <a:prstGeom prst="rect">
            <a:avLst/>
          </a:prstGeom>
        </p:spPr>
      </p:pic>
      <p:grpSp>
        <p:nvGrpSpPr>
          <p:cNvPr id="5" name="Group 4">
            <a:extLst>
              <a:ext uri="{FF2B5EF4-FFF2-40B4-BE49-F238E27FC236}">
                <a16:creationId xmlns:a16="http://schemas.microsoft.com/office/drawing/2014/main" id="{4AC505EE-98AA-3611-C52D-4EA79C476C6D}"/>
              </a:ext>
            </a:extLst>
          </p:cNvPr>
          <p:cNvGrpSpPr/>
          <p:nvPr/>
        </p:nvGrpSpPr>
        <p:grpSpPr>
          <a:xfrm>
            <a:off x="460375" y="389918"/>
            <a:ext cx="648000" cy="648000"/>
            <a:chOff x="2559633" y="1384953"/>
            <a:chExt cx="648000" cy="648000"/>
          </a:xfrm>
        </p:grpSpPr>
        <p:sp>
          <p:nvSpPr>
            <p:cNvPr id="6" name="!!OVAL_brands">
              <a:extLst>
                <a:ext uri="{FF2B5EF4-FFF2-40B4-BE49-F238E27FC236}">
                  <a16:creationId xmlns:a16="http://schemas.microsoft.com/office/drawing/2014/main" id="{3B744F23-1A2F-B2F2-681D-4F736314C66F}"/>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7" name="Graphic 6">
              <a:extLst>
                <a:ext uri="{FF2B5EF4-FFF2-40B4-BE49-F238E27FC236}">
                  <a16:creationId xmlns:a16="http://schemas.microsoft.com/office/drawing/2014/main" id="{5F4AB3B1-24A2-22A8-D1A8-0A34EC2589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05833" y="1531153"/>
              <a:ext cx="355600" cy="355600"/>
            </a:xfrm>
            <a:prstGeom prst="rect">
              <a:avLst/>
            </a:prstGeom>
          </p:spPr>
        </p:pic>
      </p:grpSp>
      <p:pic>
        <p:nvPicPr>
          <p:cNvPr id="9" name="Graphic 8">
            <a:extLst>
              <a:ext uri="{FF2B5EF4-FFF2-40B4-BE49-F238E27FC236}">
                <a16:creationId xmlns:a16="http://schemas.microsoft.com/office/drawing/2014/main" id="{DCA8920D-797E-9F00-8A03-1680114B1B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06972" y="1909040"/>
            <a:ext cx="381000" cy="381000"/>
          </a:xfrm>
          <a:prstGeom prst="rect">
            <a:avLst/>
          </a:prstGeom>
        </p:spPr>
      </p:pic>
      <p:pic>
        <p:nvPicPr>
          <p:cNvPr id="11" name="Graphic 10">
            <a:extLst>
              <a:ext uri="{FF2B5EF4-FFF2-40B4-BE49-F238E27FC236}">
                <a16:creationId xmlns:a16="http://schemas.microsoft.com/office/drawing/2014/main" id="{4284CE65-B654-CD41-8999-03A9FDDF22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41753" y="1878936"/>
            <a:ext cx="355600" cy="355600"/>
          </a:xfrm>
          <a:prstGeom prst="rect">
            <a:avLst/>
          </a:prstGeom>
        </p:spPr>
      </p:pic>
      <p:sp>
        <p:nvSpPr>
          <p:cNvPr id="10" name="Text Placeholder 7">
            <a:extLst>
              <a:ext uri="{FF2B5EF4-FFF2-40B4-BE49-F238E27FC236}">
                <a16:creationId xmlns:a16="http://schemas.microsoft.com/office/drawing/2014/main" id="{4BFB9046-B5C9-8DF1-8EA5-69845CE864B4}"/>
              </a:ext>
            </a:extLst>
          </p:cNvPr>
          <p:cNvSpPr txBox="1">
            <a:spLocks/>
          </p:cNvSpPr>
          <p:nvPr/>
        </p:nvSpPr>
        <p:spPr>
          <a:xfrm>
            <a:off x="4649477" y="1408113"/>
            <a:ext cx="1963483" cy="2774950"/>
          </a:xfrm>
          <a:prstGeom prst="roundRect">
            <a:avLst>
              <a:gd name="adj" fmla="val 9702"/>
            </a:avLst>
          </a:prstGeom>
          <a:solidFill>
            <a:schemeClr val="bg1"/>
          </a:solidFill>
        </p:spPr>
        <p:txBody>
          <a:bodyPr vert="horz" lIns="0" tIns="576000" rIns="0" bIns="0" numCol="1" spcCol="0" rtlCol="0" anchor="ctr" anchorCtr="0">
            <a:noAutofit/>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GB" sz="1600" b="1">
                <a:solidFill>
                  <a:schemeClr val="tx1"/>
                </a:solidFill>
                <a:latin typeface="Proximus ExtraBold" pitchFamily="2" charset="77"/>
              </a:rPr>
              <a:t>Building</a:t>
            </a:r>
            <a:br>
              <a:rPr lang="en-GB" sz="1600" b="1">
                <a:solidFill>
                  <a:schemeClr val="tx1"/>
                </a:solidFill>
                <a:latin typeface="Proximus ExtraBold" pitchFamily="2" charset="77"/>
              </a:rPr>
            </a:br>
            <a:r>
              <a:rPr lang="en-GB" sz="1600" b="1" err="1">
                <a:solidFill>
                  <a:schemeClr val="tx1"/>
                </a:solidFill>
                <a:latin typeface="Proximus ExtraBold" pitchFamily="2" charset="77"/>
              </a:rPr>
              <a:t>outphasing</a:t>
            </a:r>
            <a:endParaRPr lang="en-GB" sz="1600" b="1">
              <a:solidFill>
                <a:schemeClr val="tx1"/>
              </a:solidFill>
              <a:latin typeface="Proximus ExtraBold" pitchFamily="2" charset="77"/>
            </a:endParaRPr>
          </a:p>
        </p:txBody>
      </p:sp>
      <p:sp>
        <p:nvSpPr>
          <p:cNvPr id="15" name="Text Placeholder 3">
            <a:extLst>
              <a:ext uri="{FF2B5EF4-FFF2-40B4-BE49-F238E27FC236}">
                <a16:creationId xmlns:a16="http://schemas.microsoft.com/office/drawing/2014/main" id="{917BA64E-433A-152E-FF51-41F3C4AE12FE}"/>
              </a:ext>
            </a:extLst>
          </p:cNvPr>
          <p:cNvSpPr txBox="1">
            <a:spLocks/>
          </p:cNvSpPr>
          <p:nvPr/>
        </p:nvSpPr>
        <p:spPr>
          <a:xfrm>
            <a:off x="6783185" y="1408113"/>
            <a:ext cx="1896099" cy="2774950"/>
          </a:xfrm>
          <a:prstGeom prst="roundRect">
            <a:avLst>
              <a:gd name="adj" fmla="val 10047"/>
            </a:avLst>
          </a:prstGeom>
          <a:gradFill flip="none" rotWithShape="1">
            <a:gsLst>
              <a:gs pos="0">
                <a:schemeClr val="bg1"/>
              </a:gs>
              <a:gs pos="100000">
                <a:srgbClr val="F3800B"/>
              </a:gs>
            </a:gsLst>
            <a:lin ang="0" scaled="1"/>
            <a:tileRect/>
          </a:gradFill>
        </p:spPr>
        <p:txBody>
          <a:bodyPr vert="horz" lIns="0" tIns="576000" rIns="0" bIns="0" numCol="1" spcCol="0" rtlCol="0" anchor="ctr" anchorCtr="0">
            <a:noAutofit/>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GB" sz="1600" b="1">
                <a:solidFill>
                  <a:schemeClr val="tx1"/>
                </a:solidFill>
                <a:latin typeface="Proximus ExtraBold" pitchFamily="2" charset="77"/>
              </a:rPr>
              <a:t>Evolved</a:t>
            </a:r>
          </a:p>
          <a:p>
            <a:pPr marL="0" indent="0" algn="ctr">
              <a:buFont typeface="Arial" panose="020B0604020202020204" pitchFamily="34" charset="0"/>
              <a:buNone/>
            </a:pPr>
            <a:r>
              <a:rPr lang="en-GB" sz="1600" b="1">
                <a:solidFill>
                  <a:schemeClr val="tx1"/>
                </a:solidFill>
                <a:latin typeface="Proximus ExtraBold" pitchFamily="2" charset="77"/>
              </a:rPr>
              <a:t>Operating</a:t>
            </a:r>
          </a:p>
          <a:p>
            <a:pPr marL="0" indent="0" algn="ctr">
              <a:buFont typeface="Arial" panose="020B0604020202020204" pitchFamily="34" charset="0"/>
              <a:buNone/>
            </a:pPr>
            <a:r>
              <a:rPr lang="en-GB" sz="1600" b="1">
                <a:solidFill>
                  <a:schemeClr val="tx1"/>
                </a:solidFill>
                <a:latin typeface="Proximus ExtraBold" pitchFamily="2" charset="77"/>
              </a:rPr>
              <a:t>Model</a:t>
            </a:r>
          </a:p>
        </p:txBody>
      </p:sp>
      <p:pic>
        <p:nvPicPr>
          <p:cNvPr id="16" name="!!ICON_brands">
            <a:extLst>
              <a:ext uri="{FF2B5EF4-FFF2-40B4-BE49-F238E27FC236}">
                <a16:creationId xmlns:a16="http://schemas.microsoft.com/office/drawing/2014/main" id="{2224FD82-29C8-2DF6-F4F8-C6A15702DEA4}"/>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567676" y="1922618"/>
            <a:ext cx="327115" cy="268235"/>
          </a:xfrm>
          <a:prstGeom prst="rect">
            <a:avLst/>
          </a:prstGeom>
        </p:spPr>
      </p:pic>
      <p:pic>
        <p:nvPicPr>
          <p:cNvPr id="4" name="Graphic 3">
            <a:extLst>
              <a:ext uri="{FF2B5EF4-FFF2-40B4-BE49-F238E27FC236}">
                <a16:creationId xmlns:a16="http://schemas.microsoft.com/office/drawing/2014/main" id="{162609E3-FFA1-8F8D-5B33-809FDC6E327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448262" y="1936254"/>
            <a:ext cx="381000" cy="326571"/>
          </a:xfrm>
          <a:prstGeom prst="rect">
            <a:avLst/>
          </a:prstGeom>
        </p:spPr>
      </p:pic>
    </p:spTree>
    <p:extLst>
      <p:ext uri="{BB962C8B-B14F-4D97-AF65-F5344CB8AC3E}">
        <p14:creationId xmlns:p14="http://schemas.microsoft.com/office/powerpoint/2010/main" val="40377533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FCFBDAEB-8110-68AA-3A8D-95C0917A20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1A3D66-AB58-E4E4-2080-85DB619D3BB8}"/>
              </a:ext>
            </a:extLst>
          </p:cNvPr>
          <p:cNvSpPr>
            <a:spLocks noGrp="1"/>
          </p:cNvSpPr>
          <p:nvPr>
            <p:ph type="title"/>
          </p:nvPr>
        </p:nvSpPr>
        <p:spPr>
          <a:xfrm>
            <a:off x="1226989" y="377826"/>
            <a:ext cx="7455051" cy="660092"/>
          </a:xfrm>
        </p:spPr>
        <p:txBody>
          <a:bodyPr anchor="ctr"/>
          <a:lstStyle/>
          <a:p>
            <a:r>
              <a:rPr lang="en-GB" sz="2550">
                <a:solidFill>
                  <a:srgbClr val="2A2234"/>
                </a:solidFill>
                <a:latin typeface="Proximus Bold"/>
              </a:rPr>
              <a:t>Building the path to autonomous networks</a:t>
            </a:r>
            <a:endParaRPr lang="en-US"/>
          </a:p>
        </p:txBody>
      </p:sp>
      <p:sp>
        <p:nvSpPr>
          <p:cNvPr id="39" name="!!OVAL_network">
            <a:extLst>
              <a:ext uri="{FF2B5EF4-FFF2-40B4-BE49-F238E27FC236}">
                <a16:creationId xmlns:a16="http://schemas.microsoft.com/office/drawing/2014/main" id="{D4A87EE9-F416-218A-5F35-32ED2DDDD1D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9C0C8D23-1813-90D0-575A-C332902F8E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575" y="530072"/>
            <a:ext cx="355600" cy="355600"/>
          </a:xfrm>
          <a:prstGeom prst="rect">
            <a:avLst/>
          </a:prstGeom>
        </p:spPr>
      </p:pic>
      <p:pic>
        <p:nvPicPr>
          <p:cNvPr id="9" name="Picture 2">
            <a:extLst>
              <a:ext uri="{FF2B5EF4-FFF2-40B4-BE49-F238E27FC236}">
                <a16:creationId xmlns:a16="http://schemas.microsoft.com/office/drawing/2014/main" id="{539B6F23-BD67-49C9-3703-EF6F863F38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22205" y="1125607"/>
            <a:ext cx="3306314" cy="3648852"/>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2">
            <a:extLst>
              <a:ext uri="{FF2B5EF4-FFF2-40B4-BE49-F238E27FC236}">
                <a16:creationId xmlns:a16="http://schemas.microsoft.com/office/drawing/2014/main" id="{FC7E0162-6777-78A8-9130-713A2990DEE9}"/>
              </a:ext>
            </a:extLst>
          </p:cNvPr>
          <p:cNvSpPr txBox="1">
            <a:spLocks/>
          </p:cNvSpPr>
          <p:nvPr/>
        </p:nvSpPr>
        <p:spPr>
          <a:xfrm>
            <a:off x="16325425" y="1064257"/>
            <a:ext cx="2740643" cy="3710201"/>
          </a:xfrm>
          <a:prstGeom prst="roundRect">
            <a:avLst>
              <a:gd name="adj" fmla="val 6951"/>
            </a:avLst>
          </a:prstGeom>
          <a:solidFill>
            <a:schemeClr val="bg1">
              <a:lumMod val="20000"/>
              <a:lumOff val="80000"/>
            </a:schemeClr>
          </a:solidFill>
          <a:ln>
            <a:solidFill>
              <a:schemeClr val="tx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t" anchorCtr="0"/>
          <a:lstStyle>
            <a:defPPr>
              <a:defRPr lang="en-US"/>
            </a:defPPr>
            <a:lvl1pPr algn="ctr" defTabSz="1218418">
              <a:defRPr sz="1200" b="1">
                <a:latin typeface="Proximus Bold" panose="00000500000000000000" pitchFamily="2" charset="0"/>
                <a:cs typeface="Proximu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350" b="0">
              <a:solidFill>
                <a:srgbClr val="01112B"/>
              </a:solidFill>
            </a:endParaRPr>
          </a:p>
          <a:p>
            <a:pPr algn="l"/>
            <a:endParaRPr lang="en-US" sz="1350" b="0">
              <a:solidFill>
                <a:srgbClr val="01112B"/>
              </a:solidFill>
            </a:endParaRPr>
          </a:p>
          <a:p>
            <a:pPr algn="l"/>
            <a:endParaRPr lang="en-US">
              <a:solidFill>
                <a:srgbClr val="01112B"/>
              </a:solidFill>
            </a:endParaRPr>
          </a:p>
          <a:p>
            <a:pPr algn="l"/>
            <a:r>
              <a:rPr lang="en-US">
                <a:solidFill>
                  <a:srgbClr val="01112B"/>
                </a:solidFill>
              </a:rPr>
              <a:t>Fiber Digital Repair Assistant</a:t>
            </a:r>
          </a:p>
          <a:p>
            <a:pPr marL="214313" indent="-214313" algn="l">
              <a:buFont typeface="Arial" panose="020B0604020202020204" pitchFamily="34" charset="0"/>
              <a:buChar char="•"/>
            </a:pPr>
            <a:r>
              <a:rPr lang="en-US" b="0">
                <a:solidFill>
                  <a:srgbClr val="01112B"/>
                </a:solidFill>
              </a:rPr>
              <a:t>Propose a next best repair or resolution action for Fiber issues to technicians &amp; systems. </a:t>
            </a:r>
          </a:p>
          <a:p>
            <a:pPr marL="214313" indent="-214313" algn="l">
              <a:buFont typeface="Arial" panose="020B0604020202020204" pitchFamily="34" charset="0"/>
              <a:buChar char="•"/>
            </a:pPr>
            <a:r>
              <a:rPr lang="en-US" b="0">
                <a:solidFill>
                  <a:srgbClr val="01112B"/>
                </a:solidFill>
              </a:rPr>
              <a:t>Ultimate goal is to develop/deploy an interactive &amp; self learning recommender system. ​</a:t>
            </a:r>
          </a:p>
          <a:p>
            <a:pPr marL="214313" indent="-214313" algn="l">
              <a:buFont typeface="Arial" panose="020B0604020202020204" pitchFamily="34" charset="0"/>
              <a:buChar char="•"/>
            </a:pPr>
            <a:endParaRPr lang="en-US" b="0">
              <a:solidFill>
                <a:srgbClr val="01112B"/>
              </a:solidFill>
            </a:endParaRPr>
          </a:p>
          <a:p>
            <a:pPr algn="l"/>
            <a:r>
              <a:rPr lang="en-GB">
                <a:solidFill>
                  <a:srgbClr val="01112B"/>
                </a:solidFill>
              </a:rPr>
              <a:t>Transmission ‘</a:t>
            </a:r>
            <a:r>
              <a:rPr lang="en-GB" i="1">
                <a:solidFill>
                  <a:srgbClr val="01112B"/>
                </a:solidFill>
              </a:rPr>
              <a:t>denoising</a:t>
            </a:r>
            <a:r>
              <a:rPr lang="en-GB">
                <a:solidFill>
                  <a:srgbClr val="01112B"/>
                </a:solidFill>
              </a:rPr>
              <a:t>’</a:t>
            </a:r>
          </a:p>
          <a:p>
            <a:pPr marL="214313" indent="-214313" algn="l">
              <a:buFont typeface="Arial" panose="020B0604020202020204" pitchFamily="34" charset="0"/>
              <a:buChar char="•"/>
            </a:pPr>
            <a:r>
              <a:rPr lang="en-GB" b="0">
                <a:solidFill>
                  <a:srgbClr val="01112B"/>
                </a:solidFill>
              </a:rPr>
              <a:t>AI applied to correlate network triggers for faster/better Impact assessment &amp; definition of Next Best action in NOC </a:t>
            </a:r>
            <a:endParaRPr lang="en-US" b="0">
              <a:solidFill>
                <a:srgbClr val="01112B"/>
              </a:solidFill>
            </a:endParaRPr>
          </a:p>
        </p:txBody>
      </p:sp>
      <p:sp>
        <p:nvSpPr>
          <p:cNvPr id="15" name="Rectangle 14">
            <a:extLst>
              <a:ext uri="{FF2B5EF4-FFF2-40B4-BE49-F238E27FC236}">
                <a16:creationId xmlns:a16="http://schemas.microsoft.com/office/drawing/2014/main" id="{549C593A-CCD5-3521-C9B7-18986CD7CF08}"/>
              </a:ext>
            </a:extLst>
          </p:cNvPr>
          <p:cNvSpPr/>
          <p:nvPr/>
        </p:nvSpPr>
        <p:spPr>
          <a:xfrm>
            <a:off x="16329037" y="1287874"/>
            <a:ext cx="2737031" cy="329720"/>
          </a:xfrm>
          <a:prstGeom prst="rect">
            <a:avLst/>
          </a:prstGeom>
          <a:solidFill>
            <a:schemeClr val="bg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81000" tIns="81000" rIns="81000" bIns="81000" rtlCol="0" anchor="ctr" anchorCtr="0"/>
          <a:lstStyle/>
          <a:p>
            <a:pPr algn="ctr" defTabSz="913814"/>
            <a:r>
              <a:rPr lang="en-US" sz="1050" b="1">
                <a:solidFill>
                  <a:schemeClr val="tx1"/>
                </a:solidFill>
                <a:latin typeface="Proximus Bold" panose="00000500000000000000" pitchFamily="2" charset="0"/>
                <a:cs typeface="Proximus Bold"/>
              </a:rPr>
              <a:t>Towards autonomous maintenance and repair</a:t>
            </a:r>
            <a:endParaRPr lang="en-BE" sz="1050" b="1">
              <a:solidFill>
                <a:schemeClr val="tx1"/>
              </a:solidFill>
              <a:latin typeface="Proximus Bold" panose="00000500000000000000" pitchFamily="2" charset="0"/>
              <a:cs typeface="Proximus Bold"/>
            </a:endParaRPr>
          </a:p>
        </p:txBody>
      </p:sp>
      <p:sp>
        <p:nvSpPr>
          <p:cNvPr id="16" name="TextBox 15">
            <a:extLst>
              <a:ext uri="{FF2B5EF4-FFF2-40B4-BE49-F238E27FC236}">
                <a16:creationId xmlns:a16="http://schemas.microsoft.com/office/drawing/2014/main" id="{B90E7EB8-9615-A679-0E54-072FE1D7DB7F}"/>
              </a:ext>
            </a:extLst>
          </p:cNvPr>
          <p:cNvSpPr txBox="1"/>
          <p:nvPr/>
        </p:nvSpPr>
        <p:spPr>
          <a:xfrm>
            <a:off x="18678442" y="962045"/>
            <a:ext cx="402535" cy="184666"/>
          </a:xfrm>
          <a:prstGeom prst="rect">
            <a:avLst/>
          </a:prstGeom>
          <a:noFill/>
        </p:spPr>
        <p:txBody>
          <a:bodyPr wrap="square" lIns="0" tIns="0" rIns="0" bIns="0" rtlCol="0">
            <a:spAutoFit/>
          </a:bodyPr>
          <a:lstStyle/>
          <a:p>
            <a:pPr algn="ctr"/>
            <a:r>
              <a:rPr lang="en-US" sz="600" b="1">
                <a:solidFill>
                  <a:schemeClr val="bg1"/>
                </a:solidFill>
              </a:rPr>
              <a:t>Top use cases</a:t>
            </a:r>
            <a:endParaRPr lang="en-BE" sz="600" b="1" err="1">
              <a:solidFill>
                <a:schemeClr val="bg1"/>
              </a:solidFill>
            </a:endParaRPr>
          </a:p>
        </p:txBody>
      </p:sp>
      <p:sp>
        <p:nvSpPr>
          <p:cNvPr id="17" name="Text Placeholder 4">
            <a:extLst>
              <a:ext uri="{FF2B5EF4-FFF2-40B4-BE49-F238E27FC236}">
                <a16:creationId xmlns:a16="http://schemas.microsoft.com/office/drawing/2014/main" id="{BC2DD656-4614-373F-3E7E-3E28ABB721E1}"/>
              </a:ext>
            </a:extLst>
          </p:cNvPr>
          <p:cNvSpPr txBox="1">
            <a:spLocks/>
          </p:cNvSpPr>
          <p:nvPr/>
        </p:nvSpPr>
        <p:spPr>
          <a:xfrm>
            <a:off x="465963" y="1508836"/>
            <a:ext cx="1836994" cy="1274435"/>
          </a:xfrm>
          <a:prstGeom prst="roundRect">
            <a:avLst>
              <a:gd name="adj" fmla="val 1037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buClr>
                <a:srgbClr val="5C2D91"/>
              </a:buClr>
              <a:buNone/>
              <a:defRPr/>
            </a:pPr>
            <a:r>
              <a:rPr lang="en-US" sz="1200" b="1">
                <a:solidFill>
                  <a:srgbClr val="141C24"/>
                </a:solidFill>
                <a:latin typeface="Proximus ExtraBold"/>
              </a:rPr>
              <a:t>Automate operate </a:t>
            </a:r>
            <a:r>
              <a:rPr lang="en-US" sz="1200">
                <a:solidFill>
                  <a:srgbClr val="141C24"/>
                </a:solidFill>
                <a:latin typeface="Proximus Light"/>
              </a:rPr>
              <a:t>&amp;</a:t>
            </a:r>
            <a:r>
              <a:rPr lang="en-US" sz="1200" b="1">
                <a:solidFill>
                  <a:srgbClr val="141C24"/>
                </a:solidFill>
                <a:latin typeface="Proximus ExtraBold"/>
              </a:rPr>
              <a:t> maintain activities </a:t>
            </a:r>
            <a:r>
              <a:rPr lang="en-US" sz="1200">
                <a:solidFill>
                  <a:srgbClr val="141C24"/>
                </a:solidFill>
                <a:latin typeface="Proximus Light"/>
              </a:rPr>
              <a:t>in</a:t>
            </a:r>
            <a:r>
              <a:rPr lang="en-US" sz="1200" b="1">
                <a:solidFill>
                  <a:srgbClr val="141C24"/>
                </a:solidFill>
                <a:latin typeface="Proximus ExtraBold"/>
              </a:rPr>
              <a:t> fiber</a:t>
            </a:r>
            <a:endParaRPr lang="en-US" sz="1200">
              <a:solidFill>
                <a:srgbClr val="141C24"/>
              </a:solidFill>
              <a:latin typeface="Proximus Light"/>
            </a:endParaRPr>
          </a:p>
        </p:txBody>
      </p:sp>
      <p:sp>
        <p:nvSpPr>
          <p:cNvPr id="18" name="Text Placeholder 4">
            <a:extLst>
              <a:ext uri="{FF2B5EF4-FFF2-40B4-BE49-F238E27FC236}">
                <a16:creationId xmlns:a16="http://schemas.microsoft.com/office/drawing/2014/main" id="{954D6865-E8EB-0B73-7F10-5D3D9B71D2B1}"/>
              </a:ext>
            </a:extLst>
          </p:cNvPr>
          <p:cNvSpPr txBox="1">
            <a:spLocks/>
          </p:cNvSpPr>
          <p:nvPr/>
        </p:nvSpPr>
        <p:spPr>
          <a:xfrm>
            <a:off x="2572179" y="1487270"/>
            <a:ext cx="1847777" cy="1296000"/>
          </a:xfrm>
          <a:prstGeom prst="roundRect">
            <a:avLst>
              <a:gd name="adj" fmla="val 1031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buClr>
                <a:srgbClr val="5C2D91"/>
              </a:buClr>
              <a:buNone/>
              <a:defRPr/>
            </a:pPr>
            <a:r>
              <a:rPr lang="en-US" sz="1200" b="1">
                <a:solidFill>
                  <a:srgbClr val="141C24"/>
                </a:solidFill>
                <a:latin typeface="Proximus Bold"/>
              </a:rPr>
              <a:t>Harness power of</a:t>
            </a:r>
            <a:r>
              <a:rPr lang="en-US" sz="1200" b="1">
                <a:solidFill>
                  <a:srgbClr val="141C24"/>
                </a:solidFill>
                <a:latin typeface="Proximus ExtraBold"/>
              </a:rPr>
              <a:t> AI for mobile network </a:t>
            </a:r>
            <a:r>
              <a:rPr lang="en-US" sz="1200" b="1" err="1">
                <a:solidFill>
                  <a:srgbClr val="141C24"/>
                </a:solidFill>
                <a:latin typeface="Proximus ExtraBold"/>
              </a:rPr>
              <a:t>optimisation</a:t>
            </a:r>
            <a:r>
              <a:rPr lang="en-US" sz="1200" b="1">
                <a:solidFill>
                  <a:srgbClr val="141C24"/>
                </a:solidFill>
                <a:latin typeface="Proximus ExtraBold"/>
              </a:rPr>
              <a:t> and energy saving</a:t>
            </a:r>
          </a:p>
        </p:txBody>
      </p:sp>
      <p:sp>
        <p:nvSpPr>
          <p:cNvPr id="19" name="Text Placeholder 4">
            <a:extLst>
              <a:ext uri="{FF2B5EF4-FFF2-40B4-BE49-F238E27FC236}">
                <a16:creationId xmlns:a16="http://schemas.microsoft.com/office/drawing/2014/main" id="{D6894613-493A-1EC4-0E3F-1CA4D54E49F4}"/>
              </a:ext>
            </a:extLst>
          </p:cNvPr>
          <p:cNvSpPr txBox="1">
            <a:spLocks/>
          </p:cNvSpPr>
          <p:nvPr/>
        </p:nvSpPr>
        <p:spPr>
          <a:xfrm>
            <a:off x="2581767" y="3066213"/>
            <a:ext cx="1847777" cy="1296000"/>
          </a:xfrm>
          <a:prstGeom prst="roundRect">
            <a:avLst>
              <a:gd name="adj" fmla="val 1031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buClr>
                <a:srgbClr val="5C2D91"/>
              </a:buClr>
              <a:buNone/>
              <a:defRPr/>
            </a:pPr>
            <a:r>
              <a:rPr lang="en-US" sz="1200">
                <a:solidFill>
                  <a:srgbClr val="141C24"/>
                </a:solidFill>
                <a:latin typeface="Proximus"/>
              </a:rPr>
              <a:t>AI assistant to ease</a:t>
            </a:r>
            <a:r>
              <a:rPr lang="en-US" sz="1200" b="1">
                <a:solidFill>
                  <a:srgbClr val="141C24"/>
                </a:solidFill>
                <a:latin typeface="Proximus Bold"/>
              </a:rPr>
              <a:t> k</a:t>
            </a:r>
            <a:r>
              <a:rPr lang="en-US" sz="1200" b="1">
                <a:solidFill>
                  <a:srgbClr val="141C24"/>
                </a:solidFill>
                <a:latin typeface="Proximus ExtraBold"/>
              </a:rPr>
              <a:t>nowledge management </a:t>
            </a:r>
            <a:r>
              <a:rPr lang="en-US" sz="1200" b="1">
                <a:solidFill>
                  <a:srgbClr val="141C24"/>
                </a:solidFill>
                <a:latin typeface="Proximus Bold"/>
              </a:rPr>
              <a:t>(RAVE, GURU, …)</a:t>
            </a:r>
            <a:endParaRPr lang="en-US" sz="1200">
              <a:solidFill>
                <a:srgbClr val="141C24"/>
              </a:solidFill>
              <a:latin typeface="Proximus"/>
            </a:endParaRPr>
          </a:p>
        </p:txBody>
      </p:sp>
      <p:sp>
        <p:nvSpPr>
          <p:cNvPr id="20" name="Text Placeholder 4">
            <a:extLst>
              <a:ext uri="{FF2B5EF4-FFF2-40B4-BE49-F238E27FC236}">
                <a16:creationId xmlns:a16="http://schemas.microsoft.com/office/drawing/2014/main" id="{776C51F2-83A4-279B-0B26-C5EF0D01ED8B}"/>
              </a:ext>
            </a:extLst>
          </p:cNvPr>
          <p:cNvSpPr txBox="1">
            <a:spLocks/>
          </p:cNvSpPr>
          <p:nvPr/>
        </p:nvSpPr>
        <p:spPr>
          <a:xfrm>
            <a:off x="470453" y="3066213"/>
            <a:ext cx="1847777" cy="1296000"/>
          </a:xfrm>
          <a:prstGeom prst="roundRect">
            <a:avLst>
              <a:gd name="adj" fmla="val 1031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buClr>
                <a:srgbClr val="5C2D91"/>
              </a:buClr>
              <a:buNone/>
              <a:defRPr/>
            </a:pPr>
            <a:r>
              <a:rPr lang="en-US" sz="1200">
                <a:solidFill>
                  <a:srgbClr val="141C24"/>
                </a:solidFill>
                <a:latin typeface="Proximus"/>
              </a:rPr>
              <a:t>Pave the way to</a:t>
            </a:r>
            <a:r>
              <a:rPr lang="en-US" sz="1200" b="1">
                <a:solidFill>
                  <a:srgbClr val="141C24"/>
                </a:solidFill>
                <a:latin typeface="Proximus ExtraBold"/>
              </a:rPr>
              <a:t> dark NOC </a:t>
            </a:r>
          </a:p>
        </p:txBody>
      </p:sp>
      <p:pic>
        <p:nvPicPr>
          <p:cNvPr id="23" name="Picture 22" descr="3D face graphic">
            <a:extLst>
              <a:ext uri="{FF2B5EF4-FFF2-40B4-BE49-F238E27FC236}">
                <a16:creationId xmlns:a16="http://schemas.microsoft.com/office/drawing/2014/main" id="{3F8AB149-9476-ABDD-19DC-0F3B26838E34}"/>
              </a:ext>
            </a:extLst>
          </p:cNvPr>
          <p:cNvPicPr>
            <a:picLocks noChangeAspect="1"/>
          </p:cNvPicPr>
          <p:nvPr/>
        </p:nvPicPr>
        <p:blipFill>
          <a:blip r:embed="rId6"/>
          <a:stretch>
            <a:fillRect/>
          </a:stretch>
        </p:blipFill>
        <p:spPr>
          <a:xfrm>
            <a:off x="4662714" y="1508836"/>
            <a:ext cx="3937000" cy="2815968"/>
          </a:xfrm>
          <a:prstGeom prst="roundRect">
            <a:avLst>
              <a:gd name="adj" fmla="val 4839"/>
            </a:avLst>
          </a:prstGeom>
          <a:solidFill>
            <a:srgbClr val="FFFFFF"/>
          </a:solidFill>
          <a:ln w="76200" cap="sq">
            <a:solidFill>
              <a:schemeClr val="accent6"/>
            </a:solidFill>
            <a:miter lim="800000"/>
          </a:ln>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8615054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899A9-A0BF-450D-3B18-7FB0C29F29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CD01DE-C804-28E7-2C54-F3F093308F8C}"/>
              </a:ext>
            </a:extLst>
          </p:cNvPr>
          <p:cNvSpPr>
            <a:spLocks noGrp="1"/>
          </p:cNvSpPr>
          <p:nvPr>
            <p:ph type="title"/>
          </p:nvPr>
        </p:nvSpPr>
        <p:spPr>
          <a:xfrm>
            <a:off x="1226989" y="377826"/>
            <a:ext cx="7455051" cy="660092"/>
          </a:xfrm>
        </p:spPr>
        <p:txBody>
          <a:bodyPr anchor="ctr"/>
          <a:lstStyle/>
          <a:p>
            <a:r>
              <a:rPr lang="en-GB">
                <a:solidFill>
                  <a:srgbClr val="2A2234"/>
                </a:solidFill>
              </a:rPr>
              <a:t>Elevating efficiency through automation &amp; AI </a:t>
            </a:r>
            <a:r>
              <a:rPr lang="en-BE" b="0">
                <a:solidFill>
                  <a:srgbClr val="2A2234"/>
                </a:solidFill>
                <a:latin typeface="Proximus Light" pitchFamily="2" charset="77"/>
              </a:rPr>
              <a:t>in 2025</a:t>
            </a:r>
            <a:endParaRPr lang="en-GB">
              <a:solidFill>
                <a:srgbClr val="2A2234"/>
              </a:solidFill>
            </a:endParaRPr>
          </a:p>
        </p:txBody>
      </p:sp>
      <p:sp>
        <p:nvSpPr>
          <p:cNvPr id="39" name="!!OVAL_network">
            <a:extLst>
              <a:ext uri="{FF2B5EF4-FFF2-40B4-BE49-F238E27FC236}">
                <a16:creationId xmlns:a16="http://schemas.microsoft.com/office/drawing/2014/main" id="{D9A140D1-25AC-CFCF-9732-933A0507240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3" name="Graphic 2">
            <a:extLst>
              <a:ext uri="{FF2B5EF4-FFF2-40B4-BE49-F238E27FC236}">
                <a16:creationId xmlns:a16="http://schemas.microsoft.com/office/drawing/2014/main" id="{45A5FBDB-08BF-1678-8380-66C150C42C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575" y="530072"/>
            <a:ext cx="355600" cy="355600"/>
          </a:xfrm>
          <a:prstGeom prst="rect">
            <a:avLst/>
          </a:prstGeom>
        </p:spPr>
      </p:pic>
      <p:sp>
        <p:nvSpPr>
          <p:cNvPr id="4" name="Text Placeholder 4">
            <a:extLst>
              <a:ext uri="{FF2B5EF4-FFF2-40B4-BE49-F238E27FC236}">
                <a16:creationId xmlns:a16="http://schemas.microsoft.com/office/drawing/2014/main" id="{871ED60C-A761-C60A-BED0-16BF9E28DF84}"/>
              </a:ext>
            </a:extLst>
          </p:cNvPr>
          <p:cNvSpPr txBox="1">
            <a:spLocks/>
          </p:cNvSpPr>
          <p:nvPr/>
        </p:nvSpPr>
        <p:spPr>
          <a:xfrm>
            <a:off x="151793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2"/>
                    </a:gs>
                  </a:gsLst>
                  <a:lin ang="3000000" scaled="0"/>
                </a:gradFill>
                <a:latin typeface="Proximus ExtraBold" pitchFamily="2" charset="77"/>
              </a:rPr>
              <a:t>1</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Expand the </a:t>
            </a:r>
            <a:r>
              <a:rPr lang="en-US" sz="1100" b="1">
                <a:solidFill>
                  <a:srgbClr val="141C24"/>
                </a:solidFill>
                <a:latin typeface="Proximus ExtraBold" pitchFamily="2" charset="77"/>
              </a:rPr>
              <a:t>FRIDA roadmap</a:t>
            </a:r>
            <a:r>
              <a:rPr lang="en-US" sz="1100">
                <a:solidFill>
                  <a:srgbClr val="141C24"/>
                </a:solidFill>
                <a:latin typeface="Proximus Light" pitchFamily="2" charset="77"/>
              </a:rPr>
              <a:t>, building on </a:t>
            </a:r>
            <a:r>
              <a:rPr lang="en-US" sz="1100" err="1">
                <a:solidFill>
                  <a:srgbClr val="141C24"/>
                </a:solidFill>
                <a:latin typeface="Proximus Light" pitchFamily="2" charset="77"/>
              </a:rPr>
              <a:t>MVP2</a:t>
            </a:r>
            <a:r>
              <a:rPr lang="en-US" sz="1100">
                <a:solidFill>
                  <a:srgbClr val="141C24"/>
                </a:solidFill>
                <a:latin typeface="Proximus Light" pitchFamily="2" charset="77"/>
              </a:rPr>
              <a:t> prediction of degradation on P2P signal quality to address </a:t>
            </a:r>
            <a:r>
              <a:rPr lang="en-US" sz="1100" b="1">
                <a:solidFill>
                  <a:srgbClr val="141C24"/>
                </a:solidFill>
                <a:latin typeface="Proximus ExtraBold" pitchFamily="2" charset="77"/>
              </a:rPr>
              <a:t>anomaly detection</a:t>
            </a:r>
            <a:r>
              <a:rPr lang="en-US" sz="1100">
                <a:solidFill>
                  <a:srgbClr val="141C24"/>
                </a:solidFill>
                <a:latin typeface="Proximus Light" pitchFamily="2" charset="77"/>
              </a:rPr>
              <a:t>, </a:t>
            </a:r>
            <a:r>
              <a:rPr lang="en-US" sz="1100" b="1">
                <a:solidFill>
                  <a:srgbClr val="141C24"/>
                </a:solidFill>
                <a:latin typeface="Proximus ExtraBold" pitchFamily="2" charset="77"/>
              </a:rPr>
              <a:t>diagnostics</a:t>
            </a:r>
            <a:r>
              <a:rPr lang="en-US" sz="1100">
                <a:solidFill>
                  <a:srgbClr val="141C24"/>
                </a:solidFill>
                <a:latin typeface="Proximus Light" pitchFamily="2" charset="77"/>
              </a:rPr>
              <a:t>, </a:t>
            </a:r>
            <a:r>
              <a:rPr lang="en-US" sz="1100" b="1">
                <a:solidFill>
                  <a:srgbClr val="141C24"/>
                </a:solidFill>
                <a:latin typeface="Proximus ExtraBold" pitchFamily="2" charset="77"/>
              </a:rPr>
              <a:t>next best actions &amp; triage</a:t>
            </a:r>
            <a:r>
              <a:rPr lang="en-US" sz="1100">
                <a:solidFill>
                  <a:srgbClr val="141C24"/>
                </a:solidFill>
                <a:latin typeface="Proximus Light" pitchFamily="2" charset="77"/>
              </a:rPr>
              <a:t>, </a:t>
            </a:r>
            <a:r>
              <a:rPr lang="en-US" sz="1100" b="1">
                <a:solidFill>
                  <a:srgbClr val="141C24"/>
                </a:solidFill>
                <a:latin typeface="Proximus ExtraBold" pitchFamily="2" charset="77"/>
              </a:rPr>
              <a:t>verification</a:t>
            </a:r>
            <a:r>
              <a:rPr lang="en-US" sz="1100">
                <a:solidFill>
                  <a:srgbClr val="141C24"/>
                </a:solidFill>
                <a:latin typeface="Proximus Light" pitchFamily="2" charset="77"/>
              </a:rPr>
              <a:t> &amp; </a:t>
            </a:r>
            <a:r>
              <a:rPr lang="en-US" sz="1100" b="1">
                <a:solidFill>
                  <a:srgbClr val="141C24"/>
                </a:solidFill>
                <a:latin typeface="Proximus ExtraBold" pitchFamily="2" charset="77"/>
              </a:rPr>
              <a:t>dispatch exploration</a:t>
            </a:r>
          </a:p>
        </p:txBody>
      </p:sp>
      <p:sp>
        <p:nvSpPr>
          <p:cNvPr id="6" name="Text Placeholder 4">
            <a:extLst>
              <a:ext uri="{FF2B5EF4-FFF2-40B4-BE49-F238E27FC236}">
                <a16:creationId xmlns:a16="http://schemas.microsoft.com/office/drawing/2014/main" id="{AFA98541-0AC8-4445-EAD8-3E8841CED21C}"/>
              </a:ext>
            </a:extLst>
          </p:cNvPr>
          <p:cNvSpPr txBox="1">
            <a:spLocks/>
          </p:cNvSpPr>
          <p:nvPr/>
        </p:nvSpPr>
        <p:spPr>
          <a:xfrm>
            <a:off x="362988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2"/>
                    </a:gs>
                  </a:gsLst>
                  <a:lin ang="3000000" scaled="0"/>
                </a:gradFill>
                <a:latin typeface="Proximus ExtraBold" pitchFamily="2" charset="77"/>
              </a:rPr>
              <a:t>2</a:t>
            </a:r>
            <a:endParaRPr lang="en-US" sz="1200" b="1">
              <a:gradFill>
                <a:gsLst>
                  <a:gs pos="0">
                    <a:schemeClr val="bg1"/>
                  </a:gs>
                  <a:gs pos="100000">
                    <a:schemeClr val="accent2"/>
                  </a:gs>
                </a:gsLst>
                <a:lin ang="3000000" scaled="0"/>
              </a:gradFill>
              <a:latin typeface="Proximus ExtraBold" pitchFamily="2" charset="77"/>
            </a:endParaRP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Deliver the </a:t>
            </a:r>
            <a:r>
              <a:rPr lang="en-US" sz="1100" b="1">
                <a:solidFill>
                  <a:srgbClr val="141C24"/>
                </a:solidFill>
                <a:latin typeface="Proximus ExtraBold" pitchFamily="2" charset="77"/>
              </a:rPr>
              <a:t>first </a:t>
            </a:r>
            <a:br>
              <a:rPr lang="en-US" sz="1100" b="1">
                <a:solidFill>
                  <a:srgbClr val="141C24"/>
                </a:solidFill>
                <a:latin typeface="Proximus ExtraBold" pitchFamily="2" charset="77"/>
              </a:rPr>
            </a:br>
            <a:r>
              <a:rPr lang="en-US" sz="1100" b="1">
                <a:solidFill>
                  <a:srgbClr val="141C24"/>
                </a:solidFill>
                <a:latin typeface="Proximus ExtraBold" pitchFamily="2" charset="77"/>
              </a:rPr>
              <a:t>MVP for NOC</a:t>
            </a:r>
            <a:r>
              <a:rPr lang="en-US" sz="1100">
                <a:solidFill>
                  <a:srgbClr val="141C24"/>
                </a:solidFill>
                <a:latin typeface="Proximus Light" pitchFamily="2" charset="77"/>
              </a:rPr>
              <a:t>: denoising backbone transmission alerts</a:t>
            </a:r>
          </a:p>
        </p:txBody>
      </p:sp>
      <p:sp>
        <p:nvSpPr>
          <p:cNvPr id="7" name="Text Placeholder 4">
            <a:extLst>
              <a:ext uri="{FF2B5EF4-FFF2-40B4-BE49-F238E27FC236}">
                <a16:creationId xmlns:a16="http://schemas.microsoft.com/office/drawing/2014/main" id="{8E94ADA8-292C-C796-345B-80D0D5EA89CC}"/>
              </a:ext>
            </a:extLst>
          </p:cNvPr>
          <p:cNvSpPr txBox="1">
            <a:spLocks/>
          </p:cNvSpPr>
          <p:nvPr/>
        </p:nvSpPr>
        <p:spPr>
          <a:xfrm>
            <a:off x="5741825"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2"/>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Define </a:t>
            </a:r>
            <a:r>
              <a:rPr lang="en-US" sz="1100" b="1">
                <a:solidFill>
                  <a:srgbClr val="141C24"/>
                </a:solidFill>
                <a:latin typeface="Proximus ExtraBold" pitchFamily="2" charset="77"/>
              </a:rPr>
              <a:t>ambition</a:t>
            </a:r>
            <a:r>
              <a:rPr lang="en-US" sz="1100">
                <a:solidFill>
                  <a:srgbClr val="141C24"/>
                </a:solidFill>
                <a:latin typeface="Proximus Light" pitchFamily="2" charset="77"/>
              </a:rPr>
              <a:t> &amp; </a:t>
            </a:r>
            <a:r>
              <a:rPr lang="en-US" sz="1100" b="1">
                <a:solidFill>
                  <a:srgbClr val="141C24"/>
                </a:solidFill>
                <a:latin typeface="Proximus ExtraBold" pitchFamily="2" charset="77"/>
              </a:rPr>
              <a:t>roadmap for mobile</a:t>
            </a:r>
            <a:r>
              <a:rPr lang="en-US" sz="1100">
                <a:solidFill>
                  <a:srgbClr val="141C24"/>
                </a:solidFill>
                <a:latin typeface="Proximus Light" pitchFamily="2" charset="77"/>
              </a:rPr>
              <a:t>, deciding on CSON or alternative </a:t>
            </a:r>
            <a:br>
              <a:rPr lang="en-US" sz="1100">
                <a:solidFill>
                  <a:srgbClr val="141C24"/>
                </a:solidFill>
                <a:latin typeface="Proximus Light" pitchFamily="2" charset="77"/>
              </a:rPr>
            </a:br>
            <a:r>
              <a:rPr lang="en-US" sz="1100">
                <a:solidFill>
                  <a:srgbClr val="141C24"/>
                </a:solidFill>
                <a:latin typeface="Proximus Light" pitchFamily="2" charset="77"/>
              </a:rPr>
              <a:t>automation tools</a:t>
            </a:r>
          </a:p>
        </p:txBody>
      </p:sp>
    </p:spTree>
    <p:extLst>
      <p:ext uri="{BB962C8B-B14F-4D97-AF65-F5344CB8AC3E}">
        <p14:creationId xmlns:p14="http://schemas.microsoft.com/office/powerpoint/2010/main" val="1401191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877BB-8CAC-E29F-F60B-C55EC256A118}"/>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E0360F06-2552-FA7A-7007-AF36ADCB7358}"/>
              </a:ext>
            </a:extLst>
          </p:cNvPr>
          <p:cNvSpPr/>
          <p:nvPr/>
        </p:nvSpPr>
        <p:spPr>
          <a:xfrm>
            <a:off x="460375" y="450850"/>
            <a:ext cx="8221665" cy="4244975"/>
          </a:xfrm>
          <a:prstGeom prst="roundRect">
            <a:avLst>
              <a:gd name="adj" fmla="val 2317"/>
            </a:avLst>
          </a:prstGeom>
          <a:gradFill flip="none" rotWithShape="1">
            <a:gsLst>
              <a:gs pos="20000">
                <a:schemeClr val="bg1"/>
              </a:gs>
              <a:gs pos="99000">
                <a:schemeClr val="accent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A804516A-4868-D315-FF31-5C4C0F1E7D07}"/>
              </a:ext>
            </a:extLst>
          </p:cNvPr>
          <p:cNvSpPr>
            <a:spLocks noGrp="1"/>
          </p:cNvSpPr>
          <p:nvPr>
            <p:ph type="title"/>
          </p:nvPr>
        </p:nvSpPr>
        <p:spPr>
          <a:xfrm>
            <a:off x="3855555" y="1319206"/>
            <a:ext cx="4826485" cy="660092"/>
          </a:xfrm>
        </p:spPr>
        <p:txBody>
          <a:bodyPr/>
          <a:lstStyle/>
          <a:p>
            <a:r>
              <a:rPr lang="en-GB" dirty="0">
                <a:solidFill>
                  <a:schemeClr val="tx1"/>
                </a:solidFill>
              </a:rPr>
              <a:t>What does NASA stand for?</a:t>
            </a:r>
            <a:endParaRPr lang="en-BE" dirty="0">
              <a:solidFill>
                <a:schemeClr val="tx1"/>
              </a:solidFill>
            </a:endParaRPr>
          </a:p>
        </p:txBody>
      </p:sp>
      <p:sp>
        <p:nvSpPr>
          <p:cNvPr id="4" name="Title 1">
            <a:extLst>
              <a:ext uri="{FF2B5EF4-FFF2-40B4-BE49-F238E27FC236}">
                <a16:creationId xmlns:a16="http://schemas.microsoft.com/office/drawing/2014/main" id="{E8D34B4A-6486-3D6C-7CF0-6697440ADB10}"/>
              </a:ext>
            </a:extLst>
          </p:cNvPr>
          <p:cNvSpPr txBox="1">
            <a:spLocks/>
          </p:cNvSpPr>
          <p:nvPr/>
        </p:nvSpPr>
        <p:spPr>
          <a:xfrm>
            <a:off x="3855555" y="2045800"/>
            <a:ext cx="4253730"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nSpc>
                <a:spcPct val="107000"/>
              </a:lnSpc>
              <a:spcAft>
                <a:spcPts val="800"/>
              </a:spcAft>
              <a:buFont typeface="+mj-lt"/>
              <a:buAutoNum type="arabicPeriod"/>
            </a:pPr>
            <a:r>
              <a:rPr lang="en-US" sz="1800" b="0" kern="100" dirty="0">
                <a:solidFill>
                  <a:schemeClr val="tx1"/>
                </a:solidFill>
                <a:effectLst/>
                <a:latin typeface="Proximus Light"/>
                <a:ea typeface="Aptos" panose="020B0004020202020204" pitchFamily="34" charset="0"/>
                <a:cs typeface="Arial"/>
              </a:rPr>
              <a:t>Network Application Strategy &amp; AI</a:t>
            </a:r>
          </a:p>
          <a:p>
            <a:pPr marL="342900" indent="-342900">
              <a:lnSpc>
                <a:spcPct val="107000"/>
              </a:lnSpc>
              <a:spcAft>
                <a:spcPts val="800"/>
              </a:spcAft>
              <a:buFont typeface="+mj-lt"/>
              <a:buAutoNum type="arabicPeriod"/>
            </a:pPr>
            <a:r>
              <a:rPr lang="en-US" sz="1800" b="0" kern="100" dirty="0">
                <a:solidFill>
                  <a:schemeClr val="tx1"/>
                </a:solidFill>
                <a:effectLst/>
                <a:latin typeface="Proximus Light"/>
                <a:ea typeface="Aptos" panose="020B0004020202020204" pitchFamily="34" charset="0"/>
                <a:cs typeface="Arial"/>
              </a:rPr>
              <a:t>Network AI Strategy &amp; </a:t>
            </a:r>
            <a:r>
              <a:rPr lang="en-US" sz="1800" b="0" kern="100" dirty="0">
                <a:solidFill>
                  <a:schemeClr val="tx1"/>
                </a:solidFill>
                <a:latin typeface="Proximus Light"/>
                <a:ea typeface="Aptos" panose="020B0004020202020204" pitchFamily="34" charset="0"/>
                <a:cs typeface="Arial"/>
              </a:rPr>
              <a:t>Applications</a:t>
            </a:r>
            <a:endParaRPr lang="en-US" sz="1800" b="0" kern="100" dirty="0">
              <a:solidFill>
                <a:schemeClr val="tx1"/>
              </a:solidFill>
              <a:effectLst/>
              <a:latin typeface="Proximus Light" pitchFamily="2" charset="77"/>
              <a:ea typeface="Aptos" panose="020B0004020202020204" pitchFamily="34" charset="0"/>
              <a:cs typeface="Arial" panose="020B0604020202020204" pitchFamily="34" charset="0"/>
            </a:endParaRPr>
          </a:p>
          <a:p>
            <a:pPr marL="342900" indent="-342900">
              <a:lnSpc>
                <a:spcPct val="107000"/>
              </a:lnSpc>
              <a:spcAft>
                <a:spcPts val="800"/>
              </a:spcAft>
              <a:buFont typeface="+mj-lt"/>
              <a:buAutoNum type="arabicPeriod"/>
            </a:pPr>
            <a:r>
              <a:rPr lang="en-US" sz="1800" b="0" kern="100" dirty="0">
                <a:solidFill>
                  <a:schemeClr val="tx1"/>
                </a:solidFill>
                <a:latin typeface="Proximus Light"/>
                <a:ea typeface="Aptos" panose="020B0004020202020204" pitchFamily="34" charset="0"/>
                <a:cs typeface="Arial"/>
              </a:rPr>
              <a:t>Network Action Solution &amp; Apple</a:t>
            </a:r>
            <a:endParaRPr lang="en-US" sz="1800" b="0" kern="100" dirty="0">
              <a:solidFill>
                <a:schemeClr val="tx1"/>
              </a:solidFill>
              <a:effectLst/>
              <a:latin typeface="Proximus Light"/>
              <a:ea typeface="Aptos" panose="020B0004020202020204" pitchFamily="34" charset="0"/>
              <a:cs typeface="Arial"/>
            </a:endParaRPr>
          </a:p>
          <a:p>
            <a:pPr marL="342900" indent="-342900">
              <a:lnSpc>
                <a:spcPct val="107000"/>
              </a:lnSpc>
              <a:spcAft>
                <a:spcPts val="800"/>
              </a:spcAft>
              <a:buFont typeface="+mj-lt"/>
              <a:buAutoNum type="arabicPeriod"/>
            </a:pPr>
            <a:r>
              <a:rPr lang="en-US" sz="1800" b="0" kern="100" dirty="0">
                <a:solidFill>
                  <a:schemeClr val="tx1"/>
                </a:solidFill>
                <a:effectLst/>
                <a:latin typeface="Proximus Light"/>
                <a:ea typeface="Aptos" panose="020B0004020202020204" pitchFamily="34" charset="0"/>
                <a:cs typeface="Arial"/>
              </a:rPr>
              <a:t>Network AI Solutions &amp; </a:t>
            </a:r>
            <a:r>
              <a:rPr lang="en-US" sz="1800" b="0" kern="100" dirty="0">
                <a:solidFill>
                  <a:schemeClr val="tx1"/>
                </a:solidFill>
                <a:latin typeface="Proximus Light"/>
                <a:ea typeface="Aptos" panose="020B0004020202020204" pitchFamily="34" charset="0"/>
                <a:cs typeface="Arial"/>
              </a:rPr>
              <a:t>Applications</a:t>
            </a:r>
            <a:endParaRPr lang="en-US" sz="1800" b="0" kern="100" dirty="0">
              <a:solidFill>
                <a:schemeClr val="tx1"/>
              </a:solidFill>
              <a:effectLst/>
              <a:latin typeface="Proximus Light"/>
              <a:ea typeface="Aptos" panose="020B0004020202020204" pitchFamily="34" charset="0"/>
              <a:cs typeface="Arial"/>
            </a:endParaRPr>
          </a:p>
        </p:txBody>
      </p:sp>
      <p:grpSp>
        <p:nvGrpSpPr>
          <p:cNvPr id="5" name="Group 4">
            <a:extLst>
              <a:ext uri="{FF2B5EF4-FFF2-40B4-BE49-F238E27FC236}">
                <a16:creationId xmlns:a16="http://schemas.microsoft.com/office/drawing/2014/main" id="{EDB5CCBB-9ED0-8F3F-5F15-A896C8F10ECD}"/>
              </a:ext>
            </a:extLst>
          </p:cNvPr>
          <p:cNvGrpSpPr/>
          <p:nvPr/>
        </p:nvGrpSpPr>
        <p:grpSpPr>
          <a:xfrm>
            <a:off x="1034715" y="1330467"/>
            <a:ext cx="2376000" cy="2850482"/>
            <a:chOff x="1034715" y="1437623"/>
            <a:chExt cx="2376000" cy="2850482"/>
          </a:xfrm>
        </p:grpSpPr>
        <p:sp>
          <p:nvSpPr>
            <p:cNvPr id="6" name="Rounded Rectangle 5">
              <a:extLst>
                <a:ext uri="{FF2B5EF4-FFF2-40B4-BE49-F238E27FC236}">
                  <a16:creationId xmlns:a16="http://schemas.microsoft.com/office/drawing/2014/main" id="{C0B212FF-019B-6CE9-6E5A-D232EB94ECF4}"/>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13" name="Group 12">
              <a:extLst>
                <a:ext uri="{FF2B5EF4-FFF2-40B4-BE49-F238E27FC236}">
                  <a16:creationId xmlns:a16="http://schemas.microsoft.com/office/drawing/2014/main" id="{D33B4153-2530-6E88-83D7-2070650EBA88}"/>
                </a:ext>
              </a:extLst>
            </p:cNvPr>
            <p:cNvGrpSpPr/>
            <p:nvPr/>
          </p:nvGrpSpPr>
          <p:grpSpPr>
            <a:xfrm>
              <a:off x="1758834" y="3919743"/>
              <a:ext cx="948471" cy="263470"/>
              <a:chOff x="5411538" y="379361"/>
              <a:chExt cx="613934" cy="170541"/>
            </a:xfrm>
            <a:solidFill>
              <a:srgbClr val="000000"/>
            </a:solidFill>
          </p:grpSpPr>
          <p:sp>
            <p:nvSpPr>
              <p:cNvPr id="15" name="Freeform 14">
                <a:extLst>
                  <a:ext uri="{FF2B5EF4-FFF2-40B4-BE49-F238E27FC236}">
                    <a16:creationId xmlns:a16="http://schemas.microsoft.com/office/drawing/2014/main" id="{7172C29E-B398-F9E2-70DF-7E05A6D6C449}"/>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6" name="Freeform 15">
                <a:extLst>
                  <a:ext uri="{FF2B5EF4-FFF2-40B4-BE49-F238E27FC236}">
                    <a16:creationId xmlns:a16="http://schemas.microsoft.com/office/drawing/2014/main" id="{6DF3AAEF-A0A1-7C39-A6C2-25795C30604E}"/>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7994AD1E-CABA-4E9E-149A-6548E6404813}"/>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14" name="Afbeelding 4">
              <a:extLst>
                <a:ext uri="{FF2B5EF4-FFF2-40B4-BE49-F238E27FC236}">
                  <a16:creationId xmlns:a16="http://schemas.microsoft.com/office/drawing/2014/main" id="{123AB722-24F2-3C60-F756-0BC3CE545573}"/>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889445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A2413864-C541-A6B1-5071-C15D6DC84F7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6D4736D-C4C4-0A40-B2B3-8A52DDDF2557}"/>
              </a:ext>
            </a:extLst>
          </p:cNvPr>
          <p:cNvSpPr txBox="1"/>
          <p:nvPr/>
        </p:nvSpPr>
        <p:spPr>
          <a:xfrm>
            <a:off x="8054578" y="6004321"/>
            <a:ext cx="914400" cy="914400"/>
          </a:xfrm>
          <a:prstGeom prst="rect">
            <a:avLst/>
          </a:prstGeom>
        </p:spPr>
        <p:txBody>
          <a:bodyPr vert="horz" wrap="square" lIns="0" tIns="0" rIns="0" bIns="0" numCol="1" spcCol="0" rtlCol="0" anchor="t" anchorCtr="0">
            <a:noAutofit/>
          </a:bodyPr>
          <a:lstStyle/>
          <a:p>
            <a:pPr algn="l"/>
            <a:endParaRPr lang="en-GB"/>
          </a:p>
        </p:txBody>
      </p:sp>
      <p:sp>
        <p:nvSpPr>
          <p:cNvPr id="11" name="Title 10">
            <a:extLst>
              <a:ext uri="{FF2B5EF4-FFF2-40B4-BE49-F238E27FC236}">
                <a16:creationId xmlns:a16="http://schemas.microsoft.com/office/drawing/2014/main" id="{19085727-677D-DABF-C269-6883FDF66725}"/>
              </a:ext>
            </a:extLst>
          </p:cNvPr>
          <p:cNvSpPr>
            <a:spLocks noGrp="1"/>
          </p:cNvSpPr>
          <p:nvPr>
            <p:ph type="title"/>
          </p:nvPr>
        </p:nvSpPr>
        <p:spPr>
          <a:xfrm>
            <a:off x="460377" y="377826"/>
            <a:ext cx="2008503" cy="1941512"/>
          </a:xfrm>
        </p:spPr>
        <p:txBody>
          <a:bodyPr>
            <a:noAutofit/>
          </a:bodyPr>
          <a:lstStyle/>
          <a:p>
            <a:r>
              <a:rPr lang="en-US" sz="2800">
                <a:solidFill>
                  <a:srgbClr val="2A2234"/>
                </a:solidFill>
              </a:rPr>
              <a:t>O</a:t>
            </a:r>
            <a:r>
              <a:rPr lang="en-BE" sz="2800">
                <a:solidFill>
                  <a:srgbClr val="2A2234"/>
                </a:solidFill>
              </a:rPr>
              <a:t>n </a:t>
            </a:r>
            <a:br>
              <a:rPr lang="en-BE" sz="2800">
                <a:solidFill>
                  <a:srgbClr val="2A2234"/>
                </a:solidFill>
              </a:rPr>
            </a:br>
            <a:r>
              <a:rPr lang="en-BE" sz="2800">
                <a:solidFill>
                  <a:srgbClr val="2A2234"/>
                </a:solidFill>
              </a:rPr>
              <a:t>today’s </a:t>
            </a:r>
            <a:br>
              <a:rPr lang="en-BE" sz="2800">
                <a:solidFill>
                  <a:srgbClr val="2A2234"/>
                </a:solidFill>
              </a:rPr>
            </a:br>
            <a:r>
              <a:rPr lang="en-BE" sz="2800">
                <a:solidFill>
                  <a:srgbClr val="2A2234"/>
                </a:solidFill>
              </a:rPr>
              <a:t>menu</a:t>
            </a:r>
            <a:endParaRPr lang="en-US" sz="2800">
              <a:solidFill>
                <a:srgbClr val="2A2234"/>
              </a:solidFill>
            </a:endParaRPr>
          </a:p>
        </p:txBody>
      </p:sp>
      <p:graphicFrame>
        <p:nvGraphicFramePr>
          <p:cNvPr id="13" name="Table 9">
            <a:extLst>
              <a:ext uri="{FF2B5EF4-FFF2-40B4-BE49-F238E27FC236}">
                <a16:creationId xmlns:a16="http://schemas.microsoft.com/office/drawing/2014/main" id="{AE1D8256-40E9-4D37-388E-E5A2B6E850FA}"/>
              </a:ext>
            </a:extLst>
          </p:cNvPr>
          <p:cNvGraphicFramePr>
            <a:graphicFrameLocks noGrp="1"/>
          </p:cNvGraphicFramePr>
          <p:nvPr>
            <p:ph type="tbl" sz="quarter" idx="10"/>
            <p:extLst>
              <p:ext uri="{D42A27DB-BD31-4B8C-83A1-F6EECF244321}">
                <p14:modId xmlns:p14="http://schemas.microsoft.com/office/powerpoint/2010/main" val="2975295971"/>
              </p:ext>
            </p:extLst>
          </p:nvPr>
        </p:nvGraphicFramePr>
        <p:xfrm>
          <a:off x="4572000" y="1057475"/>
          <a:ext cx="4108450" cy="3048000"/>
        </p:xfrm>
        <a:graphic>
          <a:graphicData uri="http://schemas.openxmlformats.org/drawingml/2006/table">
            <a:tbl>
              <a:tblPr firstRow="1" bandRow="1">
                <a:tableStyleId>{5C22544A-7EE6-4342-B048-85BDC9FD1C3A}</a:tableStyleId>
              </a:tblPr>
              <a:tblGrid>
                <a:gridCol w="597629">
                  <a:extLst>
                    <a:ext uri="{9D8B030D-6E8A-4147-A177-3AD203B41FA5}">
                      <a16:colId xmlns:a16="http://schemas.microsoft.com/office/drawing/2014/main" val="2834600042"/>
                    </a:ext>
                  </a:extLst>
                </a:gridCol>
                <a:gridCol w="3510821">
                  <a:extLst>
                    <a:ext uri="{9D8B030D-6E8A-4147-A177-3AD203B41FA5}">
                      <a16:colId xmlns:a16="http://schemas.microsoft.com/office/drawing/2014/main" val="3220776713"/>
                    </a:ext>
                  </a:extLst>
                </a:gridCol>
              </a:tblGrid>
              <a:tr h="609600">
                <a:tc>
                  <a:txBody>
                    <a:bodyPr/>
                    <a:lstStyle/>
                    <a:p>
                      <a:pPr algn="r"/>
                      <a:r>
                        <a:rPr lang="en-BE" sz="2400">
                          <a:solidFill>
                            <a:srgbClr val="2A2234"/>
                          </a:solidFill>
                          <a:latin typeface="Proximus ExtraBold"/>
                        </a:rPr>
                        <a:t>1.</a:t>
                      </a:r>
                      <a:endParaRPr lang="en-GB" sz="2400">
                        <a:solidFill>
                          <a:srgbClr val="2A2234"/>
                        </a:solidFill>
                        <a:latin typeface="Proximus ExtraBold" panose="00000900000000000000" pitchFamily="2"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Welco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6677693"/>
                  </a:ext>
                </a:extLst>
              </a:tr>
              <a:tr h="609600">
                <a:tc>
                  <a:txBody>
                    <a:bodyPr/>
                    <a:lstStyle/>
                    <a:p>
                      <a:pPr algn="r"/>
                      <a:r>
                        <a:rPr lang="en-BE" sz="2400">
                          <a:solidFill>
                            <a:srgbClr val="2A2234"/>
                          </a:solidFill>
                          <a:latin typeface="Proximus ExtraBold"/>
                        </a:rPr>
                        <a:t>2.</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NBU 4.0 Part 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3420335"/>
                  </a:ext>
                </a:extLst>
              </a:tr>
              <a:tr h="609600">
                <a:tc>
                  <a:txBody>
                    <a:bodyPr/>
                    <a:lstStyle/>
                    <a:p>
                      <a:pPr algn="r"/>
                      <a:r>
                        <a:rPr lang="en-BE" sz="2400">
                          <a:solidFill>
                            <a:srgbClr val="2A2234"/>
                          </a:solidFill>
                          <a:latin typeface="Proximus ExtraBold"/>
                        </a:rPr>
                        <a:t>3.</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Rebel </a:t>
                      </a:r>
                      <a:r>
                        <a:rPr lang="en-GB" sz="2000" b="0" err="1">
                          <a:solidFill>
                            <a:srgbClr val="2A2234"/>
                          </a:solidFill>
                          <a:latin typeface="Proximus Light"/>
                        </a:rPr>
                        <a:t>Rebel</a:t>
                      </a:r>
                      <a:r>
                        <a:rPr lang="en-GB" sz="2000" b="0">
                          <a:solidFill>
                            <a:srgbClr val="2A2234"/>
                          </a:solidFill>
                          <a:latin typeface="Proximus Light"/>
                        </a:rPr>
                        <a:t> </a:t>
                      </a:r>
                      <a:r>
                        <a:rPr lang="en-GB" sz="1100" b="0">
                          <a:solidFill>
                            <a:srgbClr val="2A2234"/>
                          </a:solidFill>
                          <a:latin typeface="Proximus Light"/>
                        </a:rPr>
                        <a:t>by Geert Van Mo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86046380"/>
                  </a:ext>
                </a:extLst>
              </a:tr>
              <a:tr h="609600">
                <a:tc>
                  <a:txBody>
                    <a:bodyPr/>
                    <a:lstStyle/>
                    <a:p>
                      <a:pPr algn="r"/>
                      <a:r>
                        <a:rPr lang="en-BE" sz="2400">
                          <a:solidFill>
                            <a:srgbClr val="2A2234"/>
                          </a:solidFill>
                          <a:latin typeface="Proximus ExtraBold"/>
                        </a:rPr>
                        <a:t>4.</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NBU 4.0 Part 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13467824"/>
                  </a:ext>
                </a:extLst>
              </a:tr>
              <a:tr h="609600">
                <a:tc>
                  <a:txBody>
                    <a:bodyPr/>
                    <a:lstStyle/>
                    <a:p>
                      <a:pPr algn="r"/>
                      <a:r>
                        <a:rPr lang="en-BE" sz="2400">
                          <a:solidFill>
                            <a:srgbClr val="2A2234"/>
                          </a:solidFill>
                          <a:latin typeface="Proximus ExtraBold"/>
                        </a:rPr>
                        <a:t>5.</a:t>
                      </a:r>
                      <a:endParaRPr lang="en-GB" sz="2400">
                        <a:solidFill>
                          <a:srgbClr val="2A2234"/>
                        </a:solidFill>
                        <a:latin typeface="Proximus ExtraBold"/>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1200"/>
                        </a:spcBef>
                      </a:pPr>
                      <a:r>
                        <a:rPr lang="en-GB" sz="2000" b="0">
                          <a:solidFill>
                            <a:srgbClr val="2A2234"/>
                          </a:solidFill>
                          <a:latin typeface="Proximus Light"/>
                        </a:rPr>
                        <a:t>Q&amp;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34480"/>
                  </a:ext>
                </a:extLst>
              </a:tr>
            </a:tbl>
          </a:graphicData>
        </a:graphic>
      </p:graphicFrame>
      <p:pic>
        <p:nvPicPr>
          <p:cNvPr id="2" name="Graphic 1">
            <a:extLst>
              <a:ext uri="{FF2B5EF4-FFF2-40B4-BE49-F238E27FC236}">
                <a16:creationId xmlns:a16="http://schemas.microsoft.com/office/drawing/2014/main" id="{53F0D672-6431-5077-1961-60DF169D9DAD}"/>
              </a:ext>
            </a:extLst>
          </p:cNvPr>
          <p:cNvPicPr>
            <a:picLocks noChangeAspect="1"/>
          </p:cNvPicPr>
          <p:nvPr/>
        </p:nvPicPr>
        <p:blipFill>
          <a:blip r:embed="rId3"/>
          <a:srcRect/>
          <a:stretch/>
        </p:blipFill>
        <p:spPr>
          <a:xfrm rot="14253325">
            <a:off x="-4049585" y="-4190508"/>
            <a:ext cx="8099170" cy="9282716"/>
          </a:xfrm>
          <a:prstGeom prst="rect">
            <a:avLst/>
          </a:prstGeom>
          <a:noFill/>
        </p:spPr>
      </p:pic>
    </p:spTree>
    <p:extLst>
      <p:ext uri="{BB962C8B-B14F-4D97-AF65-F5344CB8AC3E}">
        <p14:creationId xmlns:p14="http://schemas.microsoft.com/office/powerpoint/2010/main" val="39321443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F672F8-B1CD-9452-81D2-20F48E9C45C2}"/>
            </a:ext>
          </a:extLst>
        </p:cNvPr>
        <p:cNvGrpSpPr/>
        <p:nvPr/>
      </p:nvGrpSpPr>
      <p:grpSpPr>
        <a:xfrm>
          <a:off x="0" y="0"/>
          <a:ext cx="0" cy="0"/>
          <a:chOff x="0" y="0"/>
          <a:chExt cx="0" cy="0"/>
        </a:xfrm>
      </p:grpSpPr>
      <p:pic>
        <p:nvPicPr>
          <p:cNvPr id="4" name="Graphic 3">
            <a:extLst>
              <a:ext uri="{FF2B5EF4-FFF2-40B4-BE49-F238E27FC236}">
                <a16:creationId xmlns:a16="http://schemas.microsoft.com/office/drawing/2014/main" id="{F40BE4EC-EBFE-783C-16A9-B0AED27B59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12285100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AB1AD-93C8-07F9-7F68-E902028C75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B872CA-4700-0D7D-D45D-2D0F55E54AE9}"/>
              </a:ext>
            </a:extLst>
          </p:cNvPr>
          <p:cNvSpPr>
            <a:spLocks noGrp="1"/>
          </p:cNvSpPr>
          <p:nvPr>
            <p:ph type="title"/>
          </p:nvPr>
        </p:nvSpPr>
        <p:spPr>
          <a:xfrm>
            <a:off x="1226989" y="377826"/>
            <a:ext cx="3639463" cy="660092"/>
          </a:xfrm>
        </p:spPr>
        <p:txBody>
          <a:bodyPr anchor="ctr"/>
          <a:lstStyle/>
          <a:p>
            <a:r>
              <a:rPr lang="en-GB">
                <a:solidFill>
                  <a:srgbClr val="2A2234"/>
                </a:solidFill>
              </a:rPr>
              <a:t>Copper switch-off</a:t>
            </a:r>
          </a:p>
        </p:txBody>
      </p:sp>
      <p:sp>
        <p:nvSpPr>
          <p:cNvPr id="39" name="!!OVAL_network">
            <a:extLst>
              <a:ext uri="{FF2B5EF4-FFF2-40B4-BE49-F238E27FC236}">
                <a16:creationId xmlns:a16="http://schemas.microsoft.com/office/drawing/2014/main" id="{2E547B44-6DA1-3547-98B8-562EFD9875B4}"/>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F14367CD-2EE1-19AE-8FAE-0A3B4FDB2E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3" name="Text Placeholder 4">
            <a:extLst>
              <a:ext uri="{FF2B5EF4-FFF2-40B4-BE49-F238E27FC236}">
                <a16:creationId xmlns:a16="http://schemas.microsoft.com/office/drawing/2014/main" id="{A7D0A014-E10F-4052-68D7-98756EE8567A}"/>
              </a:ext>
            </a:extLst>
          </p:cNvPr>
          <p:cNvSpPr txBox="1">
            <a:spLocks/>
          </p:cNvSpPr>
          <p:nvPr/>
        </p:nvSpPr>
        <p:spPr>
          <a:xfrm>
            <a:off x="7234943" y="2545305"/>
            <a:ext cx="1447087" cy="1008000"/>
          </a:xfrm>
          <a:prstGeom prst="roundRect">
            <a:avLst>
              <a:gd name="adj" fmla="val 13164"/>
            </a:avLst>
          </a:prstGeom>
          <a:solidFill>
            <a:schemeClr val="tx1"/>
          </a:solidFill>
          <a:effectLst>
            <a:outerShdw blurRad="508000" dist="38100" dir="5400000" algn="t" rotWithShape="0">
              <a:prstClr val="black">
                <a:alpha val="15000"/>
              </a:prstClr>
            </a:outerShdw>
          </a:effectLst>
        </p:spPr>
        <p:txBody>
          <a:bodyPr lIns="180000" tIns="180000" rIns="180000" bIns="180000" anchor="t" anchorCtr="0"/>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spcAft>
                <a:spcPts val="0"/>
              </a:spcAft>
              <a:buClr>
                <a:srgbClr val="5C2D91"/>
              </a:buClr>
              <a:buNone/>
              <a:defRPr/>
            </a:pPr>
            <a:r>
              <a:rPr lang="en-US" sz="1200" b="1">
                <a:gradFill>
                  <a:gsLst>
                    <a:gs pos="0">
                      <a:schemeClr val="bg1"/>
                    </a:gs>
                    <a:gs pos="100000">
                      <a:srgbClr val="F3800B"/>
                    </a:gs>
                  </a:gsLst>
                  <a:lin ang="2700000" scaled="1"/>
                </a:gradFill>
                <a:latin typeface="Proximus ExtraBold" pitchFamily="2" charset="77"/>
              </a:rPr>
              <a:t>Migrating</a:t>
            </a:r>
          </a:p>
        </p:txBody>
      </p:sp>
      <p:sp>
        <p:nvSpPr>
          <p:cNvPr id="17" name="Text Placeholder 4">
            <a:extLst>
              <a:ext uri="{FF2B5EF4-FFF2-40B4-BE49-F238E27FC236}">
                <a16:creationId xmlns:a16="http://schemas.microsoft.com/office/drawing/2014/main" id="{F7C70D8E-224D-DAF2-E6FE-D0F79E88712A}"/>
              </a:ext>
            </a:extLst>
          </p:cNvPr>
          <p:cNvSpPr txBox="1">
            <a:spLocks/>
          </p:cNvSpPr>
          <p:nvPr/>
        </p:nvSpPr>
        <p:spPr>
          <a:xfrm>
            <a:off x="5616639" y="2545305"/>
            <a:ext cx="1465466" cy="1008000"/>
          </a:xfrm>
          <a:prstGeom prst="roundRect">
            <a:avLst>
              <a:gd name="adj" fmla="val 12999"/>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spcAft>
                <a:spcPts val="0"/>
              </a:spcAft>
              <a:buClr>
                <a:srgbClr val="5C2D91"/>
              </a:buClr>
              <a:buNone/>
              <a:defRPr/>
            </a:pPr>
            <a:r>
              <a:rPr lang="en-US" sz="1200" b="1">
                <a:gradFill flip="none" rotWithShape="1">
                  <a:gsLst>
                    <a:gs pos="0">
                      <a:schemeClr val="bg1"/>
                    </a:gs>
                    <a:gs pos="100000">
                      <a:srgbClr val="F3800B"/>
                    </a:gs>
                  </a:gsLst>
                  <a:lin ang="2700000" scaled="1"/>
                  <a:tileRect/>
                </a:gradFill>
                <a:latin typeface="Proximus ExtraBold" pitchFamily="2" charset="77"/>
              </a:rPr>
              <a:t>Simplifying</a:t>
            </a:r>
          </a:p>
        </p:txBody>
      </p:sp>
      <p:sp>
        <p:nvSpPr>
          <p:cNvPr id="69" name="Text Placeholder 4">
            <a:extLst>
              <a:ext uri="{FF2B5EF4-FFF2-40B4-BE49-F238E27FC236}">
                <a16:creationId xmlns:a16="http://schemas.microsoft.com/office/drawing/2014/main" id="{8CB6343F-9EDE-A9FB-33CD-B38EA172B4DC}"/>
              </a:ext>
            </a:extLst>
          </p:cNvPr>
          <p:cNvSpPr txBox="1">
            <a:spLocks/>
          </p:cNvSpPr>
          <p:nvPr/>
        </p:nvSpPr>
        <p:spPr>
          <a:xfrm>
            <a:off x="7238678" y="3692048"/>
            <a:ext cx="1441772" cy="1008000"/>
          </a:xfrm>
          <a:prstGeom prst="roundRect">
            <a:avLst>
              <a:gd name="adj" fmla="val 13213"/>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buClr>
                <a:srgbClr val="5C2D91"/>
              </a:buClr>
              <a:buNone/>
              <a:defRPr/>
            </a:pPr>
            <a:r>
              <a:rPr lang="en-US" sz="1100" b="1" dirty="0">
                <a:gradFill>
                  <a:gsLst>
                    <a:gs pos="0">
                      <a:schemeClr val="bg1"/>
                    </a:gs>
                    <a:gs pos="100000">
                      <a:srgbClr val="F3800B"/>
                    </a:gs>
                  </a:gsLst>
                  <a:lin ang="2700000" scaled="1"/>
                </a:gradFill>
                <a:latin typeface="Proximus ExtraBold" pitchFamily="2" charset="77"/>
              </a:rPr>
              <a:t>Managing</a:t>
            </a:r>
            <a:br>
              <a:rPr lang="en-US" sz="1100" b="1" dirty="0">
                <a:gradFill>
                  <a:gsLst>
                    <a:gs pos="0">
                      <a:schemeClr val="bg1"/>
                    </a:gs>
                    <a:gs pos="100000">
                      <a:srgbClr val="F3800B"/>
                    </a:gs>
                  </a:gsLst>
                  <a:lin ang="2700000" scaled="1"/>
                </a:gradFill>
                <a:latin typeface="Proximus ExtraBold" pitchFamily="2" charset="77"/>
              </a:rPr>
            </a:br>
            <a:r>
              <a:rPr lang="en-US" sz="1100" b="1" dirty="0">
                <a:gradFill>
                  <a:gsLst>
                    <a:gs pos="0">
                      <a:schemeClr val="bg1"/>
                    </a:gs>
                    <a:gs pos="100000">
                      <a:srgbClr val="F3800B"/>
                    </a:gs>
                  </a:gsLst>
                  <a:lin ang="2700000" scaled="1"/>
                </a:gradFill>
                <a:latin typeface="Proximus ExtraBold" pitchFamily="2" charset="77"/>
              </a:rPr>
              <a:t>obsolescence</a:t>
            </a:r>
          </a:p>
          <a:p>
            <a:pPr marL="0" indent="0" defTabSz="914241">
              <a:spcBef>
                <a:spcPts val="450"/>
              </a:spcBef>
              <a:spcAft>
                <a:spcPts val="0"/>
              </a:spcAft>
              <a:buClr>
                <a:srgbClr val="5C2D91"/>
              </a:buClr>
              <a:buNone/>
              <a:defRPr/>
            </a:pPr>
            <a:endParaRPr lang="en-US" sz="1200" b="1" dirty="0">
              <a:solidFill>
                <a:srgbClr val="141C24"/>
              </a:solidFill>
              <a:latin typeface="Proximus ExtraBold" pitchFamily="2" charset="77"/>
            </a:endParaRPr>
          </a:p>
        </p:txBody>
      </p:sp>
      <p:sp>
        <p:nvSpPr>
          <p:cNvPr id="6" name="AutoShape 8" descr="13,261 Costs Icon Euro Royalty-Free Photos and Stock Images | Shutterstock">
            <a:extLst>
              <a:ext uri="{FF2B5EF4-FFF2-40B4-BE49-F238E27FC236}">
                <a16:creationId xmlns:a16="http://schemas.microsoft.com/office/drawing/2014/main" id="{054056F2-2FF8-9B4C-09A0-B407B20C5AB7}"/>
              </a:ext>
            </a:extLst>
          </p:cNvPr>
          <p:cNvSpPr>
            <a:spLocks noChangeAspect="1" noChangeArrowheads="1"/>
          </p:cNvSpPr>
          <p:nvPr/>
        </p:nvSpPr>
        <p:spPr bwMode="auto">
          <a:xfrm>
            <a:off x="4429566" y="2464282"/>
            <a:ext cx="284486" cy="2844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TextBox 12">
            <a:extLst>
              <a:ext uri="{FF2B5EF4-FFF2-40B4-BE49-F238E27FC236}">
                <a16:creationId xmlns:a16="http://schemas.microsoft.com/office/drawing/2014/main" id="{55641623-B134-D9FD-83EA-B4DC7531231F}"/>
              </a:ext>
            </a:extLst>
          </p:cNvPr>
          <p:cNvSpPr txBox="1"/>
          <p:nvPr/>
        </p:nvSpPr>
        <p:spPr>
          <a:xfrm>
            <a:off x="490391" y="1343130"/>
            <a:ext cx="4729435" cy="184666"/>
          </a:xfrm>
          <a:prstGeom prst="rect">
            <a:avLst/>
          </a:prstGeom>
          <a:noFill/>
        </p:spPr>
        <p:txBody>
          <a:bodyPr wrap="square" lIns="0" tIns="0" rIns="0" bIns="0" rtlCol="0" anchor="t">
            <a:spAutoFit/>
          </a:bodyPr>
          <a:lstStyle/>
          <a:p>
            <a:pPr indent="-37148" defTabSz="685715">
              <a:buClr>
                <a:schemeClr val="bg1"/>
              </a:buClr>
              <a:buSzPct val="100000"/>
            </a:pPr>
            <a:r>
              <a:rPr lang="en-GB" sz="1200" b="1">
                <a:solidFill>
                  <a:srgbClr val="000000"/>
                </a:solidFill>
              </a:rPr>
              <a:t>Decommissioned copper infrastructure </a:t>
            </a:r>
            <a:r>
              <a:rPr lang="en-GB" sz="1200">
                <a:solidFill>
                  <a:srgbClr val="000000"/>
                </a:solidFill>
                <a:latin typeface="Proximus Light" panose="00000500000000000000" pitchFamily="2" charset="0"/>
              </a:rPr>
              <a:t>(#ROP/year)</a:t>
            </a:r>
          </a:p>
        </p:txBody>
      </p:sp>
      <p:sp>
        <p:nvSpPr>
          <p:cNvPr id="14" name="Freeform 43">
            <a:extLst>
              <a:ext uri="{FF2B5EF4-FFF2-40B4-BE49-F238E27FC236}">
                <a16:creationId xmlns:a16="http://schemas.microsoft.com/office/drawing/2014/main" id="{4C6F5AFB-076E-CBFF-2E96-F077CFD62E87}"/>
              </a:ext>
            </a:extLst>
          </p:cNvPr>
          <p:cNvSpPr/>
          <p:nvPr/>
        </p:nvSpPr>
        <p:spPr>
          <a:xfrm>
            <a:off x="1108375" y="2238360"/>
            <a:ext cx="4339005" cy="2062789"/>
          </a:xfrm>
          <a:custGeom>
            <a:avLst/>
            <a:gdLst>
              <a:gd name="connsiteX0" fmla="*/ -1407 w 2434675"/>
              <a:gd name="connsiteY0" fmla="*/ 1076500 h 1157459"/>
              <a:gd name="connsiteX1" fmla="*/ 77918 w 2434675"/>
              <a:gd name="connsiteY1" fmla="*/ 1076500 h 1157459"/>
              <a:gd name="connsiteX2" fmla="*/ 77918 w 2434675"/>
              <a:gd name="connsiteY2" fmla="*/ 1156879 h 1157459"/>
              <a:gd name="connsiteX3" fmla="*/ -1407 w 2434675"/>
              <a:gd name="connsiteY3" fmla="*/ 1156879 h 1157459"/>
              <a:gd name="connsiteX4" fmla="*/ 157244 w 2434675"/>
              <a:gd name="connsiteY4" fmla="*/ 996121 h 1157459"/>
              <a:gd name="connsiteX5" fmla="*/ 236569 w 2434675"/>
              <a:gd name="connsiteY5" fmla="*/ 996121 h 1157459"/>
              <a:gd name="connsiteX6" fmla="*/ 236569 w 2434675"/>
              <a:gd name="connsiteY6" fmla="*/ 1156879 h 1157459"/>
              <a:gd name="connsiteX7" fmla="*/ 157244 w 2434675"/>
              <a:gd name="connsiteY7" fmla="*/ 1156879 h 1157459"/>
              <a:gd name="connsiteX8" fmla="*/ 315894 w 2434675"/>
              <a:gd name="connsiteY8" fmla="*/ 803211 h 1157459"/>
              <a:gd name="connsiteX9" fmla="*/ 389117 w 2434675"/>
              <a:gd name="connsiteY9" fmla="*/ 803211 h 1157459"/>
              <a:gd name="connsiteX10" fmla="*/ 389117 w 2434675"/>
              <a:gd name="connsiteY10" fmla="*/ 1156879 h 1157459"/>
              <a:gd name="connsiteX11" fmla="*/ 315894 w 2434675"/>
              <a:gd name="connsiteY11" fmla="*/ 1156879 h 1157459"/>
              <a:gd name="connsiteX12" fmla="*/ 468443 w 2434675"/>
              <a:gd name="connsiteY12" fmla="*/ 679963 h 1157459"/>
              <a:gd name="connsiteX13" fmla="*/ 547768 w 2434675"/>
              <a:gd name="connsiteY13" fmla="*/ 679963 h 1157459"/>
              <a:gd name="connsiteX14" fmla="*/ 547768 w 2434675"/>
              <a:gd name="connsiteY14" fmla="*/ 1156879 h 1157459"/>
              <a:gd name="connsiteX15" fmla="*/ 468443 w 2434675"/>
              <a:gd name="connsiteY15" fmla="*/ 1156879 h 1157459"/>
              <a:gd name="connsiteX16" fmla="*/ 627093 w 2434675"/>
              <a:gd name="connsiteY16" fmla="*/ 696038 h 1157459"/>
              <a:gd name="connsiteX17" fmla="*/ 706419 w 2434675"/>
              <a:gd name="connsiteY17" fmla="*/ 696038 h 1157459"/>
              <a:gd name="connsiteX18" fmla="*/ 706419 w 2434675"/>
              <a:gd name="connsiteY18" fmla="*/ 1156879 h 1157459"/>
              <a:gd name="connsiteX19" fmla="*/ 627093 w 2434675"/>
              <a:gd name="connsiteY19" fmla="*/ 1156879 h 1157459"/>
              <a:gd name="connsiteX20" fmla="*/ 785744 w 2434675"/>
              <a:gd name="connsiteY20" fmla="*/ 642452 h 1157459"/>
              <a:gd name="connsiteX21" fmla="*/ 865069 w 2434675"/>
              <a:gd name="connsiteY21" fmla="*/ 642452 h 1157459"/>
              <a:gd name="connsiteX22" fmla="*/ 865069 w 2434675"/>
              <a:gd name="connsiteY22" fmla="*/ 1156879 h 1157459"/>
              <a:gd name="connsiteX23" fmla="*/ 785744 w 2434675"/>
              <a:gd name="connsiteY23" fmla="*/ 1156879 h 1157459"/>
              <a:gd name="connsiteX24" fmla="*/ 944394 w 2434675"/>
              <a:gd name="connsiteY24" fmla="*/ 331653 h 1157459"/>
              <a:gd name="connsiteX25" fmla="*/ 1023720 w 2434675"/>
              <a:gd name="connsiteY25" fmla="*/ 331653 h 1157459"/>
              <a:gd name="connsiteX26" fmla="*/ 1023720 w 2434675"/>
              <a:gd name="connsiteY26" fmla="*/ 1156879 h 1157459"/>
              <a:gd name="connsiteX27" fmla="*/ 944394 w 2434675"/>
              <a:gd name="connsiteY27" fmla="*/ 1156879 h 1157459"/>
              <a:gd name="connsiteX28" fmla="*/ 1096943 w 2434675"/>
              <a:gd name="connsiteY28" fmla="*/ 331653 h 1157459"/>
              <a:gd name="connsiteX29" fmla="*/ 1176268 w 2434675"/>
              <a:gd name="connsiteY29" fmla="*/ 331653 h 1157459"/>
              <a:gd name="connsiteX30" fmla="*/ 1176268 w 2434675"/>
              <a:gd name="connsiteY30" fmla="*/ 1156879 h 1157459"/>
              <a:gd name="connsiteX31" fmla="*/ 1096943 w 2434675"/>
              <a:gd name="connsiteY31" fmla="*/ 1156879 h 1157459"/>
              <a:gd name="connsiteX32" fmla="*/ 1255593 w 2434675"/>
              <a:gd name="connsiteY32" fmla="*/ 417391 h 1157459"/>
              <a:gd name="connsiteX33" fmla="*/ 1334919 w 2434675"/>
              <a:gd name="connsiteY33" fmla="*/ 417391 h 1157459"/>
              <a:gd name="connsiteX34" fmla="*/ 1334919 w 2434675"/>
              <a:gd name="connsiteY34" fmla="*/ 1156879 h 1157459"/>
              <a:gd name="connsiteX35" fmla="*/ 1255593 w 2434675"/>
              <a:gd name="connsiteY35" fmla="*/ 1156879 h 1157459"/>
              <a:gd name="connsiteX36" fmla="*/ 1414244 w 2434675"/>
              <a:gd name="connsiteY36" fmla="*/ -581 h 1157459"/>
              <a:gd name="connsiteX37" fmla="*/ 1493569 w 2434675"/>
              <a:gd name="connsiteY37" fmla="*/ -581 h 1157459"/>
              <a:gd name="connsiteX38" fmla="*/ 1493569 w 2434675"/>
              <a:gd name="connsiteY38" fmla="*/ 1156879 h 1157459"/>
              <a:gd name="connsiteX39" fmla="*/ 1414244 w 2434675"/>
              <a:gd name="connsiteY39" fmla="*/ 1156879 h 1157459"/>
              <a:gd name="connsiteX40" fmla="*/ 1572895 w 2434675"/>
              <a:gd name="connsiteY40" fmla="*/ 412032 h 1157459"/>
              <a:gd name="connsiteX41" fmla="*/ 1652220 w 2434675"/>
              <a:gd name="connsiteY41" fmla="*/ 412032 h 1157459"/>
              <a:gd name="connsiteX42" fmla="*/ 1652220 w 2434675"/>
              <a:gd name="connsiteY42" fmla="*/ 1156879 h 1157459"/>
              <a:gd name="connsiteX43" fmla="*/ 1572895 w 2434675"/>
              <a:gd name="connsiteY43" fmla="*/ 1156879 h 1157459"/>
              <a:gd name="connsiteX44" fmla="*/ 1731545 w 2434675"/>
              <a:gd name="connsiteY44" fmla="*/ 492411 h 1157459"/>
              <a:gd name="connsiteX45" fmla="*/ 1804768 w 2434675"/>
              <a:gd name="connsiteY45" fmla="*/ 492411 h 1157459"/>
              <a:gd name="connsiteX46" fmla="*/ 1804768 w 2434675"/>
              <a:gd name="connsiteY46" fmla="*/ 1156879 h 1157459"/>
              <a:gd name="connsiteX47" fmla="*/ 1731545 w 2434675"/>
              <a:gd name="connsiteY47" fmla="*/ 1156879 h 1157459"/>
              <a:gd name="connsiteX48" fmla="*/ 1884094 w 2434675"/>
              <a:gd name="connsiteY48" fmla="*/ 744266 h 1157459"/>
              <a:gd name="connsiteX49" fmla="*/ 1963419 w 2434675"/>
              <a:gd name="connsiteY49" fmla="*/ 744266 h 1157459"/>
              <a:gd name="connsiteX50" fmla="*/ 1963419 w 2434675"/>
              <a:gd name="connsiteY50" fmla="*/ 1156879 h 1157459"/>
              <a:gd name="connsiteX51" fmla="*/ 1884094 w 2434675"/>
              <a:gd name="connsiteY51" fmla="*/ 1156879 h 1157459"/>
              <a:gd name="connsiteX52" fmla="*/ 2042744 w 2434675"/>
              <a:gd name="connsiteY52" fmla="*/ 679963 h 1157459"/>
              <a:gd name="connsiteX53" fmla="*/ 2122070 w 2434675"/>
              <a:gd name="connsiteY53" fmla="*/ 679963 h 1157459"/>
              <a:gd name="connsiteX54" fmla="*/ 2122070 w 2434675"/>
              <a:gd name="connsiteY54" fmla="*/ 1156879 h 1157459"/>
              <a:gd name="connsiteX55" fmla="*/ 2042744 w 2434675"/>
              <a:gd name="connsiteY55" fmla="*/ 1156879 h 1157459"/>
              <a:gd name="connsiteX56" fmla="*/ 2201395 w 2434675"/>
              <a:gd name="connsiteY56" fmla="*/ 701397 h 1157459"/>
              <a:gd name="connsiteX57" fmla="*/ 2280720 w 2434675"/>
              <a:gd name="connsiteY57" fmla="*/ 701397 h 1157459"/>
              <a:gd name="connsiteX58" fmla="*/ 2280720 w 2434675"/>
              <a:gd name="connsiteY58" fmla="*/ 1156879 h 1157459"/>
              <a:gd name="connsiteX59" fmla="*/ 2201395 w 2434675"/>
              <a:gd name="connsiteY59" fmla="*/ 1156879 h 1157459"/>
              <a:gd name="connsiteX60" fmla="*/ 2360045 w 2434675"/>
              <a:gd name="connsiteY60" fmla="*/ 1092576 h 1157459"/>
              <a:gd name="connsiteX61" fmla="*/ 2433269 w 2434675"/>
              <a:gd name="connsiteY61" fmla="*/ 1092576 h 1157459"/>
              <a:gd name="connsiteX62" fmla="*/ 2433269 w 2434675"/>
              <a:gd name="connsiteY62" fmla="*/ 1156879 h 1157459"/>
              <a:gd name="connsiteX63" fmla="*/ 2360045 w 2434675"/>
              <a:gd name="connsiteY63" fmla="*/ 1156879 h 115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434675" h="1157459">
                <a:moveTo>
                  <a:pt x="-1407" y="1076500"/>
                </a:moveTo>
                <a:lnTo>
                  <a:pt x="77918" y="1076500"/>
                </a:lnTo>
                <a:lnTo>
                  <a:pt x="77918" y="1156879"/>
                </a:lnTo>
                <a:lnTo>
                  <a:pt x="-1407" y="1156879"/>
                </a:lnTo>
                <a:close/>
                <a:moveTo>
                  <a:pt x="157244" y="996121"/>
                </a:moveTo>
                <a:lnTo>
                  <a:pt x="236569" y="996121"/>
                </a:lnTo>
                <a:lnTo>
                  <a:pt x="236569" y="1156879"/>
                </a:lnTo>
                <a:lnTo>
                  <a:pt x="157244" y="1156879"/>
                </a:lnTo>
                <a:close/>
                <a:moveTo>
                  <a:pt x="315894" y="803211"/>
                </a:moveTo>
                <a:lnTo>
                  <a:pt x="389117" y="803211"/>
                </a:lnTo>
                <a:lnTo>
                  <a:pt x="389117" y="1156879"/>
                </a:lnTo>
                <a:lnTo>
                  <a:pt x="315894" y="1156879"/>
                </a:lnTo>
                <a:close/>
                <a:moveTo>
                  <a:pt x="468443" y="679963"/>
                </a:moveTo>
                <a:lnTo>
                  <a:pt x="547768" y="679963"/>
                </a:lnTo>
                <a:lnTo>
                  <a:pt x="547768" y="1156879"/>
                </a:lnTo>
                <a:lnTo>
                  <a:pt x="468443" y="1156879"/>
                </a:lnTo>
                <a:close/>
                <a:moveTo>
                  <a:pt x="627093" y="696038"/>
                </a:moveTo>
                <a:lnTo>
                  <a:pt x="706419" y="696038"/>
                </a:lnTo>
                <a:lnTo>
                  <a:pt x="706419" y="1156879"/>
                </a:lnTo>
                <a:lnTo>
                  <a:pt x="627093" y="1156879"/>
                </a:lnTo>
                <a:close/>
                <a:moveTo>
                  <a:pt x="785744" y="642452"/>
                </a:moveTo>
                <a:lnTo>
                  <a:pt x="865069" y="642452"/>
                </a:lnTo>
                <a:lnTo>
                  <a:pt x="865069" y="1156879"/>
                </a:lnTo>
                <a:lnTo>
                  <a:pt x="785744" y="1156879"/>
                </a:lnTo>
                <a:close/>
                <a:moveTo>
                  <a:pt x="944394" y="331653"/>
                </a:moveTo>
                <a:lnTo>
                  <a:pt x="1023720" y="331653"/>
                </a:lnTo>
                <a:lnTo>
                  <a:pt x="1023720" y="1156879"/>
                </a:lnTo>
                <a:lnTo>
                  <a:pt x="944394" y="1156879"/>
                </a:lnTo>
                <a:close/>
                <a:moveTo>
                  <a:pt x="1096943" y="331653"/>
                </a:moveTo>
                <a:lnTo>
                  <a:pt x="1176268" y="331653"/>
                </a:lnTo>
                <a:lnTo>
                  <a:pt x="1176268" y="1156879"/>
                </a:lnTo>
                <a:lnTo>
                  <a:pt x="1096943" y="1156879"/>
                </a:lnTo>
                <a:close/>
                <a:moveTo>
                  <a:pt x="1255593" y="417391"/>
                </a:moveTo>
                <a:lnTo>
                  <a:pt x="1334919" y="417391"/>
                </a:lnTo>
                <a:lnTo>
                  <a:pt x="1334919" y="1156879"/>
                </a:lnTo>
                <a:lnTo>
                  <a:pt x="1255593" y="1156879"/>
                </a:lnTo>
                <a:close/>
                <a:moveTo>
                  <a:pt x="1414244" y="-581"/>
                </a:moveTo>
                <a:lnTo>
                  <a:pt x="1493569" y="-581"/>
                </a:lnTo>
                <a:lnTo>
                  <a:pt x="1493569" y="1156879"/>
                </a:lnTo>
                <a:lnTo>
                  <a:pt x="1414244" y="1156879"/>
                </a:lnTo>
                <a:close/>
                <a:moveTo>
                  <a:pt x="1572895" y="412032"/>
                </a:moveTo>
                <a:lnTo>
                  <a:pt x="1652220" y="412032"/>
                </a:lnTo>
                <a:lnTo>
                  <a:pt x="1652220" y="1156879"/>
                </a:lnTo>
                <a:lnTo>
                  <a:pt x="1572895" y="1156879"/>
                </a:lnTo>
                <a:close/>
                <a:moveTo>
                  <a:pt x="1731545" y="492411"/>
                </a:moveTo>
                <a:lnTo>
                  <a:pt x="1804768" y="492411"/>
                </a:lnTo>
                <a:lnTo>
                  <a:pt x="1804768" y="1156879"/>
                </a:lnTo>
                <a:lnTo>
                  <a:pt x="1731545" y="1156879"/>
                </a:lnTo>
                <a:close/>
                <a:moveTo>
                  <a:pt x="1884094" y="744266"/>
                </a:moveTo>
                <a:lnTo>
                  <a:pt x="1963419" y="744266"/>
                </a:lnTo>
                <a:lnTo>
                  <a:pt x="1963419" y="1156879"/>
                </a:lnTo>
                <a:lnTo>
                  <a:pt x="1884094" y="1156879"/>
                </a:lnTo>
                <a:close/>
                <a:moveTo>
                  <a:pt x="2042744" y="679963"/>
                </a:moveTo>
                <a:lnTo>
                  <a:pt x="2122070" y="679963"/>
                </a:lnTo>
                <a:lnTo>
                  <a:pt x="2122070" y="1156879"/>
                </a:lnTo>
                <a:lnTo>
                  <a:pt x="2042744" y="1156879"/>
                </a:lnTo>
                <a:close/>
                <a:moveTo>
                  <a:pt x="2201395" y="701397"/>
                </a:moveTo>
                <a:lnTo>
                  <a:pt x="2280720" y="701397"/>
                </a:lnTo>
                <a:lnTo>
                  <a:pt x="2280720" y="1156879"/>
                </a:lnTo>
                <a:lnTo>
                  <a:pt x="2201395" y="1156879"/>
                </a:lnTo>
                <a:close/>
                <a:moveTo>
                  <a:pt x="2360045" y="1092576"/>
                </a:moveTo>
                <a:lnTo>
                  <a:pt x="2433269" y="1092576"/>
                </a:lnTo>
                <a:lnTo>
                  <a:pt x="2433269" y="1156879"/>
                </a:lnTo>
                <a:lnTo>
                  <a:pt x="2360045" y="1156879"/>
                </a:lnTo>
                <a:close/>
              </a:path>
            </a:pathLst>
          </a:custGeom>
          <a:gradFill flip="none" rotWithShape="1">
            <a:gsLst>
              <a:gs pos="0">
                <a:schemeClr val="bg1"/>
              </a:gs>
              <a:gs pos="99000">
                <a:schemeClr val="accent2"/>
              </a:gs>
            </a:gsLst>
            <a:lin ang="16200000" scaled="1"/>
            <a:tileRect/>
          </a:gradFill>
          <a:ln w="6092" cap="flat">
            <a:noFill/>
            <a:prstDash val="solid"/>
            <a:miter/>
          </a:ln>
        </p:spPr>
        <p:txBody>
          <a:bodyPr rtlCol="0" anchor="ctr"/>
          <a:lstStyle/>
          <a:p>
            <a:endParaRPr lang="en-BE"/>
          </a:p>
        </p:txBody>
      </p:sp>
      <p:sp>
        <p:nvSpPr>
          <p:cNvPr id="15" name="TextBox 14">
            <a:extLst>
              <a:ext uri="{FF2B5EF4-FFF2-40B4-BE49-F238E27FC236}">
                <a16:creationId xmlns:a16="http://schemas.microsoft.com/office/drawing/2014/main" id="{C17FC765-2899-2579-E646-6427F759F391}"/>
              </a:ext>
            </a:extLst>
          </p:cNvPr>
          <p:cNvSpPr txBox="1"/>
          <p:nvPr/>
        </p:nvSpPr>
        <p:spPr>
          <a:xfrm>
            <a:off x="693147" y="4081022"/>
            <a:ext cx="715079" cy="153888"/>
          </a:xfrm>
          <a:prstGeom prst="rect">
            <a:avLst/>
          </a:prstGeom>
          <a:noFill/>
        </p:spPr>
        <p:txBody>
          <a:bodyPr wrap="square" lIns="0" tIns="0" rIns="0" bIns="0" rtlCol="0">
            <a:spAutoFit/>
          </a:bodyPr>
          <a:lstStyle/>
          <a:p>
            <a:pPr algn="l" defTabSz="685800"/>
            <a:r>
              <a:rPr lang="en-BE" sz="1000" spc="0" baseline="0">
                <a:ln/>
                <a:solidFill>
                  <a:srgbClr val="595959"/>
                </a:solidFill>
                <a:latin typeface="Proximus Light" pitchFamily="2" charset="77"/>
                <a:cs typeface="Calibri"/>
                <a:sym typeface="Calibri"/>
                <a:rtl val="0"/>
              </a:rPr>
              <a:t>0</a:t>
            </a:r>
          </a:p>
        </p:txBody>
      </p:sp>
      <p:sp>
        <p:nvSpPr>
          <p:cNvPr id="16" name="TextBox 15">
            <a:extLst>
              <a:ext uri="{FF2B5EF4-FFF2-40B4-BE49-F238E27FC236}">
                <a16:creationId xmlns:a16="http://schemas.microsoft.com/office/drawing/2014/main" id="{072AA62B-E18A-253B-093F-CE02665DF7DD}"/>
              </a:ext>
            </a:extLst>
          </p:cNvPr>
          <p:cNvSpPr txBox="1"/>
          <p:nvPr/>
        </p:nvSpPr>
        <p:spPr>
          <a:xfrm>
            <a:off x="474840" y="3646012"/>
            <a:ext cx="1148225" cy="153888"/>
          </a:xfrm>
          <a:prstGeom prst="rect">
            <a:avLst/>
          </a:prstGeom>
          <a:noFill/>
        </p:spPr>
        <p:txBody>
          <a:bodyPr wrap="square" lIns="0" tIns="0" rIns="0" bIns="0" rtlCol="0">
            <a:spAutoFit/>
          </a:bodyPr>
          <a:lstStyle/>
          <a:p>
            <a:pPr algn="l" defTabSz="685800"/>
            <a:r>
              <a:rPr lang="en-BE" sz="1000" spc="0" baseline="0">
                <a:ln/>
                <a:solidFill>
                  <a:srgbClr val="595959"/>
                </a:solidFill>
                <a:latin typeface="Proximus Light" pitchFamily="2" charset="77"/>
                <a:cs typeface="Calibri"/>
                <a:sym typeface="Calibri"/>
                <a:rtl val="0"/>
              </a:rPr>
              <a:t>1.000</a:t>
            </a:r>
          </a:p>
        </p:txBody>
      </p:sp>
      <p:sp>
        <p:nvSpPr>
          <p:cNvPr id="18" name="TextBox 17">
            <a:extLst>
              <a:ext uri="{FF2B5EF4-FFF2-40B4-BE49-F238E27FC236}">
                <a16:creationId xmlns:a16="http://schemas.microsoft.com/office/drawing/2014/main" id="{28E41AE3-68DE-95CB-8FCE-12DA02CDDBA2}"/>
              </a:ext>
            </a:extLst>
          </p:cNvPr>
          <p:cNvSpPr txBox="1"/>
          <p:nvPr/>
        </p:nvSpPr>
        <p:spPr>
          <a:xfrm>
            <a:off x="474840" y="3147384"/>
            <a:ext cx="1148225" cy="153888"/>
          </a:xfrm>
          <a:prstGeom prst="rect">
            <a:avLst/>
          </a:prstGeom>
          <a:noFill/>
        </p:spPr>
        <p:txBody>
          <a:bodyPr wrap="square" lIns="0" tIns="0" rIns="0" bIns="0" rtlCol="0">
            <a:spAutoFit/>
          </a:bodyPr>
          <a:lstStyle/>
          <a:p>
            <a:pPr algn="l" defTabSz="685800"/>
            <a:r>
              <a:rPr lang="en-BE" sz="1000" spc="0" baseline="0">
                <a:ln/>
                <a:solidFill>
                  <a:srgbClr val="595959"/>
                </a:solidFill>
                <a:latin typeface="Proximus Light" pitchFamily="2" charset="77"/>
                <a:cs typeface="Calibri"/>
                <a:sym typeface="Calibri"/>
                <a:rtl val="0"/>
              </a:rPr>
              <a:t>2.000</a:t>
            </a:r>
          </a:p>
        </p:txBody>
      </p:sp>
      <p:sp>
        <p:nvSpPr>
          <p:cNvPr id="19" name="TextBox 18">
            <a:extLst>
              <a:ext uri="{FF2B5EF4-FFF2-40B4-BE49-F238E27FC236}">
                <a16:creationId xmlns:a16="http://schemas.microsoft.com/office/drawing/2014/main" id="{7A6FBCE8-1611-25EC-DE9F-FD7A4C0F1576}"/>
              </a:ext>
            </a:extLst>
          </p:cNvPr>
          <p:cNvSpPr txBox="1"/>
          <p:nvPr/>
        </p:nvSpPr>
        <p:spPr>
          <a:xfrm>
            <a:off x="474840" y="2648757"/>
            <a:ext cx="1148225" cy="153888"/>
          </a:xfrm>
          <a:prstGeom prst="rect">
            <a:avLst/>
          </a:prstGeom>
          <a:noFill/>
        </p:spPr>
        <p:txBody>
          <a:bodyPr wrap="square" lIns="0" tIns="0" rIns="0" bIns="0" rtlCol="0">
            <a:spAutoFit/>
          </a:bodyPr>
          <a:lstStyle/>
          <a:p>
            <a:pPr algn="l" defTabSz="685800"/>
            <a:r>
              <a:rPr lang="en-BE" sz="1000" spc="0" baseline="0">
                <a:ln/>
                <a:solidFill>
                  <a:srgbClr val="595959"/>
                </a:solidFill>
                <a:latin typeface="Proximus Light" pitchFamily="2" charset="77"/>
                <a:cs typeface="Calibri"/>
                <a:sym typeface="Calibri"/>
                <a:rtl val="0"/>
              </a:rPr>
              <a:t>3.000</a:t>
            </a:r>
          </a:p>
        </p:txBody>
      </p:sp>
      <p:sp>
        <p:nvSpPr>
          <p:cNvPr id="20" name="TextBox 19">
            <a:extLst>
              <a:ext uri="{FF2B5EF4-FFF2-40B4-BE49-F238E27FC236}">
                <a16:creationId xmlns:a16="http://schemas.microsoft.com/office/drawing/2014/main" id="{7781F28C-1A13-795C-CD71-7A01F31E9548}"/>
              </a:ext>
            </a:extLst>
          </p:cNvPr>
          <p:cNvSpPr txBox="1"/>
          <p:nvPr/>
        </p:nvSpPr>
        <p:spPr>
          <a:xfrm>
            <a:off x="474840" y="2150131"/>
            <a:ext cx="1148225" cy="153888"/>
          </a:xfrm>
          <a:prstGeom prst="rect">
            <a:avLst/>
          </a:prstGeom>
          <a:noFill/>
        </p:spPr>
        <p:txBody>
          <a:bodyPr wrap="square" lIns="0" tIns="0" rIns="0" bIns="0" rtlCol="0">
            <a:spAutoFit/>
          </a:bodyPr>
          <a:lstStyle/>
          <a:p>
            <a:pPr algn="l" defTabSz="685800"/>
            <a:r>
              <a:rPr lang="en-BE" sz="1000" spc="0" baseline="0">
                <a:ln/>
                <a:solidFill>
                  <a:srgbClr val="595959"/>
                </a:solidFill>
                <a:latin typeface="Proximus Light" pitchFamily="2" charset="77"/>
                <a:cs typeface="Calibri"/>
                <a:sym typeface="Calibri"/>
                <a:rtl val="0"/>
              </a:rPr>
              <a:t>4.000</a:t>
            </a:r>
          </a:p>
        </p:txBody>
      </p:sp>
      <p:sp>
        <p:nvSpPr>
          <p:cNvPr id="21" name="TextBox 20">
            <a:extLst>
              <a:ext uri="{FF2B5EF4-FFF2-40B4-BE49-F238E27FC236}">
                <a16:creationId xmlns:a16="http://schemas.microsoft.com/office/drawing/2014/main" id="{DB181E79-D307-7A48-B53C-2A028B4534A4}"/>
              </a:ext>
            </a:extLst>
          </p:cNvPr>
          <p:cNvSpPr txBox="1"/>
          <p:nvPr/>
        </p:nvSpPr>
        <p:spPr>
          <a:xfrm>
            <a:off x="1105844" y="4360109"/>
            <a:ext cx="284193"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24</a:t>
            </a:r>
          </a:p>
        </p:txBody>
      </p:sp>
      <p:sp>
        <p:nvSpPr>
          <p:cNvPr id="22" name="TextBox 21">
            <a:extLst>
              <a:ext uri="{FF2B5EF4-FFF2-40B4-BE49-F238E27FC236}">
                <a16:creationId xmlns:a16="http://schemas.microsoft.com/office/drawing/2014/main" id="{E36E9343-C07D-B1B6-D5BC-CD748C37F800}"/>
              </a:ext>
            </a:extLst>
          </p:cNvPr>
          <p:cNvSpPr txBox="1"/>
          <p:nvPr/>
        </p:nvSpPr>
        <p:spPr>
          <a:xfrm>
            <a:off x="1402071" y="4362023"/>
            <a:ext cx="275948"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25</a:t>
            </a:r>
          </a:p>
        </p:txBody>
      </p:sp>
      <p:sp>
        <p:nvSpPr>
          <p:cNvPr id="23" name="TextBox 22">
            <a:extLst>
              <a:ext uri="{FF2B5EF4-FFF2-40B4-BE49-F238E27FC236}">
                <a16:creationId xmlns:a16="http://schemas.microsoft.com/office/drawing/2014/main" id="{C70411CD-51A4-BC2B-BD05-C1FCF637C70C}"/>
              </a:ext>
            </a:extLst>
          </p:cNvPr>
          <p:cNvSpPr txBox="1"/>
          <p:nvPr/>
        </p:nvSpPr>
        <p:spPr>
          <a:xfrm>
            <a:off x="1708230" y="4358933"/>
            <a:ext cx="275948"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26</a:t>
            </a:r>
          </a:p>
        </p:txBody>
      </p:sp>
      <p:sp>
        <p:nvSpPr>
          <p:cNvPr id="24" name="TextBox 23">
            <a:extLst>
              <a:ext uri="{FF2B5EF4-FFF2-40B4-BE49-F238E27FC236}">
                <a16:creationId xmlns:a16="http://schemas.microsoft.com/office/drawing/2014/main" id="{DFBE352C-E6C4-2805-4DC0-CFAB8831B579}"/>
              </a:ext>
            </a:extLst>
          </p:cNvPr>
          <p:cNvSpPr txBox="1"/>
          <p:nvPr/>
        </p:nvSpPr>
        <p:spPr>
          <a:xfrm>
            <a:off x="2003839" y="4355571"/>
            <a:ext cx="204763"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27</a:t>
            </a:r>
          </a:p>
        </p:txBody>
      </p:sp>
      <p:sp>
        <p:nvSpPr>
          <p:cNvPr id="25" name="TextBox 24">
            <a:extLst>
              <a:ext uri="{FF2B5EF4-FFF2-40B4-BE49-F238E27FC236}">
                <a16:creationId xmlns:a16="http://schemas.microsoft.com/office/drawing/2014/main" id="{46499EC3-5AD0-6A43-1364-551411507F17}"/>
              </a:ext>
            </a:extLst>
          </p:cNvPr>
          <p:cNvSpPr txBox="1"/>
          <p:nvPr/>
        </p:nvSpPr>
        <p:spPr>
          <a:xfrm>
            <a:off x="2262045" y="4366559"/>
            <a:ext cx="228148"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28</a:t>
            </a:r>
          </a:p>
        </p:txBody>
      </p:sp>
      <p:sp>
        <p:nvSpPr>
          <p:cNvPr id="26" name="TextBox 25">
            <a:extLst>
              <a:ext uri="{FF2B5EF4-FFF2-40B4-BE49-F238E27FC236}">
                <a16:creationId xmlns:a16="http://schemas.microsoft.com/office/drawing/2014/main" id="{5E0956FE-9EB0-DA63-9EBF-2FABD4C9371E}"/>
              </a:ext>
            </a:extLst>
          </p:cNvPr>
          <p:cNvSpPr txBox="1"/>
          <p:nvPr/>
        </p:nvSpPr>
        <p:spPr>
          <a:xfrm>
            <a:off x="2604623" y="4360109"/>
            <a:ext cx="224105"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29</a:t>
            </a:r>
          </a:p>
        </p:txBody>
      </p:sp>
      <p:sp>
        <p:nvSpPr>
          <p:cNvPr id="27" name="TextBox 26">
            <a:extLst>
              <a:ext uri="{FF2B5EF4-FFF2-40B4-BE49-F238E27FC236}">
                <a16:creationId xmlns:a16="http://schemas.microsoft.com/office/drawing/2014/main" id="{826CC4C1-A521-CF0C-C45D-AF3D341791F9}"/>
              </a:ext>
            </a:extLst>
          </p:cNvPr>
          <p:cNvSpPr txBox="1"/>
          <p:nvPr/>
        </p:nvSpPr>
        <p:spPr>
          <a:xfrm>
            <a:off x="2909438" y="4353443"/>
            <a:ext cx="243941"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0</a:t>
            </a:r>
          </a:p>
        </p:txBody>
      </p:sp>
      <p:sp>
        <p:nvSpPr>
          <p:cNvPr id="28" name="TextBox 27">
            <a:extLst>
              <a:ext uri="{FF2B5EF4-FFF2-40B4-BE49-F238E27FC236}">
                <a16:creationId xmlns:a16="http://schemas.microsoft.com/office/drawing/2014/main" id="{86960477-533A-4BBD-3E6F-D681D7407BCE}"/>
              </a:ext>
            </a:extLst>
          </p:cNvPr>
          <p:cNvSpPr txBox="1"/>
          <p:nvPr/>
        </p:nvSpPr>
        <p:spPr>
          <a:xfrm>
            <a:off x="3205223" y="4352799"/>
            <a:ext cx="213170"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1</a:t>
            </a:r>
          </a:p>
        </p:txBody>
      </p:sp>
      <p:sp>
        <p:nvSpPr>
          <p:cNvPr id="33" name="TextBox 32">
            <a:extLst>
              <a:ext uri="{FF2B5EF4-FFF2-40B4-BE49-F238E27FC236}">
                <a16:creationId xmlns:a16="http://schemas.microsoft.com/office/drawing/2014/main" id="{E7C885A3-2E5C-1856-1D14-11089A4D8A56}"/>
              </a:ext>
            </a:extLst>
          </p:cNvPr>
          <p:cNvSpPr txBox="1"/>
          <p:nvPr/>
        </p:nvSpPr>
        <p:spPr>
          <a:xfrm>
            <a:off x="3501315" y="4348703"/>
            <a:ext cx="245086"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2</a:t>
            </a:r>
          </a:p>
        </p:txBody>
      </p:sp>
      <p:sp>
        <p:nvSpPr>
          <p:cNvPr id="34" name="TextBox 33">
            <a:extLst>
              <a:ext uri="{FF2B5EF4-FFF2-40B4-BE49-F238E27FC236}">
                <a16:creationId xmlns:a16="http://schemas.microsoft.com/office/drawing/2014/main" id="{217B3F4D-992F-DF31-4A0C-A534C6AA99E9}"/>
              </a:ext>
            </a:extLst>
          </p:cNvPr>
          <p:cNvSpPr txBox="1"/>
          <p:nvPr/>
        </p:nvSpPr>
        <p:spPr>
          <a:xfrm>
            <a:off x="3806042" y="4348703"/>
            <a:ext cx="245086"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3</a:t>
            </a:r>
          </a:p>
        </p:txBody>
      </p:sp>
      <p:sp>
        <p:nvSpPr>
          <p:cNvPr id="35" name="TextBox 34">
            <a:extLst>
              <a:ext uri="{FF2B5EF4-FFF2-40B4-BE49-F238E27FC236}">
                <a16:creationId xmlns:a16="http://schemas.microsoft.com/office/drawing/2014/main" id="{44E21B13-1015-D028-6EDA-069F8F4E6802}"/>
              </a:ext>
            </a:extLst>
          </p:cNvPr>
          <p:cNvSpPr txBox="1"/>
          <p:nvPr/>
        </p:nvSpPr>
        <p:spPr>
          <a:xfrm>
            <a:off x="4116604" y="4348701"/>
            <a:ext cx="277167"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4</a:t>
            </a:r>
          </a:p>
        </p:txBody>
      </p:sp>
      <p:sp>
        <p:nvSpPr>
          <p:cNvPr id="36" name="TextBox 35">
            <a:extLst>
              <a:ext uri="{FF2B5EF4-FFF2-40B4-BE49-F238E27FC236}">
                <a16:creationId xmlns:a16="http://schemas.microsoft.com/office/drawing/2014/main" id="{6F8309E4-16D1-FC18-D455-C22FAA85E9A5}"/>
              </a:ext>
            </a:extLst>
          </p:cNvPr>
          <p:cNvSpPr txBox="1"/>
          <p:nvPr/>
        </p:nvSpPr>
        <p:spPr>
          <a:xfrm>
            <a:off x="4415532" y="4345680"/>
            <a:ext cx="220613"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5</a:t>
            </a:r>
          </a:p>
        </p:txBody>
      </p:sp>
      <p:sp>
        <p:nvSpPr>
          <p:cNvPr id="37" name="TextBox 36">
            <a:extLst>
              <a:ext uri="{FF2B5EF4-FFF2-40B4-BE49-F238E27FC236}">
                <a16:creationId xmlns:a16="http://schemas.microsoft.com/office/drawing/2014/main" id="{A78BE1A7-72D0-9C91-CC6C-696624809F69}"/>
              </a:ext>
            </a:extLst>
          </p:cNvPr>
          <p:cNvSpPr txBox="1"/>
          <p:nvPr/>
        </p:nvSpPr>
        <p:spPr>
          <a:xfrm>
            <a:off x="4701764" y="4338680"/>
            <a:ext cx="239369"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6</a:t>
            </a:r>
          </a:p>
        </p:txBody>
      </p:sp>
      <p:sp>
        <p:nvSpPr>
          <p:cNvPr id="38" name="TextBox 37">
            <a:extLst>
              <a:ext uri="{FF2B5EF4-FFF2-40B4-BE49-F238E27FC236}">
                <a16:creationId xmlns:a16="http://schemas.microsoft.com/office/drawing/2014/main" id="{100B754E-7FD3-5B5F-AF44-2F50E4A6626D}"/>
              </a:ext>
            </a:extLst>
          </p:cNvPr>
          <p:cNvSpPr txBox="1"/>
          <p:nvPr/>
        </p:nvSpPr>
        <p:spPr>
          <a:xfrm>
            <a:off x="5003043" y="4333520"/>
            <a:ext cx="204763"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7</a:t>
            </a:r>
          </a:p>
        </p:txBody>
      </p:sp>
      <p:sp>
        <p:nvSpPr>
          <p:cNvPr id="40" name="TextBox 39">
            <a:extLst>
              <a:ext uri="{FF2B5EF4-FFF2-40B4-BE49-F238E27FC236}">
                <a16:creationId xmlns:a16="http://schemas.microsoft.com/office/drawing/2014/main" id="{CD90F769-D677-C65A-BD8E-179B4CDDAF27}"/>
              </a:ext>
            </a:extLst>
          </p:cNvPr>
          <p:cNvSpPr txBox="1"/>
          <p:nvPr/>
        </p:nvSpPr>
        <p:spPr>
          <a:xfrm>
            <a:off x="5302171" y="4333522"/>
            <a:ext cx="230299"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8</a:t>
            </a:r>
          </a:p>
        </p:txBody>
      </p:sp>
      <p:sp>
        <p:nvSpPr>
          <p:cNvPr id="41" name="TextBox 40">
            <a:extLst>
              <a:ext uri="{FF2B5EF4-FFF2-40B4-BE49-F238E27FC236}">
                <a16:creationId xmlns:a16="http://schemas.microsoft.com/office/drawing/2014/main" id="{0120764F-EA27-3C29-ADCC-AE5FF076911D}"/>
              </a:ext>
            </a:extLst>
          </p:cNvPr>
          <p:cNvSpPr txBox="1"/>
          <p:nvPr/>
        </p:nvSpPr>
        <p:spPr>
          <a:xfrm>
            <a:off x="5616639" y="4331767"/>
            <a:ext cx="275285" cy="123111"/>
          </a:xfrm>
          <a:prstGeom prst="rect">
            <a:avLst/>
          </a:prstGeom>
          <a:noFill/>
        </p:spPr>
        <p:txBody>
          <a:bodyPr wrap="square" lIns="0" tIns="0" rIns="0" bIns="0" rtlCol="0">
            <a:spAutoFit/>
          </a:bodyPr>
          <a:lstStyle/>
          <a:p>
            <a:pPr algn="l" defTabSz="685800"/>
            <a:r>
              <a:rPr lang="en-BE" sz="800" spc="0" baseline="0">
                <a:ln/>
                <a:solidFill>
                  <a:srgbClr val="000000"/>
                </a:solidFill>
                <a:latin typeface="Proximus Light" pitchFamily="2" charset="77"/>
                <a:cs typeface="Calibri"/>
                <a:sym typeface="Calibri"/>
                <a:rtl val="0"/>
              </a:rPr>
              <a:t>'39</a:t>
            </a:r>
          </a:p>
        </p:txBody>
      </p:sp>
      <p:cxnSp>
        <p:nvCxnSpPr>
          <p:cNvPr id="42" name="Straight Arrow Connector 41">
            <a:extLst>
              <a:ext uri="{FF2B5EF4-FFF2-40B4-BE49-F238E27FC236}">
                <a16:creationId xmlns:a16="http://schemas.microsoft.com/office/drawing/2014/main" id="{54F44053-3A5F-C482-4B07-EAF0635A32A9}"/>
              </a:ext>
            </a:extLst>
          </p:cNvPr>
          <p:cNvCxnSpPr>
            <a:cxnSpLocks/>
          </p:cNvCxnSpPr>
          <p:nvPr/>
        </p:nvCxnSpPr>
        <p:spPr>
          <a:xfrm flipV="1">
            <a:off x="1131853" y="2056249"/>
            <a:ext cx="2573034" cy="1805251"/>
          </a:xfrm>
          <a:prstGeom prst="straightConnector1">
            <a:avLst/>
          </a:prstGeom>
          <a:ln cap="rnd">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81DEEEB1-503B-F537-715E-09C8330BED2C}"/>
              </a:ext>
            </a:extLst>
          </p:cNvPr>
          <p:cNvCxnSpPr>
            <a:cxnSpLocks/>
          </p:cNvCxnSpPr>
          <p:nvPr/>
        </p:nvCxnSpPr>
        <p:spPr>
          <a:xfrm flipV="1">
            <a:off x="1131853" y="2698338"/>
            <a:ext cx="1380166" cy="966657"/>
          </a:xfrm>
          <a:prstGeom prst="straightConnector1">
            <a:avLst/>
          </a:prstGeom>
          <a:ln cap="rnd">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C04BF515-69EF-BBDE-9675-A99A27A21000}"/>
              </a:ext>
            </a:extLst>
          </p:cNvPr>
          <p:cNvSpPr txBox="1"/>
          <p:nvPr/>
        </p:nvSpPr>
        <p:spPr>
          <a:xfrm>
            <a:off x="2003135" y="2678106"/>
            <a:ext cx="372984" cy="138499"/>
          </a:xfrm>
          <a:prstGeom prst="rect">
            <a:avLst/>
          </a:prstGeom>
          <a:noFill/>
        </p:spPr>
        <p:txBody>
          <a:bodyPr wrap="square" lIns="0" tIns="0" rIns="0" bIns="0" rtlCol="0" anchor="t">
            <a:spAutoFit/>
          </a:bodyPr>
          <a:lstStyle/>
          <a:p>
            <a:pPr indent="-37148" algn="ctr" defTabSz="685715">
              <a:buClr>
                <a:schemeClr val="bg1"/>
              </a:buClr>
              <a:buSzPct val="100000"/>
            </a:pPr>
            <a:r>
              <a:rPr lang="en-GB" sz="900" b="1" dirty="0">
                <a:solidFill>
                  <a:schemeClr val="bg1"/>
                </a:solidFill>
              </a:rPr>
              <a:t>x6</a:t>
            </a:r>
            <a:endParaRPr lang="en-GB" sz="900" dirty="0">
              <a:solidFill>
                <a:schemeClr val="bg1"/>
              </a:solidFill>
            </a:endParaRPr>
          </a:p>
        </p:txBody>
      </p:sp>
      <p:sp>
        <p:nvSpPr>
          <p:cNvPr id="70" name="TextBox 69">
            <a:extLst>
              <a:ext uri="{FF2B5EF4-FFF2-40B4-BE49-F238E27FC236}">
                <a16:creationId xmlns:a16="http://schemas.microsoft.com/office/drawing/2014/main" id="{419C8638-AE19-6F9D-2D22-F51CF3AA4ADC}"/>
              </a:ext>
            </a:extLst>
          </p:cNvPr>
          <p:cNvSpPr txBox="1"/>
          <p:nvPr/>
        </p:nvSpPr>
        <p:spPr>
          <a:xfrm>
            <a:off x="3382854" y="1790758"/>
            <a:ext cx="362340" cy="215444"/>
          </a:xfrm>
          <a:prstGeom prst="rect">
            <a:avLst/>
          </a:prstGeom>
          <a:noFill/>
        </p:spPr>
        <p:txBody>
          <a:bodyPr wrap="square" lIns="0" tIns="0" rIns="0" bIns="0" rtlCol="0" anchor="t">
            <a:spAutoFit/>
          </a:bodyPr>
          <a:lstStyle/>
          <a:p>
            <a:pPr indent="-37148" algn="ctr" defTabSz="685715">
              <a:buClr>
                <a:schemeClr val="bg1"/>
              </a:buClr>
              <a:buSzPct val="100000"/>
            </a:pPr>
            <a:r>
              <a:rPr lang="en-GB" sz="1400" b="1" dirty="0">
                <a:solidFill>
                  <a:schemeClr val="bg1"/>
                </a:solidFill>
              </a:rPr>
              <a:t>x12</a:t>
            </a:r>
            <a:endParaRPr lang="en-GB" sz="1400" dirty="0">
              <a:solidFill>
                <a:schemeClr val="bg1"/>
              </a:solidFill>
            </a:endParaRPr>
          </a:p>
        </p:txBody>
      </p:sp>
      <p:cxnSp>
        <p:nvCxnSpPr>
          <p:cNvPr id="65" name="Straight Arrow Connector 42">
            <a:extLst>
              <a:ext uri="{FF2B5EF4-FFF2-40B4-BE49-F238E27FC236}">
                <a16:creationId xmlns:a16="http://schemas.microsoft.com/office/drawing/2014/main" id="{E813A86C-B7A6-6318-88F8-03B1227488CF}"/>
              </a:ext>
            </a:extLst>
          </p:cNvPr>
          <p:cNvCxnSpPr>
            <a:cxnSpLocks/>
          </p:cNvCxnSpPr>
          <p:nvPr/>
        </p:nvCxnSpPr>
        <p:spPr>
          <a:xfrm flipV="1">
            <a:off x="1616344" y="4683358"/>
            <a:ext cx="3110416" cy="14219"/>
          </a:xfrm>
          <a:prstGeom prst="straightConnector1">
            <a:avLst/>
          </a:prstGeom>
          <a:ln cap="rnd">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6346EEB9-3109-D1EE-2985-3B41FAE8A165}"/>
              </a:ext>
            </a:extLst>
          </p:cNvPr>
          <p:cNvSpPr txBox="1"/>
          <p:nvPr/>
        </p:nvSpPr>
        <p:spPr>
          <a:xfrm flipV="1">
            <a:off x="1508827" y="4012155"/>
            <a:ext cx="45719" cy="45719"/>
          </a:xfrm>
          <a:prstGeom prst="rect">
            <a:avLst/>
          </a:prstGeom>
          <a:noFill/>
        </p:spPr>
        <p:txBody>
          <a:bodyPr wrap="none" lIns="0" tIns="0" rIns="0" bIns="0" rtlCol="0">
            <a:noAutofit/>
          </a:bodyPr>
          <a:lstStyle/>
          <a:p>
            <a:pPr algn="l" defTabSz="685800"/>
            <a:endParaRPr lang="en-BE" sz="1400">
              <a:solidFill>
                <a:srgbClr val="01112B"/>
              </a:solidFill>
              <a:latin typeface="Proximus Light" pitchFamily="2" charset="77"/>
            </a:endParaRPr>
          </a:p>
        </p:txBody>
      </p:sp>
      <p:sp>
        <p:nvSpPr>
          <p:cNvPr id="72" name="Isosceles Triangle 71">
            <a:extLst>
              <a:ext uri="{FF2B5EF4-FFF2-40B4-BE49-F238E27FC236}">
                <a16:creationId xmlns:a16="http://schemas.microsoft.com/office/drawing/2014/main" id="{663BE888-82BD-9F08-54CC-88D55F68C065}"/>
              </a:ext>
            </a:extLst>
          </p:cNvPr>
          <p:cNvSpPr/>
          <p:nvPr/>
        </p:nvSpPr>
        <p:spPr>
          <a:xfrm>
            <a:off x="1319088" y="4573293"/>
            <a:ext cx="243941" cy="221061"/>
          </a:xfrm>
          <a:prstGeom prst="triangle">
            <a:avLst/>
          </a:prstGeom>
          <a:solidFill>
            <a:schemeClr val="bg1"/>
          </a:solidFill>
          <a:ln w="3175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GB" sz="1400" err="1">
              <a:solidFill>
                <a:schemeClr val="tx1"/>
              </a:solidFill>
              <a:latin typeface="Proximus Bold" panose="00000500000000000000" pitchFamily="2" charset="0"/>
              <a:cs typeface="Proximus Bold"/>
            </a:endParaRPr>
          </a:p>
        </p:txBody>
      </p:sp>
      <p:sp>
        <p:nvSpPr>
          <p:cNvPr id="77" name="AutoShape 20" descr="Fiber Optic and Immunity to Electromagnetic Interference">
            <a:extLst>
              <a:ext uri="{FF2B5EF4-FFF2-40B4-BE49-F238E27FC236}">
                <a16:creationId xmlns:a16="http://schemas.microsoft.com/office/drawing/2014/main" id="{50A39007-CE50-62D1-4EE8-5ED8FACAFC52}"/>
              </a:ext>
            </a:extLst>
          </p:cNvPr>
          <p:cNvSpPr>
            <a:spLocks noChangeAspect="1" noChangeArrowheads="1"/>
          </p:cNvSpPr>
          <p:nvPr/>
        </p:nvSpPr>
        <p:spPr bwMode="auto">
          <a:xfrm>
            <a:off x="4581966" y="2616682"/>
            <a:ext cx="284486" cy="2844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0" name="TextBox 89">
            <a:extLst>
              <a:ext uri="{FF2B5EF4-FFF2-40B4-BE49-F238E27FC236}">
                <a16:creationId xmlns:a16="http://schemas.microsoft.com/office/drawing/2014/main" id="{DAF821D7-7A13-D535-5F09-00338F0F2339}"/>
              </a:ext>
            </a:extLst>
          </p:cNvPr>
          <p:cNvSpPr txBox="1"/>
          <p:nvPr/>
        </p:nvSpPr>
        <p:spPr>
          <a:xfrm>
            <a:off x="4954374" y="4591025"/>
            <a:ext cx="1517645" cy="184666"/>
          </a:xfrm>
          <a:prstGeom prst="rect">
            <a:avLst/>
          </a:prstGeom>
          <a:noFill/>
        </p:spPr>
        <p:txBody>
          <a:bodyPr wrap="square" lIns="0" tIns="0" rIns="0" bIns="0">
            <a:spAutoFit/>
          </a:bodyPr>
          <a:lstStyle/>
          <a:p>
            <a:pPr marL="0" indent="0" defTabSz="914241">
              <a:spcBef>
                <a:spcPts val="450"/>
              </a:spcBef>
              <a:spcAft>
                <a:spcPts val="0"/>
              </a:spcAft>
              <a:buClr>
                <a:srgbClr val="5C2D91"/>
              </a:buClr>
              <a:buNone/>
              <a:defRPr/>
            </a:pPr>
            <a:r>
              <a:rPr lang="en-US" sz="1200" b="1" dirty="0">
                <a:solidFill>
                  <a:schemeClr val="bg1"/>
                </a:solidFill>
                <a:latin typeface="Proximus ExtraBold" pitchFamily="2" charset="77"/>
              </a:rPr>
              <a:t>Copper free</a:t>
            </a:r>
          </a:p>
        </p:txBody>
      </p:sp>
      <p:pic>
        <p:nvPicPr>
          <p:cNvPr id="75" name="Graphic 74">
            <a:extLst>
              <a:ext uri="{FF2B5EF4-FFF2-40B4-BE49-F238E27FC236}">
                <a16:creationId xmlns:a16="http://schemas.microsoft.com/office/drawing/2014/main" id="{5CFDC1AA-95B3-030C-B661-F965B8FC33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2264" y="3026179"/>
            <a:ext cx="355600" cy="304800"/>
          </a:xfrm>
          <a:prstGeom prst="rect">
            <a:avLst/>
          </a:prstGeom>
        </p:spPr>
      </p:pic>
      <p:pic>
        <p:nvPicPr>
          <p:cNvPr id="76" name="Graphic 75">
            <a:extLst>
              <a:ext uri="{FF2B5EF4-FFF2-40B4-BE49-F238E27FC236}">
                <a16:creationId xmlns:a16="http://schemas.microsoft.com/office/drawing/2014/main" id="{61BADE8A-A20A-AA83-00B5-CBCE943791E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456442" y="3024294"/>
            <a:ext cx="316088" cy="304800"/>
          </a:xfrm>
          <a:prstGeom prst="rect">
            <a:avLst/>
          </a:prstGeom>
        </p:spPr>
      </p:pic>
      <p:pic>
        <p:nvPicPr>
          <p:cNvPr id="78" name="Graphic 77">
            <a:extLst>
              <a:ext uri="{FF2B5EF4-FFF2-40B4-BE49-F238E27FC236}">
                <a16:creationId xmlns:a16="http://schemas.microsoft.com/office/drawing/2014/main" id="{FC6A4C87-B0D1-0889-72C0-97EFCD293FD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805348" y="4291163"/>
            <a:ext cx="316088" cy="282221"/>
          </a:xfrm>
          <a:prstGeom prst="rect">
            <a:avLst/>
          </a:prstGeom>
        </p:spPr>
      </p:pic>
      <p:pic>
        <p:nvPicPr>
          <p:cNvPr id="32" name="Graphic 31">
            <a:extLst>
              <a:ext uri="{FF2B5EF4-FFF2-40B4-BE49-F238E27FC236}">
                <a16:creationId xmlns:a16="http://schemas.microsoft.com/office/drawing/2014/main" id="{76624657-6EA3-81A5-9D15-F7D2D5C4F0F3}"/>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6207149" y="1354873"/>
            <a:ext cx="100076" cy="162402"/>
          </a:xfrm>
          <a:prstGeom prst="rect">
            <a:avLst/>
          </a:prstGeom>
        </p:spPr>
      </p:pic>
      <p:pic>
        <p:nvPicPr>
          <p:cNvPr id="51" name="Graphic 50">
            <a:extLst>
              <a:ext uri="{FF2B5EF4-FFF2-40B4-BE49-F238E27FC236}">
                <a16:creationId xmlns:a16="http://schemas.microsoft.com/office/drawing/2014/main" id="{F3D94E74-62DA-330B-A12C-580F67F1D106}"/>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493112" y="1354873"/>
            <a:ext cx="100076" cy="162402"/>
          </a:xfrm>
          <a:prstGeom prst="rect">
            <a:avLst/>
          </a:prstGeom>
        </p:spPr>
      </p:pic>
      <p:pic>
        <p:nvPicPr>
          <p:cNvPr id="52" name="Graphic 51">
            <a:extLst>
              <a:ext uri="{FF2B5EF4-FFF2-40B4-BE49-F238E27FC236}">
                <a16:creationId xmlns:a16="http://schemas.microsoft.com/office/drawing/2014/main" id="{D28D9C95-5B00-0F25-9BCC-518D7A8ABD10}"/>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761497" y="3024294"/>
            <a:ext cx="304800" cy="304800"/>
          </a:xfrm>
          <a:prstGeom prst="rect">
            <a:avLst/>
          </a:prstGeom>
        </p:spPr>
      </p:pic>
      <p:pic>
        <p:nvPicPr>
          <p:cNvPr id="5" name="Picture 2" descr="Proximus - Qu'est ce qu'ils ont fait ?? :-|">
            <a:extLst>
              <a:ext uri="{FF2B5EF4-FFF2-40B4-BE49-F238E27FC236}">
                <a16:creationId xmlns:a16="http://schemas.microsoft.com/office/drawing/2014/main" id="{019421DC-59DC-8FF4-E3D2-3F6DA6645317}"/>
              </a:ext>
            </a:extLst>
          </p:cNvPr>
          <p:cNvPicPr>
            <a:picLocks noChangeArrowheads="1"/>
          </p:cNvPicPr>
          <p:nvPr/>
        </p:nvPicPr>
        <p:blipFill rotWithShape="1">
          <a:blip r:embed="rId15">
            <a:extLst>
              <a:ext uri="{28A0092B-C50C-407E-A947-70E740481C1C}">
                <a14:useLocalDpi xmlns:a14="http://schemas.microsoft.com/office/drawing/2010/main" val="0"/>
              </a:ext>
            </a:extLst>
          </a:blip>
          <a:srcRect t="2320" b="2320"/>
          <a:stretch/>
        </p:blipFill>
        <p:spPr bwMode="auto">
          <a:xfrm>
            <a:off x="6393991" y="1076074"/>
            <a:ext cx="1007999" cy="720000"/>
          </a:xfrm>
          <a:prstGeom prst="roundRect">
            <a:avLst>
              <a:gd name="adj" fmla="val 18899"/>
            </a:avLst>
          </a:prstGeom>
          <a:noFill/>
          <a:extLst>
            <a:ext uri="{909E8E84-426E-40DD-AFC4-6F175D3DCCD1}">
              <a14:hiddenFill xmlns:a14="http://schemas.microsoft.com/office/drawing/2010/main">
                <a:solidFill>
                  <a:srgbClr val="FFFFFF"/>
                </a:solidFill>
              </a14:hiddenFill>
            </a:ext>
          </a:extLst>
        </p:spPr>
      </p:pic>
      <p:pic>
        <p:nvPicPr>
          <p:cNvPr id="7" name="Picture 6" descr="Havré : Installation de la fibre optique - RTBF Actus">
            <a:extLst>
              <a:ext uri="{FF2B5EF4-FFF2-40B4-BE49-F238E27FC236}">
                <a16:creationId xmlns:a16="http://schemas.microsoft.com/office/drawing/2014/main" id="{6F758F26-CFCF-19B1-F348-BC6FB2C14EDD}"/>
              </a:ext>
            </a:extLst>
          </p:cNvPr>
          <p:cNvPicPr>
            <a:picLocks noChangeArrowheads="1"/>
          </p:cNvPicPr>
          <p:nvPr/>
        </p:nvPicPr>
        <p:blipFill rotWithShape="1">
          <a:blip r:embed="rId16">
            <a:extLst>
              <a:ext uri="{28A0092B-C50C-407E-A947-70E740481C1C}">
                <a14:useLocalDpi xmlns:a14="http://schemas.microsoft.com/office/drawing/2010/main" val="0"/>
              </a:ext>
            </a:extLst>
          </a:blip>
          <a:srcRect t="2381" b="2381"/>
          <a:stretch/>
        </p:blipFill>
        <p:spPr bwMode="auto">
          <a:xfrm>
            <a:off x="7672451" y="1076074"/>
            <a:ext cx="1007999" cy="720000"/>
          </a:xfrm>
          <a:prstGeom prst="roundRect">
            <a:avLst>
              <a:gd name="adj" fmla="val 18899"/>
            </a:avLst>
          </a:prstGeom>
          <a:noFill/>
          <a:extLst>
            <a:ext uri="{909E8E84-426E-40DD-AFC4-6F175D3DCCD1}">
              <a14:hiddenFill xmlns:a14="http://schemas.microsoft.com/office/drawing/2010/main">
                <a:solidFill>
                  <a:srgbClr val="FFFFFF"/>
                </a:solidFill>
              </a14:hiddenFill>
            </a:ext>
          </a:extLst>
        </p:spPr>
      </p:pic>
      <p:pic>
        <p:nvPicPr>
          <p:cNvPr id="8" name="Picture 8" descr="NKT produces world's first HVDC power cables using low-carbon copper | NKT">
            <a:extLst>
              <a:ext uri="{FF2B5EF4-FFF2-40B4-BE49-F238E27FC236}">
                <a16:creationId xmlns:a16="http://schemas.microsoft.com/office/drawing/2014/main" id="{0C9049C7-F978-B2A1-A351-96F213F9E2C5}"/>
              </a:ext>
            </a:extLst>
          </p:cNvPr>
          <p:cNvPicPr>
            <a:picLocks noChangeArrowheads="1"/>
          </p:cNvPicPr>
          <p:nvPr/>
        </p:nvPicPr>
        <p:blipFill rotWithShape="1">
          <a:blip r:embed="rId17">
            <a:extLst>
              <a:ext uri="{28A0092B-C50C-407E-A947-70E740481C1C}">
                <a14:useLocalDpi xmlns:a14="http://schemas.microsoft.com/office/drawing/2010/main" val="0"/>
              </a:ext>
            </a:extLst>
          </a:blip>
          <a:srcRect l="23750" r="23750"/>
          <a:stretch/>
        </p:blipFill>
        <p:spPr bwMode="auto">
          <a:xfrm>
            <a:off x="5115532" y="1076074"/>
            <a:ext cx="1007999" cy="720000"/>
          </a:xfrm>
          <a:prstGeom prst="roundRect">
            <a:avLst>
              <a:gd name="adj" fmla="val 18899"/>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6673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70066-487D-9B58-A876-38FB0B3DF65C}"/>
            </a:ext>
          </a:extLst>
        </p:cNvPr>
        <p:cNvGrpSpPr/>
        <p:nvPr/>
      </p:nvGrpSpPr>
      <p:grpSpPr>
        <a:xfrm>
          <a:off x="0" y="0"/>
          <a:ext cx="0" cy="0"/>
          <a:chOff x="0" y="0"/>
          <a:chExt cx="0" cy="0"/>
        </a:xfrm>
      </p:grpSpPr>
      <p:sp>
        <p:nvSpPr>
          <p:cNvPr id="4" name="Text Placeholder 4">
            <a:extLst>
              <a:ext uri="{FF2B5EF4-FFF2-40B4-BE49-F238E27FC236}">
                <a16:creationId xmlns:a16="http://schemas.microsoft.com/office/drawing/2014/main" id="{2BBE5624-67DD-352E-2C5E-EBC09850C577}"/>
              </a:ext>
            </a:extLst>
          </p:cNvPr>
          <p:cNvSpPr txBox="1">
            <a:spLocks/>
          </p:cNvSpPr>
          <p:nvPr/>
        </p:nvSpPr>
        <p:spPr>
          <a:xfrm>
            <a:off x="460375" y="1393460"/>
            <a:ext cx="1884240" cy="135616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98000">
                      <a:schemeClr val="accent2"/>
                    </a:gs>
                  </a:gsLst>
                  <a:lin ang="3000000" scaled="0"/>
                </a:gradFill>
                <a:latin typeface="Proximus ExtraBold" pitchFamily="2" charset="77"/>
              </a:rPr>
              <a:t>1</a:t>
            </a:r>
          </a:p>
          <a:p>
            <a:pPr marL="0" indent="0" defTabSz="914241">
              <a:lnSpc>
                <a:spcPct val="110000"/>
              </a:lnSpc>
              <a:spcBef>
                <a:spcPts val="0"/>
              </a:spcBef>
              <a:spcAft>
                <a:spcPts val="1200"/>
              </a:spcAft>
              <a:buClr>
                <a:srgbClr val="5C2D91"/>
              </a:buClr>
              <a:buNone/>
              <a:defRPr/>
            </a:pPr>
            <a:r>
              <a:rPr lang="en-US" sz="1100" b="1">
                <a:solidFill>
                  <a:srgbClr val="141C24"/>
                </a:solidFill>
                <a:latin typeface="Proximus ExtraBold" pitchFamily="2" charset="77"/>
              </a:rPr>
              <a:t>Migrating </a:t>
            </a:r>
            <a:r>
              <a:rPr lang="en-US" sz="1100">
                <a:solidFill>
                  <a:srgbClr val="141C24"/>
                </a:solidFill>
                <a:latin typeface="Proximus Light" pitchFamily="2" charset="77"/>
              </a:rPr>
              <a:t>on fiber </a:t>
            </a:r>
          </a:p>
          <a:p>
            <a:pPr marL="0" indent="0" defTabSz="914241">
              <a:lnSpc>
                <a:spcPct val="110000"/>
              </a:lnSpc>
              <a:spcBef>
                <a:spcPts val="0"/>
              </a:spcBef>
              <a:spcAft>
                <a:spcPts val="1200"/>
              </a:spcAft>
              <a:buClr>
                <a:srgbClr val="5C2D91"/>
              </a:buClr>
              <a:buNone/>
              <a:defRPr/>
            </a:pPr>
            <a:endParaRPr lang="en-US" sz="1100" b="1">
              <a:solidFill>
                <a:srgbClr val="141C24"/>
              </a:solidFill>
              <a:latin typeface="Proximus ExtraBold" pitchFamily="2" charset="77"/>
            </a:endParaRPr>
          </a:p>
        </p:txBody>
      </p:sp>
      <p:sp>
        <p:nvSpPr>
          <p:cNvPr id="6" name="Text Placeholder 4">
            <a:extLst>
              <a:ext uri="{FF2B5EF4-FFF2-40B4-BE49-F238E27FC236}">
                <a16:creationId xmlns:a16="http://schemas.microsoft.com/office/drawing/2014/main" id="{A6636598-B7BB-0CE6-247F-703580A7221D}"/>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99000">
                      <a:schemeClr val="accent2"/>
                    </a:gs>
                  </a:gsLst>
                  <a:lin ang="3000000" scaled="0"/>
                </a:gradFill>
                <a:latin typeface="Proximus ExtraBold" pitchFamily="2" charset="77"/>
              </a:rPr>
              <a:t>2</a:t>
            </a:r>
            <a:endParaRPr lang="en-US" sz="1200" b="1" dirty="0">
              <a:gradFill>
                <a:gsLst>
                  <a:gs pos="0">
                    <a:schemeClr val="bg1"/>
                  </a:gs>
                  <a:gs pos="99000">
                    <a:schemeClr val="accent2"/>
                  </a:gs>
                </a:gsLst>
                <a:lin ang="3000000" scaled="0"/>
              </a:gradFill>
              <a:latin typeface="Proximus ExtraBold" pitchFamily="2" charset="77"/>
            </a:endParaRPr>
          </a:p>
          <a:p>
            <a:pPr marL="53340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Double</a:t>
            </a:r>
            <a:r>
              <a:rPr lang="en-US" sz="1100" b="1" dirty="0">
                <a:solidFill>
                  <a:srgbClr val="141C24"/>
                </a:solidFill>
                <a:latin typeface="Proximus ExtraBold" pitchFamily="2" charset="77"/>
              </a:rPr>
              <a:t> ROP </a:t>
            </a:r>
            <a:br>
              <a:rPr lang="en-US" sz="1100" b="1" dirty="0">
                <a:solidFill>
                  <a:srgbClr val="141C24"/>
                </a:solidFill>
                <a:latin typeface="Proximus ExtraBold" pitchFamily="2" charset="77"/>
              </a:rPr>
            </a:br>
            <a:r>
              <a:rPr lang="en-US" sz="1100" b="1" dirty="0">
                <a:solidFill>
                  <a:srgbClr val="141C24"/>
                </a:solidFill>
                <a:latin typeface="Proximus ExtraBold" pitchFamily="2" charset="77"/>
              </a:rPr>
              <a:t>power off</a:t>
            </a:r>
          </a:p>
          <a:p>
            <a:pPr marL="533400" indent="0" defTabSz="914241">
              <a:lnSpc>
                <a:spcPct val="110000"/>
              </a:lnSpc>
              <a:spcBef>
                <a:spcPts val="0"/>
              </a:spcBef>
              <a:spcAft>
                <a:spcPts val="1200"/>
              </a:spcAft>
              <a:buClr>
                <a:srgbClr val="5C2D91"/>
              </a:buClr>
              <a:buNone/>
              <a:defRPr/>
            </a:pPr>
            <a:br>
              <a:rPr lang="en-US" sz="1100" b="1" dirty="0">
                <a:solidFill>
                  <a:srgbClr val="141C24"/>
                </a:solidFill>
                <a:latin typeface="Proximus ExtraBold" pitchFamily="2" charset="77"/>
              </a:rPr>
            </a:br>
            <a:r>
              <a:rPr lang="en-US" sz="1100" dirty="0">
                <a:solidFill>
                  <a:srgbClr val="141C24"/>
                </a:solidFill>
                <a:latin typeface="Proximus Light" pitchFamily="2" charset="77"/>
              </a:rPr>
              <a:t>Pursue</a:t>
            </a:r>
            <a:r>
              <a:rPr lang="en-US" sz="1100" b="1" dirty="0">
                <a:solidFill>
                  <a:srgbClr val="141C24"/>
                </a:solidFill>
                <a:latin typeface="Proximus ExtraBold" pitchFamily="2" charset="77"/>
              </a:rPr>
              <a:t> ROP compacting</a:t>
            </a:r>
          </a:p>
          <a:p>
            <a:pPr marL="533400" indent="0" defTabSz="914241">
              <a:lnSpc>
                <a:spcPct val="110000"/>
              </a:lnSpc>
              <a:spcBef>
                <a:spcPts val="0"/>
              </a:spcBef>
              <a:spcAft>
                <a:spcPts val="1200"/>
              </a:spcAft>
              <a:buClr>
                <a:srgbClr val="5C2D91"/>
              </a:buClr>
              <a:buNone/>
              <a:defRPr/>
            </a:pPr>
            <a:endParaRPr lang="en-US" sz="1100" b="1" dirty="0">
              <a:solidFill>
                <a:srgbClr val="141C24"/>
              </a:solidFill>
              <a:latin typeface="Proximus ExtraBold" pitchFamily="2" charset="77"/>
            </a:endParaRPr>
          </a:p>
          <a:p>
            <a:pPr marL="0" indent="0" defTabSz="914241">
              <a:lnSpc>
                <a:spcPct val="110000"/>
              </a:lnSpc>
              <a:spcBef>
                <a:spcPts val="0"/>
              </a:spcBef>
              <a:spcAft>
                <a:spcPts val="1200"/>
              </a:spcAft>
              <a:buClr>
                <a:srgbClr val="5C2D91"/>
              </a:buClr>
              <a:buNone/>
              <a:defRPr/>
            </a:pPr>
            <a:endParaRPr lang="en-US" sz="1100" dirty="0">
              <a:solidFill>
                <a:srgbClr val="141C24"/>
              </a:solidFill>
              <a:latin typeface="Proximus Light" pitchFamily="2" charset="77"/>
            </a:endParaRPr>
          </a:p>
        </p:txBody>
      </p:sp>
      <p:sp>
        <p:nvSpPr>
          <p:cNvPr id="8" name="Text Placeholder 4">
            <a:extLst>
              <a:ext uri="{FF2B5EF4-FFF2-40B4-BE49-F238E27FC236}">
                <a16:creationId xmlns:a16="http://schemas.microsoft.com/office/drawing/2014/main" id="{F0C298BA-9DAF-DAC2-8534-EF1955B85F65}"/>
              </a:ext>
            </a:extLst>
          </p:cNvPr>
          <p:cNvSpPr txBox="1">
            <a:spLocks/>
          </p:cNvSpPr>
          <p:nvPr/>
        </p:nvSpPr>
        <p:spPr>
          <a:xfrm>
            <a:off x="4684265" y="3308592"/>
            <a:ext cx="1884240" cy="219874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99000">
                      <a:schemeClr val="accent2"/>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Automate</a:t>
            </a:r>
            <a:br>
              <a:rPr lang="en-US" sz="1100" dirty="0">
                <a:solidFill>
                  <a:srgbClr val="141C24"/>
                </a:solidFill>
                <a:latin typeface="Proximus Light" pitchFamily="2" charset="77"/>
              </a:rPr>
            </a:br>
            <a:r>
              <a:rPr lang="en-US" sz="1100" dirty="0">
                <a:solidFill>
                  <a:srgbClr val="141C24"/>
                </a:solidFill>
                <a:latin typeface="Proximus Light" pitchFamily="2" charset="77"/>
              </a:rPr>
              <a:t>in </a:t>
            </a:r>
            <a:r>
              <a:rPr lang="en-US" sz="1100" b="1" dirty="0">
                <a:solidFill>
                  <a:srgbClr val="141C24"/>
                </a:solidFill>
                <a:latin typeface="Proximus ExtraBold" pitchFamily="2" charset="77"/>
              </a:rPr>
              <a:t>power off </a:t>
            </a:r>
            <a:r>
              <a:rPr lang="en-US" sz="1100" dirty="0">
                <a:solidFill>
                  <a:srgbClr val="141C24"/>
                </a:solidFill>
                <a:latin typeface="Proximus Light" pitchFamily="2" charset="77"/>
              </a:rPr>
              <a:t>and in </a:t>
            </a:r>
            <a:r>
              <a:rPr lang="en-US" sz="1100" b="1" dirty="0">
                <a:solidFill>
                  <a:srgbClr val="141C24"/>
                </a:solidFill>
                <a:latin typeface="Proximus ExtraBold" pitchFamily="2" charset="77"/>
              </a:rPr>
              <a:t>decommissioning</a:t>
            </a:r>
          </a:p>
        </p:txBody>
      </p:sp>
      <p:sp>
        <p:nvSpPr>
          <p:cNvPr id="9" name="Text Placeholder 4">
            <a:extLst>
              <a:ext uri="{FF2B5EF4-FFF2-40B4-BE49-F238E27FC236}">
                <a16:creationId xmlns:a16="http://schemas.microsoft.com/office/drawing/2014/main" id="{90073C5A-2B4E-F709-5751-CFDAD7EB82C4}"/>
              </a:ext>
            </a:extLst>
          </p:cNvPr>
          <p:cNvSpPr txBox="1">
            <a:spLocks/>
          </p:cNvSpPr>
          <p:nvPr/>
        </p:nvSpPr>
        <p:spPr>
          <a:xfrm>
            <a:off x="6796210" y="1387107"/>
            <a:ext cx="1884240" cy="2016051"/>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99000">
                      <a:schemeClr val="accent2"/>
                    </a:gs>
                  </a:gsLst>
                  <a:lin ang="3000000" scaled="0"/>
                </a:gradFill>
                <a:latin typeface="Proximus ExtraBold" pitchFamily="2" charset="77"/>
              </a:rPr>
              <a:t>4</a:t>
            </a:r>
          </a:p>
          <a:p>
            <a:pPr marL="0" indent="0" defTabSz="914241">
              <a:lnSpc>
                <a:spcPct val="110000"/>
              </a:lnSpc>
              <a:spcBef>
                <a:spcPts val="0"/>
              </a:spcBef>
              <a:spcAft>
                <a:spcPts val="1200"/>
              </a:spcAft>
              <a:buClr>
                <a:srgbClr val="5C2D91"/>
              </a:buClr>
              <a:buNone/>
              <a:defRPr/>
            </a:pPr>
            <a:r>
              <a:rPr lang="en-US" sz="1100" dirty="0" err="1">
                <a:solidFill>
                  <a:srgbClr val="141C24"/>
                </a:solidFill>
                <a:latin typeface="Proximus Light" pitchFamily="2" charset="77"/>
              </a:rPr>
              <a:t>Optimise</a:t>
            </a:r>
            <a:r>
              <a:rPr lang="en-US" sz="1100" b="1" dirty="0">
                <a:solidFill>
                  <a:srgbClr val="141C24"/>
                </a:solidFill>
                <a:latin typeface="Proximus ExtraBold" pitchFamily="2" charset="77"/>
              </a:rPr>
              <a:t> spare parts </a:t>
            </a:r>
            <a:r>
              <a:rPr lang="en-US" sz="1100" dirty="0">
                <a:solidFill>
                  <a:srgbClr val="141C24"/>
                </a:solidFill>
                <a:latin typeface="Proximus ExtraBold" pitchFamily="2" charset="77"/>
              </a:rPr>
              <a:t>and</a:t>
            </a:r>
            <a:r>
              <a:rPr lang="en-US" sz="1100" b="1" dirty="0">
                <a:solidFill>
                  <a:srgbClr val="141C24"/>
                </a:solidFill>
                <a:latin typeface="Proximus ExtraBold" pitchFamily="2" charset="77"/>
              </a:rPr>
              <a:t> copper obsolescence </a:t>
            </a:r>
            <a:r>
              <a:rPr lang="en-US" sz="1100" dirty="0">
                <a:solidFill>
                  <a:srgbClr val="141C24"/>
                </a:solidFill>
                <a:latin typeface="Proximus Light" pitchFamily="2" charset="77"/>
              </a:rPr>
              <a:t>management and </a:t>
            </a:r>
          </a:p>
        </p:txBody>
      </p:sp>
      <p:sp>
        <p:nvSpPr>
          <p:cNvPr id="10" name="Rounded Rectangle 9">
            <a:extLst>
              <a:ext uri="{FF2B5EF4-FFF2-40B4-BE49-F238E27FC236}">
                <a16:creationId xmlns:a16="http://schemas.microsoft.com/office/drawing/2014/main" id="{E7F1D91A-0EE2-C02B-8450-2E4CAE2A7B17}"/>
              </a:ext>
            </a:extLst>
          </p:cNvPr>
          <p:cNvSpPr/>
          <p:nvPr/>
        </p:nvSpPr>
        <p:spPr>
          <a:xfrm>
            <a:off x="4684265" y="1393459"/>
            <a:ext cx="1884240" cy="1775529"/>
          </a:xfrm>
          <a:prstGeom prst="roundRect">
            <a:avLst>
              <a:gd name="adj" fmla="val 10110"/>
            </a:avLst>
          </a:prstGeom>
          <a:blipFill>
            <a:blip r:embed="rId3"/>
            <a:srcRect/>
            <a:stretch>
              <a:fillRect t="-25548" b="-25548"/>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1" name="Rounded Rectangle 10">
            <a:extLst>
              <a:ext uri="{FF2B5EF4-FFF2-40B4-BE49-F238E27FC236}">
                <a16:creationId xmlns:a16="http://schemas.microsoft.com/office/drawing/2014/main" id="{26E2EB7D-6AF1-7773-A6F6-DB2C4C2BAB23}"/>
              </a:ext>
            </a:extLst>
          </p:cNvPr>
          <p:cNvSpPr/>
          <p:nvPr/>
        </p:nvSpPr>
        <p:spPr>
          <a:xfrm>
            <a:off x="6796210" y="3543300"/>
            <a:ext cx="1884240" cy="2016050"/>
          </a:xfrm>
          <a:prstGeom prst="roundRect">
            <a:avLst>
              <a:gd name="adj" fmla="val 10110"/>
            </a:avLst>
          </a:prstGeom>
          <a:blipFill>
            <a:blip r:embed="rId4"/>
            <a:srcRect/>
            <a:stretch>
              <a:fillRect l="-3498" t="-3619" r="-3498" b="10198"/>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3" name="Title 1">
            <a:extLst>
              <a:ext uri="{FF2B5EF4-FFF2-40B4-BE49-F238E27FC236}">
                <a16:creationId xmlns:a16="http://schemas.microsoft.com/office/drawing/2014/main" id="{1881A270-FB60-06B9-94B5-CEFB66BDBDB5}"/>
              </a:ext>
            </a:extLst>
          </p:cNvPr>
          <p:cNvSpPr txBox="1">
            <a:spLocks/>
          </p:cNvSpPr>
          <p:nvPr/>
        </p:nvSpPr>
        <p:spPr>
          <a:xfrm>
            <a:off x="1226989" y="379413"/>
            <a:ext cx="7455051" cy="660092"/>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a:solidFill>
                  <a:srgbClr val="2A2234"/>
                </a:solidFill>
              </a:rPr>
              <a:t>Copper switch-off </a:t>
            </a:r>
            <a:r>
              <a:rPr lang="en-BE" b="0">
                <a:solidFill>
                  <a:srgbClr val="2A2234"/>
                </a:solidFill>
                <a:latin typeface="Proximus Light" pitchFamily="2" charset="77"/>
              </a:rPr>
              <a:t>in 2025</a:t>
            </a:r>
            <a:endParaRPr lang="en-GB">
              <a:solidFill>
                <a:srgbClr val="2A2234"/>
              </a:solidFill>
            </a:endParaRPr>
          </a:p>
        </p:txBody>
      </p:sp>
      <p:sp>
        <p:nvSpPr>
          <p:cNvPr id="14" name="!!OVAL_network">
            <a:extLst>
              <a:ext uri="{FF2B5EF4-FFF2-40B4-BE49-F238E27FC236}">
                <a16:creationId xmlns:a16="http://schemas.microsoft.com/office/drawing/2014/main" id="{F32DD03F-94F7-B9DF-54E2-5DE1029C67F8}"/>
              </a:ext>
            </a:extLst>
          </p:cNvPr>
          <p:cNvSpPr>
            <a:spLocks noChangeAspect="1"/>
          </p:cNvSpPr>
          <p:nvPr/>
        </p:nvSpPr>
        <p:spPr>
          <a:xfrm>
            <a:off x="460375" y="385459"/>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15" name="Graphic 14">
            <a:extLst>
              <a:ext uri="{FF2B5EF4-FFF2-40B4-BE49-F238E27FC236}">
                <a16:creationId xmlns:a16="http://schemas.microsoft.com/office/drawing/2014/main" id="{BADB9658-C6BA-99F9-2546-72798E96C8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875" y="518959"/>
            <a:ext cx="381000" cy="381000"/>
          </a:xfrm>
          <a:prstGeom prst="rect">
            <a:avLst/>
          </a:prstGeom>
        </p:spPr>
      </p:pic>
      <p:sp>
        <p:nvSpPr>
          <p:cNvPr id="2" name="Rounded Rectangle 1">
            <a:extLst>
              <a:ext uri="{FF2B5EF4-FFF2-40B4-BE49-F238E27FC236}">
                <a16:creationId xmlns:a16="http://schemas.microsoft.com/office/drawing/2014/main" id="{FE995C76-97B6-FC0A-A745-20752BF13FD2}"/>
              </a:ext>
            </a:extLst>
          </p:cNvPr>
          <p:cNvSpPr/>
          <p:nvPr/>
        </p:nvSpPr>
        <p:spPr>
          <a:xfrm>
            <a:off x="460375" y="2902744"/>
            <a:ext cx="1884240" cy="2583656"/>
          </a:xfrm>
          <a:prstGeom prst="roundRect">
            <a:avLst>
              <a:gd name="adj" fmla="val 10110"/>
            </a:avLst>
          </a:prstGeom>
          <a:blipFill>
            <a:blip r:embed="rId7"/>
            <a:srcRect/>
            <a:stretch>
              <a:fillRect l="-33835" r="-68611" b="9996"/>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pic>
        <p:nvPicPr>
          <p:cNvPr id="21" name="Graphic 20">
            <a:extLst>
              <a:ext uri="{FF2B5EF4-FFF2-40B4-BE49-F238E27FC236}">
                <a16:creationId xmlns:a16="http://schemas.microsoft.com/office/drawing/2014/main" id="{252C1985-4677-2301-0CA3-EFF9CFDEC8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67123" y="2999430"/>
            <a:ext cx="355600" cy="342900"/>
          </a:xfrm>
          <a:prstGeom prst="rect">
            <a:avLst/>
          </a:prstGeom>
        </p:spPr>
      </p:pic>
      <p:pic>
        <p:nvPicPr>
          <p:cNvPr id="23" name="Graphic 22">
            <a:extLst>
              <a:ext uri="{FF2B5EF4-FFF2-40B4-BE49-F238E27FC236}">
                <a16:creationId xmlns:a16="http://schemas.microsoft.com/office/drawing/2014/main" id="{2CE1C615-0D24-7154-3714-CA329537231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73637" y="2296228"/>
            <a:ext cx="355600" cy="355600"/>
          </a:xfrm>
          <a:prstGeom prst="rect">
            <a:avLst/>
          </a:prstGeom>
        </p:spPr>
      </p:pic>
    </p:spTree>
    <p:extLst>
      <p:ext uri="{BB962C8B-B14F-4D97-AF65-F5344CB8AC3E}">
        <p14:creationId xmlns:p14="http://schemas.microsoft.com/office/powerpoint/2010/main" val="31448814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BC0CC-E55F-F2D8-3F4E-884460209B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EE1F80-FB14-FB94-BF91-C81A45E6FB33}"/>
              </a:ext>
            </a:extLst>
          </p:cNvPr>
          <p:cNvSpPr>
            <a:spLocks noGrp="1"/>
          </p:cNvSpPr>
          <p:nvPr>
            <p:ph type="title"/>
          </p:nvPr>
        </p:nvSpPr>
        <p:spPr>
          <a:xfrm>
            <a:off x="1226989" y="377826"/>
            <a:ext cx="7455051" cy="660092"/>
          </a:xfrm>
        </p:spPr>
        <p:txBody>
          <a:bodyPr anchor="ctr"/>
          <a:lstStyle/>
          <a:p>
            <a:r>
              <a:rPr lang="en-GB">
                <a:solidFill>
                  <a:srgbClr val="2A2234"/>
                </a:solidFill>
              </a:rPr>
              <a:t>Building </a:t>
            </a:r>
            <a:r>
              <a:rPr lang="en-GB" err="1">
                <a:solidFill>
                  <a:srgbClr val="2A2234"/>
                </a:solidFill>
              </a:rPr>
              <a:t>outphasing</a:t>
            </a:r>
            <a:endParaRPr lang="en-GB">
              <a:solidFill>
                <a:srgbClr val="2A2234"/>
              </a:solidFill>
            </a:endParaRPr>
          </a:p>
        </p:txBody>
      </p:sp>
      <p:sp>
        <p:nvSpPr>
          <p:cNvPr id="39" name="!!OVAL_network">
            <a:extLst>
              <a:ext uri="{FF2B5EF4-FFF2-40B4-BE49-F238E27FC236}">
                <a16:creationId xmlns:a16="http://schemas.microsoft.com/office/drawing/2014/main" id="{F96653BE-8CE0-3166-820A-6B126D46DC5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AA8DA7BD-A13F-B0C3-0504-14BDB2CE6A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3875" y="517372"/>
            <a:ext cx="381000" cy="381000"/>
          </a:xfrm>
          <a:prstGeom prst="rect">
            <a:avLst/>
          </a:prstGeom>
        </p:spPr>
      </p:pic>
      <p:graphicFrame>
        <p:nvGraphicFramePr>
          <p:cNvPr id="20" name="Chart 19">
            <a:extLst>
              <a:ext uri="{FF2B5EF4-FFF2-40B4-BE49-F238E27FC236}">
                <a16:creationId xmlns:a16="http://schemas.microsoft.com/office/drawing/2014/main" id="{172A7040-280F-EC1C-856C-43F8CE0AD580}"/>
              </a:ext>
            </a:extLst>
          </p:cNvPr>
          <p:cNvGraphicFramePr/>
          <p:nvPr>
            <p:custDataLst>
              <p:tags r:id="rId1"/>
            </p:custDataLst>
            <p:extLst>
              <p:ext uri="{D42A27DB-BD31-4B8C-83A1-F6EECF244321}">
                <p14:modId xmlns:p14="http://schemas.microsoft.com/office/powerpoint/2010/main" val="2975411027"/>
              </p:ext>
            </p:extLst>
          </p:nvPr>
        </p:nvGraphicFramePr>
        <p:xfrm>
          <a:off x="5013076" y="1554669"/>
          <a:ext cx="1295400" cy="1295400"/>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B59E2315-8ADB-1893-73C2-B1B68FB6853B}"/>
              </a:ext>
            </a:extLst>
          </p:cNvPr>
          <p:cNvSpPr txBox="1"/>
          <p:nvPr/>
        </p:nvSpPr>
        <p:spPr>
          <a:xfrm>
            <a:off x="5050377" y="2794448"/>
            <a:ext cx="1121079" cy="27699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sz="1000">
                <a:solidFill>
                  <a:srgbClr val="050B1A"/>
                </a:solidFill>
                <a:latin typeface="Proximus Light" pitchFamily="2" charset="77"/>
                <a:sym typeface="+mn-lt"/>
              </a:rPr>
              <a:t>Estimated telco </a:t>
            </a:r>
            <a:br>
              <a:rPr lang="en-US" sz="1000">
                <a:solidFill>
                  <a:srgbClr val="050B1A"/>
                </a:solidFill>
                <a:latin typeface="Proximus Light" pitchFamily="2" charset="77"/>
                <a:sym typeface="+mn-lt"/>
              </a:rPr>
            </a:br>
            <a:r>
              <a:rPr lang="en-US" sz="1000">
                <a:solidFill>
                  <a:srgbClr val="050B1A"/>
                </a:solidFill>
                <a:latin typeface="Proximus Light" pitchFamily="2" charset="77"/>
                <a:sym typeface="+mn-lt"/>
              </a:rPr>
              <a:t>assets reduction</a:t>
            </a:r>
            <a:r>
              <a:rPr lang="en-BE" sz="1000" baseline="30000">
                <a:solidFill>
                  <a:srgbClr val="050B1A"/>
                </a:solidFill>
                <a:latin typeface="Proximus Light" pitchFamily="2" charset="77"/>
                <a:sym typeface="+mn-lt"/>
              </a:rPr>
              <a:t>1</a:t>
            </a:r>
            <a:endParaRPr lang="en-US" sz="1000" baseline="30000">
              <a:solidFill>
                <a:srgbClr val="050B1A"/>
              </a:solidFill>
              <a:latin typeface="Proximus Light" pitchFamily="2" charset="77"/>
              <a:sym typeface="+mn-lt"/>
            </a:endParaRPr>
          </a:p>
        </p:txBody>
      </p:sp>
      <p:sp>
        <p:nvSpPr>
          <p:cNvPr id="23" name="TextBox 22">
            <a:extLst>
              <a:ext uri="{FF2B5EF4-FFF2-40B4-BE49-F238E27FC236}">
                <a16:creationId xmlns:a16="http://schemas.microsoft.com/office/drawing/2014/main" id="{9EBE47DC-3670-D80B-5C6B-9776F0676990}"/>
              </a:ext>
            </a:extLst>
          </p:cNvPr>
          <p:cNvSpPr txBox="1"/>
          <p:nvPr/>
        </p:nvSpPr>
        <p:spPr>
          <a:xfrm>
            <a:off x="5131479" y="2067394"/>
            <a:ext cx="915059" cy="277813"/>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BE" sz="2000" b="1">
                <a:solidFill>
                  <a:schemeClr val="accent6"/>
                </a:solidFill>
                <a:sym typeface="+mn-lt"/>
              </a:rPr>
              <a:t>-</a:t>
            </a:r>
            <a:r>
              <a:rPr lang="en-BE" sz="2000" b="1">
                <a:solidFill>
                  <a:schemeClr val="accent6"/>
                </a:solidFill>
                <a:latin typeface="+mn-lt"/>
                <a:sym typeface="+mn-lt"/>
              </a:rPr>
              <a:t>80%</a:t>
            </a:r>
            <a:endParaRPr lang="en-GB" sz="2000" b="1">
              <a:solidFill>
                <a:schemeClr val="accent6"/>
              </a:solidFill>
              <a:latin typeface="+mn-lt"/>
              <a:sym typeface="+mn-lt"/>
            </a:endParaRPr>
          </a:p>
        </p:txBody>
      </p:sp>
      <p:sp>
        <p:nvSpPr>
          <p:cNvPr id="24" name="TextBox 23">
            <a:extLst>
              <a:ext uri="{FF2B5EF4-FFF2-40B4-BE49-F238E27FC236}">
                <a16:creationId xmlns:a16="http://schemas.microsoft.com/office/drawing/2014/main" id="{403CE497-EC1D-3EC1-B0AD-C7D4A7D8EA7B}"/>
              </a:ext>
            </a:extLst>
          </p:cNvPr>
          <p:cNvSpPr txBox="1"/>
          <p:nvPr/>
        </p:nvSpPr>
        <p:spPr>
          <a:xfrm>
            <a:off x="460375" y="4704228"/>
            <a:ext cx="4054242" cy="110800"/>
          </a:xfrm>
          <a:prstGeom prst="rect">
            <a:avLst/>
          </a:prstGeom>
          <a:noFill/>
          <a:ln w="9525">
            <a:noFill/>
          </a:ln>
        </p:spPr>
        <p:txBody>
          <a:bodyPr vert="horz" wrap="square" lIns="0" tIns="0" rIns="0" bIns="0" rtlCol="0">
            <a:spAutoFit/>
          </a:bodyPr>
          <a:lstStyle/>
          <a:p>
            <a:pPr algn="l">
              <a:lnSpc>
                <a:spcPct val="90000"/>
              </a:lnSpc>
              <a:spcBef>
                <a:spcPts val="300"/>
              </a:spcBef>
              <a:buSzPct val="100000"/>
            </a:pPr>
            <a:r>
              <a:rPr lang="nl-BE" sz="900" baseline="30000">
                <a:solidFill>
                  <a:schemeClr val="tx1">
                    <a:lumMod val="50000"/>
                  </a:schemeClr>
                </a:solidFill>
                <a:latin typeface="Proximus Light" pitchFamily="2" charset="77"/>
                <a:sym typeface="+mn-lt"/>
              </a:rPr>
              <a:t>1</a:t>
            </a:r>
            <a:r>
              <a:rPr lang="en-US" sz="800">
                <a:solidFill>
                  <a:schemeClr val="tx1">
                    <a:lumMod val="50000"/>
                  </a:schemeClr>
                </a:solidFill>
                <a:latin typeface="Proximus Light" pitchFamily="2" charset="77"/>
                <a:sym typeface="+mn-lt"/>
              </a:rPr>
              <a:t>Excluding data center</a:t>
            </a:r>
            <a:r>
              <a:rPr lang="en-BE" sz="800">
                <a:solidFill>
                  <a:schemeClr val="tx1">
                    <a:lumMod val="50000"/>
                  </a:schemeClr>
                </a:solidFill>
                <a:latin typeface="Proximus Light" pitchFamily="2" charset="77"/>
                <a:sym typeface="+mn-lt"/>
              </a:rPr>
              <a:t>s</a:t>
            </a:r>
            <a:r>
              <a:rPr lang="en-US" sz="800">
                <a:solidFill>
                  <a:schemeClr val="tx1">
                    <a:lumMod val="50000"/>
                  </a:schemeClr>
                </a:solidFill>
                <a:latin typeface="Proximus Light" pitchFamily="2" charset="77"/>
                <a:sym typeface="+mn-lt"/>
              </a:rPr>
              <a:t> and antenna / pylon sites</a:t>
            </a:r>
          </a:p>
        </p:txBody>
      </p:sp>
      <p:graphicFrame>
        <p:nvGraphicFramePr>
          <p:cNvPr id="25" name="Chart 24">
            <a:extLst>
              <a:ext uri="{FF2B5EF4-FFF2-40B4-BE49-F238E27FC236}">
                <a16:creationId xmlns:a16="http://schemas.microsoft.com/office/drawing/2014/main" id="{47B35F13-6319-C418-29DE-A78BE714ADA0}"/>
              </a:ext>
            </a:extLst>
          </p:cNvPr>
          <p:cNvGraphicFramePr/>
          <p:nvPr>
            <p:custDataLst>
              <p:tags r:id="rId2"/>
            </p:custDataLst>
            <p:extLst>
              <p:ext uri="{D42A27DB-BD31-4B8C-83A1-F6EECF244321}">
                <p14:modId xmlns:p14="http://schemas.microsoft.com/office/powerpoint/2010/main" val="852243570"/>
              </p:ext>
            </p:extLst>
          </p:nvPr>
        </p:nvGraphicFramePr>
        <p:xfrm>
          <a:off x="4917166" y="3125118"/>
          <a:ext cx="1295400" cy="1295400"/>
        </p:xfrm>
        <a:graphic>
          <a:graphicData uri="http://schemas.openxmlformats.org/drawingml/2006/chart">
            <c:chart xmlns:c="http://schemas.openxmlformats.org/drawingml/2006/chart" xmlns:r="http://schemas.openxmlformats.org/officeDocument/2006/relationships" r:id="rId9"/>
          </a:graphicData>
        </a:graphic>
      </p:graphicFrame>
      <p:sp>
        <p:nvSpPr>
          <p:cNvPr id="26" name="TextBox 25">
            <a:extLst>
              <a:ext uri="{FF2B5EF4-FFF2-40B4-BE49-F238E27FC236}">
                <a16:creationId xmlns:a16="http://schemas.microsoft.com/office/drawing/2014/main" id="{FDD01A0D-ECEA-E2DB-98AF-1C6FC3EC5DA5}"/>
              </a:ext>
            </a:extLst>
          </p:cNvPr>
          <p:cNvSpPr txBox="1"/>
          <p:nvPr/>
        </p:nvSpPr>
        <p:spPr>
          <a:xfrm>
            <a:off x="5131479" y="3661833"/>
            <a:ext cx="866775" cy="276225"/>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BE" sz="2000" b="1">
                <a:solidFill>
                  <a:schemeClr val="accent6"/>
                </a:solidFill>
                <a:sym typeface="+mn-lt"/>
              </a:rPr>
              <a:t>-</a:t>
            </a:r>
            <a:r>
              <a:rPr lang="fr-FR" sz="2000" b="1">
                <a:solidFill>
                  <a:schemeClr val="accent6"/>
                </a:solidFill>
                <a:latin typeface="+mn-lt"/>
                <a:sym typeface="+mn-lt"/>
              </a:rPr>
              <a:t>94</a:t>
            </a:r>
            <a:r>
              <a:rPr lang="en-BE" sz="2000" b="1">
                <a:solidFill>
                  <a:schemeClr val="accent6"/>
                </a:solidFill>
                <a:latin typeface="+mn-lt"/>
                <a:sym typeface="+mn-lt"/>
              </a:rPr>
              <a:t>%</a:t>
            </a:r>
            <a:endParaRPr lang="en-GB" sz="2000" b="1">
              <a:solidFill>
                <a:schemeClr val="accent6"/>
              </a:solidFill>
              <a:latin typeface="+mn-lt"/>
              <a:sym typeface="+mn-lt"/>
            </a:endParaRPr>
          </a:p>
        </p:txBody>
      </p:sp>
      <p:graphicFrame>
        <p:nvGraphicFramePr>
          <p:cNvPr id="31" name="Chart 30">
            <a:extLst>
              <a:ext uri="{FF2B5EF4-FFF2-40B4-BE49-F238E27FC236}">
                <a16:creationId xmlns:a16="http://schemas.microsoft.com/office/drawing/2014/main" id="{26994BB4-DA7B-79E5-C049-CE67A3CBEAA4}"/>
              </a:ext>
            </a:extLst>
          </p:cNvPr>
          <p:cNvGraphicFramePr/>
          <p:nvPr>
            <p:custDataLst>
              <p:tags r:id="rId3"/>
            </p:custDataLst>
            <p:extLst>
              <p:ext uri="{D42A27DB-BD31-4B8C-83A1-F6EECF244321}">
                <p14:modId xmlns:p14="http://schemas.microsoft.com/office/powerpoint/2010/main" val="680600052"/>
              </p:ext>
            </p:extLst>
          </p:nvPr>
        </p:nvGraphicFramePr>
        <p:xfrm>
          <a:off x="6683642" y="1536951"/>
          <a:ext cx="1295400" cy="1295400"/>
        </p:xfrm>
        <a:graphic>
          <a:graphicData uri="http://schemas.openxmlformats.org/drawingml/2006/chart">
            <c:chart xmlns:c="http://schemas.openxmlformats.org/drawingml/2006/chart" xmlns:r="http://schemas.openxmlformats.org/officeDocument/2006/relationships" r:id="rId10"/>
          </a:graphicData>
        </a:graphic>
      </p:graphicFrame>
      <p:sp>
        <p:nvSpPr>
          <p:cNvPr id="32" name="TextBox 31">
            <a:extLst>
              <a:ext uri="{FF2B5EF4-FFF2-40B4-BE49-F238E27FC236}">
                <a16:creationId xmlns:a16="http://schemas.microsoft.com/office/drawing/2014/main" id="{96AE6D44-22FE-4A2D-299D-B4F0D812C6DC}"/>
              </a:ext>
            </a:extLst>
          </p:cNvPr>
          <p:cNvSpPr txBox="1"/>
          <p:nvPr/>
        </p:nvSpPr>
        <p:spPr>
          <a:xfrm>
            <a:off x="6897954" y="2069602"/>
            <a:ext cx="866775" cy="276225"/>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BE" sz="2000" b="1">
                <a:solidFill>
                  <a:schemeClr val="accent6"/>
                </a:solidFill>
                <a:sym typeface="+mn-lt"/>
              </a:rPr>
              <a:t>-</a:t>
            </a:r>
            <a:r>
              <a:rPr lang="fr-FR" sz="2000" b="1">
                <a:solidFill>
                  <a:schemeClr val="accent6"/>
                </a:solidFill>
                <a:latin typeface="+mn-lt"/>
                <a:sym typeface="+mn-lt"/>
              </a:rPr>
              <a:t>56</a:t>
            </a:r>
            <a:r>
              <a:rPr lang="en-BE" sz="2000" b="1">
                <a:solidFill>
                  <a:schemeClr val="accent6"/>
                </a:solidFill>
                <a:latin typeface="+mn-lt"/>
                <a:sym typeface="+mn-lt"/>
              </a:rPr>
              <a:t>%</a:t>
            </a:r>
            <a:endParaRPr lang="en-GB" sz="2000" b="1">
              <a:solidFill>
                <a:schemeClr val="accent6"/>
              </a:solidFill>
              <a:latin typeface="+mn-lt"/>
              <a:sym typeface="+mn-lt"/>
            </a:endParaRPr>
          </a:p>
        </p:txBody>
      </p:sp>
      <p:sp>
        <p:nvSpPr>
          <p:cNvPr id="3" name="Rounded Rectangle 16">
            <a:extLst>
              <a:ext uri="{FF2B5EF4-FFF2-40B4-BE49-F238E27FC236}">
                <a16:creationId xmlns:a16="http://schemas.microsoft.com/office/drawing/2014/main" id="{AC52999E-9078-38E4-1A4A-8BFF2AEE0321}"/>
              </a:ext>
            </a:extLst>
          </p:cNvPr>
          <p:cNvSpPr/>
          <p:nvPr/>
        </p:nvSpPr>
        <p:spPr>
          <a:xfrm>
            <a:off x="461965" y="1090687"/>
            <a:ext cx="8220075" cy="578050"/>
          </a:xfrm>
          <a:prstGeom prst="roundRect">
            <a:avLst>
              <a:gd name="adj" fmla="val 2317"/>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defTabSz="408084"/>
            <a:r>
              <a:rPr lang="en-GB" sz="1100" dirty="0">
                <a:solidFill>
                  <a:schemeClr val="accent6"/>
                </a:solidFill>
                <a:latin typeface="Proximus Light" pitchFamily="2" charset="77"/>
              </a:rPr>
              <a:t>The </a:t>
            </a:r>
            <a:r>
              <a:rPr lang="en-GB" sz="1100" b="1" dirty="0">
                <a:solidFill>
                  <a:schemeClr val="accent6"/>
                </a:solidFill>
                <a:latin typeface="Proximus Bold" pitchFamily="2" charset="77"/>
              </a:rPr>
              <a:t>network transition </a:t>
            </a:r>
            <a:r>
              <a:rPr lang="en-GB" sz="1100" dirty="0">
                <a:solidFill>
                  <a:schemeClr val="accent6"/>
                </a:solidFill>
                <a:latin typeface="Proximus Light" pitchFamily="2" charset="77"/>
              </a:rPr>
              <a:t>presents an opportunity to </a:t>
            </a:r>
            <a:r>
              <a:rPr lang="en-GB" sz="1100" b="1" dirty="0">
                <a:solidFill>
                  <a:schemeClr val="accent6"/>
                </a:solidFill>
                <a:latin typeface="Proximus Bold" pitchFamily="2" charset="77"/>
              </a:rPr>
              <a:t>streamline</a:t>
            </a:r>
            <a:r>
              <a:rPr lang="en-GB" sz="1100" dirty="0">
                <a:solidFill>
                  <a:schemeClr val="accent6"/>
                </a:solidFill>
                <a:latin typeface="Proximus Light" pitchFamily="2" charset="77"/>
              </a:rPr>
              <a:t> our real-estate portfolio, enabling </a:t>
            </a:r>
            <a:r>
              <a:rPr lang="en-GB" sz="1100" b="1" dirty="0">
                <a:solidFill>
                  <a:schemeClr val="accent6"/>
                </a:solidFill>
                <a:latin typeface="Proximus Bold" pitchFamily="2" charset="77"/>
              </a:rPr>
              <a:t>cash generation</a:t>
            </a:r>
            <a:r>
              <a:rPr lang="en-GB" sz="1100" dirty="0">
                <a:solidFill>
                  <a:schemeClr val="accent6"/>
                </a:solidFill>
                <a:latin typeface="Proximus Light" pitchFamily="2" charset="77"/>
              </a:rPr>
              <a:t>, </a:t>
            </a:r>
            <a:br>
              <a:rPr lang="en-GB" sz="1100" dirty="0">
                <a:solidFill>
                  <a:schemeClr val="accent6"/>
                </a:solidFill>
                <a:latin typeface="Proximus Light" pitchFamily="2" charset="77"/>
              </a:rPr>
            </a:br>
            <a:r>
              <a:rPr lang="en-GB" sz="1100" b="1" dirty="0">
                <a:solidFill>
                  <a:schemeClr val="accent6"/>
                </a:solidFill>
                <a:latin typeface="Proximus Bold" pitchFamily="2" charset="77"/>
              </a:rPr>
              <a:t>sustained savings </a:t>
            </a:r>
            <a:r>
              <a:rPr lang="en-GB" sz="1100" dirty="0">
                <a:solidFill>
                  <a:schemeClr val="accent6"/>
                </a:solidFill>
                <a:latin typeface="Proximus Light" pitchFamily="2" charset="77"/>
              </a:rPr>
              <a:t>and </a:t>
            </a:r>
            <a:r>
              <a:rPr lang="en-GB" sz="1100" b="1" dirty="0">
                <a:solidFill>
                  <a:schemeClr val="accent6"/>
                </a:solidFill>
                <a:latin typeface="Proximus Bold" pitchFamily="2" charset="77"/>
              </a:rPr>
              <a:t>decreased carbon emission</a:t>
            </a:r>
            <a:endParaRPr lang="en-GB" sz="1100" dirty="0">
              <a:solidFill>
                <a:schemeClr val="accent6"/>
              </a:solidFill>
              <a:latin typeface="Proximus Light" pitchFamily="2" charset="77"/>
            </a:endParaRPr>
          </a:p>
        </p:txBody>
      </p:sp>
      <p:pic>
        <p:nvPicPr>
          <p:cNvPr id="9" name="Graphic 8">
            <a:extLst>
              <a:ext uri="{FF2B5EF4-FFF2-40B4-BE49-F238E27FC236}">
                <a16:creationId xmlns:a16="http://schemas.microsoft.com/office/drawing/2014/main" id="{15CD32AA-7C35-BF86-91EF-544081CB8C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31876" y="3130227"/>
            <a:ext cx="355600" cy="304800"/>
          </a:xfrm>
          <a:prstGeom prst="rect">
            <a:avLst/>
          </a:prstGeom>
        </p:spPr>
      </p:pic>
      <p:pic>
        <p:nvPicPr>
          <p:cNvPr id="10" name="Graphic 9">
            <a:extLst>
              <a:ext uri="{FF2B5EF4-FFF2-40B4-BE49-F238E27FC236}">
                <a16:creationId xmlns:a16="http://schemas.microsoft.com/office/drawing/2014/main" id="{EED433C1-4DB6-9DEC-6A5F-69FF3C7C58B5}"/>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547145" y="1536802"/>
            <a:ext cx="316088" cy="304800"/>
          </a:xfrm>
          <a:prstGeom prst="rect">
            <a:avLst/>
          </a:prstGeom>
        </p:spPr>
      </p:pic>
      <p:pic>
        <p:nvPicPr>
          <p:cNvPr id="18" name="Graphic 17">
            <a:extLst>
              <a:ext uri="{FF2B5EF4-FFF2-40B4-BE49-F238E27FC236}">
                <a16:creationId xmlns:a16="http://schemas.microsoft.com/office/drawing/2014/main" id="{6A5296EC-98A5-1020-0A76-8021D3C8B10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4685086" y="1578587"/>
            <a:ext cx="272142" cy="304800"/>
          </a:xfrm>
          <a:prstGeom prst="rect">
            <a:avLst/>
          </a:prstGeom>
        </p:spPr>
      </p:pic>
      <p:pic>
        <p:nvPicPr>
          <p:cNvPr id="30" name="Picture 17">
            <a:extLst>
              <a:ext uri="{FF2B5EF4-FFF2-40B4-BE49-F238E27FC236}">
                <a16:creationId xmlns:a16="http://schemas.microsoft.com/office/drawing/2014/main" id="{4B214EB0-924D-B56D-9A67-A2BB849AAF3D}"/>
              </a:ext>
            </a:extLst>
          </p:cNvPr>
          <p:cNvPicPr>
            <a:picLocks/>
          </p:cNvPicPr>
          <p:nvPr/>
        </p:nvPicPr>
        <p:blipFill>
          <a:blip r:embed="rId17"/>
          <a:srcRect l="10748" t="9812" r="16886" b="-6882"/>
          <a:stretch/>
        </p:blipFill>
        <p:spPr>
          <a:xfrm>
            <a:off x="461500" y="1931550"/>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37" name="TextBox 22">
            <a:extLst>
              <a:ext uri="{FF2B5EF4-FFF2-40B4-BE49-F238E27FC236}">
                <a16:creationId xmlns:a16="http://schemas.microsoft.com/office/drawing/2014/main" id="{20FAC117-78B3-2FE4-C1BC-1555C96D8FBA}"/>
              </a:ext>
            </a:extLst>
          </p:cNvPr>
          <p:cNvSpPr txBox="1"/>
          <p:nvPr/>
        </p:nvSpPr>
        <p:spPr>
          <a:xfrm>
            <a:off x="461500" y="2740963"/>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pPr algn="ctr" defTabSz="408084"/>
            <a:r>
              <a:rPr lang="en-GB" sz="900" dirty="0">
                <a:solidFill>
                  <a:prstClr val="white"/>
                </a:solidFill>
                <a:latin typeface="Proximus Light" pitchFamily="2" charset="77"/>
              </a:rPr>
              <a:t>Service nodes</a:t>
            </a:r>
          </a:p>
        </p:txBody>
      </p:sp>
      <p:pic>
        <p:nvPicPr>
          <p:cNvPr id="41" name="Picture 17">
            <a:extLst>
              <a:ext uri="{FF2B5EF4-FFF2-40B4-BE49-F238E27FC236}">
                <a16:creationId xmlns:a16="http://schemas.microsoft.com/office/drawing/2014/main" id="{5906E13F-D8F7-5D8C-6906-40831105E49E}"/>
              </a:ext>
            </a:extLst>
          </p:cNvPr>
          <p:cNvPicPr>
            <a:picLocks/>
          </p:cNvPicPr>
          <p:nvPr/>
        </p:nvPicPr>
        <p:blipFill>
          <a:blip r:embed="rId20"/>
          <a:srcRect l="13257" r="13257"/>
          <a:stretch/>
        </p:blipFill>
        <p:spPr>
          <a:xfrm>
            <a:off x="1812658" y="1931550"/>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42" name="TextBox 22">
            <a:extLst>
              <a:ext uri="{FF2B5EF4-FFF2-40B4-BE49-F238E27FC236}">
                <a16:creationId xmlns:a16="http://schemas.microsoft.com/office/drawing/2014/main" id="{B81E5926-4ABB-FE30-6891-A2B9EAAC7C1C}"/>
              </a:ext>
            </a:extLst>
          </p:cNvPr>
          <p:cNvSpPr txBox="1"/>
          <p:nvPr/>
        </p:nvSpPr>
        <p:spPr>
          <a:xfrm>
            <a:off x="1812658" y="2740963"/>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pPr algn="ctr" defTabSz="408084"/>
            <a:r>
              <a:rPr lang="en-GB" sz="900">
                <a:solidFill>
                  <a:prstClr val="white"/>
                </a:solidFill>
                <a:latin typeface="Proximus Light" pitchFamily="2" charset="77"/>
              </a:rPr>
              <a:t>Aggregation nodes</a:t>
            </a:r>
          </a:p>
        </p:txBody>
      </p:sp>
      <p:pic>
        <p:nvPicPr>
          <p:cNvPr id="43" name="Picture 17">
            <a:extLst>
              <a:ext uri="{FF2B5EF4-FFF2-40B4-BE49-F238E27FC236}">
                <a16:creationId xmlns:a16="http://schemas.microsoft.com/office/drawing/2014/main" id="{8F6E2D0A-D6DB-8760-5BA4-6748FF44A624}"/>
              </a:ext>
            </a:extLst>
          </p:cNvPr>
          <p:cNvPicPr>
            <a:picLocks/>
          </p:cNvPicPr>
          <p:nvPr/>
        </p:nvPicPr>
        <p:blipFill>
          <a:blip r:embed="rId21"/>
          <a:srcRect l="12916" r="12916"/>
          <a:stretch/>
        </p:blipFill>
        <p:spPr>
          <a:xfrm>
            <a:off x="461500" y="3210335"/>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44" name="TextBox 22">
            <a:extLst>
              <a:ext uri="{FF2B5EF4-FFF2-40B4-BE49-F238E27FC236}">
                <a16:creationId xmlns:a16="http://schemas.microsoft.com/office/drawing/2014/main" id="{53ECABBF-719D-2568-5EB9-AC4EF1D5AD03}"/>
              </a:ext>
            </a:extLst>
          </p:cNvPr>
          <p:cNvSpPr txBox="1"/>
          <p:nvPr/>
        </p:nvSpPr>
        <p:spPr>
          <a:xfrm>
            <a:off x="461500" y="4024667"/>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pPr algn="ctr" defTabSz="408084"/>
            <a:r>
              <a:rPr lang="en-GB" sz="900">
                <a:solidFill>
                  <a:prstClr val="white"/>
                </a:solidFill>
                <a:latin typeface="Proximus Light" pitchFamily="2" charset="77"/>
              </a:rPr>
              <a:t>LEX</a:t>
            </a:r>
          </a:p>
        </p:txBody>
      </p:sp>
      <p:pic>
        <p:nvPicPr>
          <p:cNvPr id="45" name="Picture 17">
            <a:extLst>
              <a:ext uri="{FF2B5EF4-FFF2-40B4-BE49-F238E27FC236}">
                <a16:creationId xmlns:a16="http://schemas.microsoft.com/office/drawing/2014/main" id="{0D3FAE62-ABC5-3FA7-63D4-63095D99E3A1}"/>
              </a:ext>
            </a:extLst>
          </p:cNvPr>
          <p:cNvPicPr>
            <a:picLocks/>
          </p:cNvPicPr>
          <p:nvPr/>
        </p:nvPicPr>
        <p:blipFill>
          <a:blip r:embed="rId22"/>
          <a:srcRect l="12665" t="4461" r="17127" b="-1"/>
          <a:stretch/>
        </p:blipFill>
        <p:spPr>
          <a:xfrm>
            <a:off x="1812658" y="3210335"/>
            <a:ext cx="1181238" cy="1017538"/>
          </a:xfrm>
          <a:prstGeom prst="roundRect">
            <a:avLst>
              <a:gd name="adj" fmla="val 16127"/>
            </a:avLst>
          </a:prstGeom>
          <a:blipFill>
            <a:blip r:embed="rId18">
              <a:extLst>
                <a:ext uri="{96DAC541-7B7A-43D3-8B79-37D633B846F1}">
                  <asvg:svgBlip xmlns:asvg="http://schemas.microsoft.com/office/drawing/2016/SVG/main" r:embed="rId19"/>
                </a:ext>
              </a:extLst>
            </a:blip>
            <a:stretch>
              <a:fillRect/>
            </a:stretch>
          </a:blipFill>
          <a:ln>
            <a:noFill/>
          </a:ln>
          <a:effectLst/>
        </p:spPr>
      </p:pic>
      <p:sp>
        <p:nvSpPr>
          <p:cNvPr id="46" name="TextBox 22">
            <a:extLst>
              <a:ext uri="{FF2B5EF4-FFF2-40B4-BE49-F238E27FC236}">
                <a16:creationId xmlns:a16="http://schemas.microsoft.com/office/drawing/2014/main" id="{DD40173D-F215-1136-DB67-7EFBD2802B89}"/>
              </a:ext>
            </a:extLst>
          </p:cNvPr>
          <p:cNvSpPr txBox="1"/>
          <p:nvPr/>
        </p:nvSpPr>
        <p:spPr>
          <a:xfrm>
            <a:off x="1812658" y="4024667"/>
            <a:ext cx="1181238" cy="208126"/>
          </a:xfrm>
          <a:prstGeom prst="round2SameRect">
            <a:avLst>
              <a:gd name="adj1" fmla="val 0"/>
              <a:gd name="adj2" fmla="val 5000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pPr algn="ctr" defTabSz="408084"/>
            <a:r>
              <a:rPr lang="en-GB" sz="900" err="1">
                <a:solidFill>
                  <a:prstClr val="white"/>
                </a:solidFill>
                <a:latin typeface="Proximus Light" pitchFamily="2" charset="77"/>
              </a:rPr>
              <a:t>LDC</a:t>
            </a:r>
            <a:endParaRPr lang="en-GB" sz="900">
              <a:solidFill>
                <a:prstClr val="white"/>
              </a:solidFill>
              <a:latin typeface="Proximus Light" pitchFamily="2" charset="77"/>
            </a:endParaRPr>
          </a:p>
        </p:txBody>
      </p:sp>
      <p:sp>
        <p:nvSpPr>
          <p:cNvPr id="47" name="TextBox 20">
            <a:extLst>
              <a:ext uri="{FF2B5EF4-FFF2-40B4-BE49-F238E27FC236}">
                <a16:creationId xmlns:a16="http://schemas.microsoft.com/office/drawing/2014/main" id="{951249DB-C3A0-F981-601A-DF3E86A986DA}"/>
              </a:ext>
            </a:extLst>
          </p:cNvPr>
          <p:cNvSpPr txBox="1"/>
          <p:nvPr/>
        </p:nvSpPr>
        <p:spPr>
          <a:xfrm>
            <a:off x="5050376" y="4439381"/>
            <a:ext cx="1121079" cy="27699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sz="1000">
                <a:solidFill>
                  <a:srgbClr val="050B1A"/>
                </a:solidFill>
                <a:latin typeface="Proximus Light" pitchFamily="2" charset="77"/>
                <a:sym typeface="+mn-lt"/>
              </a:rPr>
              <a:t>Estimated telco </a:t>
            </a:r>
            <a:br>
              <a:rPr lang="en-US" sz="1000">
                <a:solidFill>
                  <a:srgbClr val="050B1A"/>
                </a:solidFill>
                <a:latin typeface="Proximus Light" pitchFamily="2" charset="77"/>
                <a:sym typeface="+mn-lt"/>
              </a:rPr>
            </a:br>
            <a:r>
              <a:rPr lang="en-US" sz="1000">
                <a:solidFill>
                  <a:srgbClr val="050B1A"/>
                </a:solidFill>
                <a:latin typeface="Proximus Light" pitchFamily="2" charset="77"/>
                <a:sym typeface="+mn-lt"/>
              </a:rPr>
              <a:t>surface reduction</a:t>
            </a:r>
            <a:r>
              <a:rPr lang="en-BE" sz="1000" baseline="30000">
                <a:solidFill>
                  <a:srgbClr val="050B1A"/>
                </a:solidFill>
                <a:latin typeface="Proximus Light" pitchFamily="2" charset="77"/>
                <a:sym typeface="+mn-lt"/>
              </a:rPr>
              <a:t>1</a:t>
            </a:r>
            <a:endParaRPr lang="en-US" sz="1000" baseline="30000">
              <a:solidFill>
                <a:srgbClr val="050B1A"/>
              </a:solidFill>
              <a:latin typeface="Proximus Light" pitchFamily="2" charset="77"/>
              <a:sym typeface="+mn-lt"/>
            </a:endParaRPr>
          </a:p>
        </p:txBody>
      </p:sp>
      <p:sp>
        <p:nvSpPr>
          <p:cNvPr id="48" name="TextBox 20">
            <a:extLst>
              <a:ext uri="{FF2B5EF4-FFF2-40B4-BE49-F238E27FC236}">
                <a16:creationId xmlns:a16="http://schemas.microsoft.com/office/drawing/2014/main" id="{DFF34C45-AB5C-A12E-8C38-4BE73D3DB1A5}"/>
              </a:ext>
            </a:extLst>
          </p:cNvPr>
          <p:cNvSpPr txBox="1"/>
          <p:nvPr/>
        </p:nvSpPr>
        <p:spPr>
          <a:xfrm>
            <a:off x="6640306" y="2794448"/>
            <a:ext cx="1490114" cy="27699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sz="1000">
                <a:solidFill>
                  <a:srgbClr val="050B1A"/>
                </a:solidFill>
                <a:latin typeface="Proximus Light" pitchFamily="2" charset="77"/>
                <a:sym typeface="+mn-lt"/>
              </a:rPr>
              <a:t>Estimated reduction carbon footprint</a:t>
            </a:r>
          </a:p>
        </p:txBody>
      </p:sp>
      <p:sp>
        <p:nvSpPr>
          <p:cNvPr id="49" name="Text Placeholder 4">
            <a:extLst>
              <a:ext uri="{FF2B5EF4-FFF2-40B4-BE49-F238E27FC236}">
                <a16:creationId xmlns:a16="http://schemas.microsoft.com/office/drawing/2014/main" id="{F64A3256-8CCE-77C7-53BB-E956C785181A}"/>
              </a:ext>
            </a:extLst>
          </p:cNvPr>
          <p:cNvSpPr txBox="1">
            <a:spLocks/>
          </p:cNvSpPr>
          <p:nvPr/>
        </p:nvSpPr>
        <p:spPr>
          <a:xfrm>
            <a:off x="3103752" y="1931550"/>
            <a:ext cx="1295400" cy="2296323"/>
          </a:xfrm>
          <a:prstGeom prst="roundRect">
            <a:avLst>
              <a:gd name="adj" fmla="val 14706"/>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spcAft>
                <a:spcPts val="0"/>
              </a:spcAft>
              <a:buClr>
                <a:srgbClr val="5C2D91"/>
              </a:buClr>
              <a:buNone/>
              <a:defRPr/>
            </a:pPr>
            <a:r>
              <a:rPr lang="en-US" sz="1100">
                <a:solidFill>
                  <a:srgbClr val="141C24"/>
                </a:solidFill>
                <a:latin typeface="Proximus Light" pitchFamily="2" charset="77"/>
              </a:rPr>
              <a:t>Proximus owns </a:t>
            </a:r>
            <a:r>
              <a:rPr lang="en-US" sz="2000" b="1">
                <a:solidFill>
                  <a:srgbClr val="141C24"/>
                </a:solidFill>
                <a:latin typeface="Proximus Bold" pitchFamily="2" charset="77"/>
              </a:rPr>
              <a:t>800</a:t>
            </a:r>
            <a:r>
              <a:rPr lang="en-US" sz="2000" b="1" baseline="30000">
                <a:solidFill>
                  <a:srgbClr val="141C24"/>
                </a:solidFill>
                <a:latin typeface="Proximus Bold" pitchFamily="2" charset="77"/>
              </a:rPr>
              <a:t>+</a:t>
            </a:r>
            <a:r>
              <a:rPr lang="en-US" sz="2000" b="1">
                <a:solidFill>
                  <a:srgbClr val="141C24"/>
                </a:solidFill>
                <a:latin typeface="Proximus Bold" pitchFamily="2" charset="77"/>
              </a:rPr>
              <a:t> </a:t>
            </a:r>
            <a:r>
              <a:rPr lang="en-US" sz="1100">
                <a:solidFill>
                  <a:srgbClr val="141C24"/>
                </a:solidFill>
                <a:latin typeface="Proximus Light" pitchFamily="2" charset="77"/>
              </a:rPr>
              <a:t>buildings for telco equipment</a:t>
            </a:r>
          </a:p>
          <a:p>
            <a:pPr marL="0" indent="0" defTabSz="914241">
              <a:spcBef>
                <a:spcPts val="450"/>
              </a:spcBef>
              <a:spcAft>
                <a:spcPts val="0"/>
              </a:spcAft>
              <a:buClr>
                <a:srgbClr val="5C2D91"/>
              </a:buClr>
              <a:buNone/>
              <a:defRPr/>
            </a:pPr>
            <a:endParaRPr lang="en-US" sz="1200" b="1">
              <a:solidFill>
                <a:srgbClr val="141C24"/>
              </a:solidFill>
              <a:latin typeface="Proximus ExtraBold" pitchFamily="2" charset="77"/>
            </a:endParaRPr>
          </a:p>
        </p:txBody>
      </p:sp>
      <p:sp>
        <p:nvSpPr>
          <p:cNvPr id="50" name="Text Placeholder 4">
            <a:extLst>
              <a:ext uri="{FF2B5EF4-FFF2-40B4-BE49-F238E27FC236}">
                <a16:creationId xmlns:a16="http://schemas.microsoft.com/office/drawing/2014/main" id="{4DFF56FA-142A-CB10-D902-ABF17CC0F6B5}"/>
              </a:ext>
            </a:extLst>
          </p:cNvPr>
          <p:cNvSpPr txBox="1">
            <a:spLocks/>
          </p:cNvSpPr>
          <p:nvPr/>
        </p:nvSpPr>
        <p:spPr>
          <a:xfrm>
            <a:off x="6426879" y="3226413"/>
            <a:ext cx="1868539" cy="1117567"/>
          </a:xfrm>
          <a:prstGeom prst="roundRect">
            <a:avLst>
              <a:gd name="adj" fmla="val 10195"/>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spcAft>
                <a:spcPts val="0"/>
              </a:spcAft>
              <a:buClr>
                <a:srgbClr val="5C2D91"/>
              </a:buClr>
              <a:buNone/>
              <a:defRPr/>
            </a:pPr>
            <a:r>
              <a:rPr lang="en-US" sz="2000" b="1">
                <a:solidFill>
                  <a:srgbClr val="141C24"/>
                </a:solidFill>
                <a:latin typeface="Proximus Bold" pitchFamily="2" charset="77"/>
              </a:rPr>
              <a:t>505 </a:t>
            </a:r>
            <a:r>
              <a:rPr lang="en-US" sz="1100">
                <a:solidFill>
                  <a:srgbClr val="141C24"/>
                </a:solidFill>
                <a:latin typeface="Proximus Light" pitchFamily="2" charset="77"/>
              </a:rPr>
              <a:t>buildings</a:t>
            </a:r>
            <a:r>
              <a:rPr lang="en-US" sz="2000" b="1">
                <a:solidFill>
                  <a:srgbClr val="141C24"/>
                </a:solidFill>
                <a:latin typeface="Proximus Bold" pitchFamily="2" charset="77"/>
              </a:rPr>
              <a:t> </a:t>
            </a:r>
            <a:br>
              <a:rPr lang="en-US" sz="1100">
                <a:solidFill>
                  <a:srgbClr val="141C24"/>
                </a:solidFill>
                <a:latin typeface="Proximus Light" pitchFamily="2" charset="77"/>
              </a:rPr>
            </a:br>
            <a:r>
              <a:rPr lang="en-US" sz="1100">
                <a:solidFill>
                  <a:srgbClr val="141C24"/>
                </a:solidFill>
                <a:latin typeface="Proximus Light" pitchFamily="2" charset="77"/>
              </a:rPr>
              <a:t>to be decommissioned </a:t>
            </a:r>
            <a:br>
              <a:rPr lang="en-US" sz="1100">
                <a:solidFill>
                  <a:srgbClr val="141C24"/>
                </a:solidFill>
                <a:latin typeface="Proximus Light" pitchFamily="2" charset="77"/>
              </a:rPr>
            </a:br>
            <a:r>
              <a:rPr lang="en-US" sz="1100">
                <a:solidFill>
                  <a:srgbClr val="141C24"/>
                </a:solidFill>
                <a:latin typeface="Proximus Light" pitchFamily="2" charset="77"/>
              </a:rPr>
              <a:t>‘24 to ‘40</a:t>
            </a:r>
          </a:p>
        </p:txBody>
      </p:sp>
    </p:spTree>
    <p:extLst>
      <p:ext uri="{BB962C8B-B14F-4D97-AF65-F5344CB8AC3E}">
        <p14:creationId xmlns:p14="http://schemas.microsoft.com/office/powerpoint/2010/main" val="9232868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9FC80-0036-B067-AD5C-01CC2C98FE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509028-65B9-A42F-3D41-3F4DF3FE3DE3}"/>
              </a:ext>
            </a:extLst>
          </p:cNvPr>
          <p:cNvSpPr>
            <a:spLocks noGrp="1"/>
          </p:cNvSpPr>
          <p:nvPr>
            <p:ph type="title"/>
          </p:nvPr>
        </p:nvSpPr>
        <p:spPr>
          <a:xfrm>
            <a:off x="1226989" y="377826"/>
            <a:ext cx="7455051" cy="660092"/>
          </a:xfrm>
        </p:spPr>
        <p:txBody>
          <a:bodyPr anchor="ctr"/>
          <a:lstStyle/>
          <a:p>
            <a:r>
              <a:rPr lang="en-GB">
                <a:solidFill>
                  <a:srgbClr val="2A2234"/>
                </a:solidFill>
              </a:rPr>
              <a:t>Building </a:t>
            </a:r>
            <a:r>
              <a:rPr lang="en-GB" err="1">
                <a:solidFill>
                  <a:srgbClr val="2A2234"/>
                </a:solidFill>
              </a:rPr>
              <a:t>outphasing</a:t>
            </a:r>
            <a:endParaRPr lang="en-GB">
              <a:solidFill>
                <a:srgbClr val="2A2234"/>
              </a:solidFill>
            </a:endParaRPr>
          </a:p>
        </p:txBody>
      </p:sp>
      <p:sp>
        <p:nvSpPr>
          <p:cNvPr id="39" name="!!OVAL_network">
            <a:extLst>
              <a:ext uri="{FF2B5EF4-FFF2-40B4-BE49-F238E27FC236}">
                <a16:creationId xmlns:a16="http://schemas.microsoft.com/office/drawing/2014/main" id="{94AF0591-2309-D779-2B1E-99BD1EB56A7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4DA1FCA8-3F27-EA10-685D-A7EB66EE07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3" name="Rounded Rectangle 16">
            <a:extLst>
              <a:ext uri="{FF2B5EF4-FFF2-40B4-BE49-F238E27FC236}">
                <a16:creationId xmlns:a16="http://schemas.microsoft.com/office/drawing/2014/main" id="{2319ADA7-56F6-23D8-8EC8-C4F8AD19DE62}"/>
              </a:ext>
            </a:extLst>
          </p:cNvPr>
          <p:cNvSpPr/>
          <p:nvPr/>
        </p:nvSpPr>
        <p:spPr>
          <a:xfrm>
            <a:off x="461965" y="1090687"/>
            <a:ext cx="8220075" cy="578050"/>
          </a:xfrm>
          <a:prstGeom prst="roundRect">
            <a:avLst>
              <a:gd name="adj" fmla="val 2317"/>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defTabSz="408084"/>
            <a:r>
              <a:rPr lang="en-GB" sz="1600" dirty="0">
                <a:solidFill>
                  <a:schemeClr val="accent6"/>
                </a:solidFill>
                <a:latin typeface="Proximus Light" pitchFamily="2" charset="77"/>
              </a:rPr>
              <a:t>Buildings … reformatted into ultra compact solutions</a:t>
            </a:r>
          </a:p>
          <a:p>
            <a:pPr defTabSz="408084"/>
            <a:endParaRPr lang="en-GB" sz="1100" dirty="0">
              <a:solidFill>
                <a:schemeClr val="accent6"/>
              </a:solidFill>
              <a:latin typeface="Proximus Light" pitchFamily="2" charset="77"/>
            </a:endParaRPr>
          </a:p>
        </p:txBody>
      </p:sp>
      <p:pic>
        <p:nvPicPr>
          <p:cNvPr id="30" name="Picture 17">
            <a:extLst>
              <a:ext uri="{FF2B5EF4-FFF2-40B4-BE49-F238E27FC236}">
                <a16:creationId xmlns:a16="http://schemas.microsoft.com/office/drawing/2014/main" id="{C383A67C-2A40-5982-0534-52D6CD97720C}"/>
              </a:ext>
            </a:extLst>
          </p:cNvPr>
          <p:cNvPicPr>
            <a:picLocks/>
          </p:cNvPicPr>
          <p:nvPr/>
        </p:nvPicPr>
        <p:blipFill>
          <a:blip r:embed="rId5"/>
          <a:srcRect l="9370" t="4152" r="13523"/>
          <a:stretch/>
        </p:blipFill>
        <p:spPr>
          <a:xfrm>
            <a:off x="460375" y="1532079"/>
            <a:ext cx="1181238" cy="1017538"/>
          </a:xfrm>
          <a:prstGeom prst="round2SameRect">
            <a:avLst>
              <a:gd name="adj1" fmla="val 7737"/>
              <a:gd name="adj2" fmla="val 7671"/>
            </a:avLst>
          </a:prstGeom>
          <a:blipFill>
            <a:blip r:embed="rId6">
              <a:extLst>
                <a:ext uri="{96DAC541-7B7A-43D3-8B79-37D633B846F1}">
                  <asvg:svgBlip xmlns:asvg="http://schemas.microsoft.com/office/drawing/2016/SVG/main" r:embed="rId7"/>
                </a:ext>
              </a:extLst>
            </a:blip>
            <a:stretch>
              <a:fillRect/>
            </a:stretch>
          </a:blipFill>
          <a:ln>
            <a:noFill/>
          </a:ln>
          <a:effectLst/>
        </p:spPr>
      </p:pic>
      <p:sp>
        <p:nvSpPr>
          <p:cNvPr id="37" name="TextBox 22">
            <a:extLst>
              <a:ext uri="{FF2B5EF4-FFF2-40B4-BE49-F238E27FC236}">
                <a16:creationId xmlns:a16="http://schemas.microsoft.com/office/drawing/2014/main" id="{6B3DA3A0-7C5B-D326-D90F-95EEFEF30DD2}"/>
              </a:ext>
            </a:extLst>
          </p:cNvPr>
          <p:cNvSpPr txBox="1"/>
          <p:nvPr/>
        </p:nvSpPr>
        <p:spPr>
          <a:xfrm>
            <a:off x="460375" y="2341492"/>
            <a:ext cx="1181238" cy="208126"/>
          </a:xfrm>
          <a:prstGeom prst="round2SameRect">
            <a:avLst>
              <a:gd name="adj1" fmla="val 0"/>
              <a:gd name="adj2" fmla="val 35720"/>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pPr algn="ctr" defTabSz="408084"/>
            <a:r>
              <a:rPr lang="en-GB" sz="900" err="1">
                <a:solidFill>
                  <a:prstClr val="white"/>
                </a:solidFill>
                <a:latin typeface="Proximus Light" pitchFamily="2" charset="77"/>
              </a:rPr>
              <a:t>OVD</a:t>
            </a:r>
            <a:endParaRPr lang="en-GB" sz="900">
              <a:solidFill>
                <a:prstClr val="white"/>
              </a:solidFill>
              <a:latin typeface="Proximus Light" pitchFamily="2" charset="77"/>
            </a:endParaRPr>
          </a:p>
        </p:txBody>
      </p:sp>
      <p:pic>
        <p:nvPicPr>
          <p:cNvPr id="41" name="Picture 17">
            <a:extLst>
              <a:ext uri="{FF2B5EF4-FFF2-40B4-BE49-F238E27FC236}">
                <a16:creationId xmlns:a16="http://schemas.microsoft.com/office/drawing/2014/main" id="{DC37B7EB-EA76-680C-0BA8-1617F7C5A9F5}"/>
              </a:ext>
            </a:extLst>
          </p:cNvPr>
          <p:cNvPicPr>
            <a:picLocks/>
          </p:cNvPicPr>
          <p:nvPr/>
        </p:nvPicPr>
        <p:blipFill>
          <a:blip r:embed="rId8"/>
          <a:srcRect t="7955" b="7955"/>
          <a:stretch/>
        </p:blipFill>
        <p:spPr>
          <a:xfrm>
            <a:off x="460375" y="2607740"/>
            <a:ext cx="1181238" cy="1017538"/>
          </a:xfrm>
          <a:prstGeom prst="round2SameRect">
            <a:avLst>
              <a:gd name="adj1" fmla="val 7371"/>
              <a:gd name="adj2" fmla="val 9863"/>
            </a:avLst>
          </a:prstGeom>
          <a:blipFill>
            <a:blip r:embed="rId6">
              <a:extLst>
                <a:ext uri="{96DAC541-7B7A-43D3-8B79-37D633B846F1}">
                  <asvg:svgBlip xmlns:asvg="http://schemas.microsoft.com/office/drawing/2016/SVG/main" r:embed="rId7"/>
                </a:ext>
              </a:extLst>
            </a:blip>
            <a:stretch>
              <a:fillRect/>
            </a:stretch>
          </a:blipFill>
          <a:ln>
            <a:noFill/>
          </a:ln>
          <a:effectLst/>
        </p:spPr>
      </p:pic>
      <p:sp>
        <p:nvSpPr>
          <p:cNvPr id="42" name="TextBox 22">
            <a:extLst>
              <a:ext uri="{FF2B5EF4-FFF2-40B4-BE49-F238E27FC236}">
                <a16:creationId xmlns:a16="http://schemas.microsoft.com/office/drawing/2014/main" id="{349DDDA6-F3D3-E97A-B075-AE9D90CB2886}"/>
              </a:ext>
            </a:extLst>
          </p:cNvPr>
          <p:cNvSpPr txBox="1"/>
          <p:nvPr/>
        </p:nvSpPr>
        <p:spPr>
          <a:xfrm>
            <a:off x="460375" y="3417153"/>
            <a:ext cx="1181238" cy="208126"/>
          </a:xfrm>
          <a:prstGeom prst="round2SameRect">
            <a:avLst>
              <a:gd name="adj1" fmla="val 0"/>
              <a:gd name="adj2" fmla="val 44649"/>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pPr algn="ctr" defTabSz="408084"/>
            <a:r>
              <a:rPr lang="en-GB" sz="900">
                <a:solidFill>
                  <a:prstClr val="white"/>
                </a:solidFill>
                <a:latin typeface="Proximus Light" pitchFamily="2" charset="77"/>
              </a:rPr>
              <a:t>Optimus</a:t>
            </a:r>
          </a:p>
        </p:txBody>
      </p:sp>
      <p:pic>
        <p:nvPicPr>
          <p:cNvPr id="43" name="Picture 17">
            <a:extLst>
              <a:ext uri="{FF2B5EF4-FFF2-40B4-BE49-F238E27FC236}">
                <a16:creationId xmlns:a16="http://schemas.microsoft.com/office/drawing/2014/main" id="{D97D2723-EA55-B8F8-CC69-F8736FC8045A}"/>
              </a:ext>
            </a:extLst>
          </p:cNvPr>
          <p:cNvPicPr>
            <a:picLocks/>
          </p:cNvPicPr>
          <p:nvPr/>
        </p:nvPicPr>
        <p:blipFill rotWithShape="1">
          <a:blip r:embed="rId9"/>
          <a:srcRect t="7244" r="1566" b="5679"/>
          <a:stretch/>
        </p:blipFill>
        <p:spPr>
          <a:xfrm>
            <a:off x="461500" y="3680402"/>
            <a:ext cx="1181238" cy="1017538"/>
          </a:xfrm>
          <a:prstGeom prst="round2SameRect">
            <a:avLst>
              <a:gd name="adj1" fmla="val 7006"/>
              <a:gd name="adj2" fmla="val 11324"/>
            </a:avLst>
          </a:prstGeom>
          <a:blipFill>
            <a:blip r:embed="rId6">
              <a:extLst>
                <a:ext uri="{96DAC541-7B7A-43D3-8B79-37D633B846F1}">
                  <asvg:svgBlip xmlns:asvg="http://schemas.microsoft.com/office/drawing/2016/SVG/main" r:embed="rId7"/>
                </a:ext>
              </a:extLst>
            </a:blip>
            <a:stretch>
              <a:fillRect/>
            </a:stretch>
          </a:blipFill>
          <a:ln>
            <a:noFill/>
          </a:ln>
          <a:effectLst/>
        </p:spPr>
      </p:pic>
      <p:sp>
        <p:nvSpPr>
          <p:cNvPr id="44" name="TextBox 22">
            <a:extLst>
              <a:ext uri="{FF2B5EF4-FFF2-40B4-BE49-F238E27FC236}">
                <a16:creationId xmlns:a16="http://schemas.microsoft.com/office/drawing/2014/main" id="{036FA643-71F6-0BEB-239A-25495791E0BA}"/>
              </a:ext>
            </a:extLst>
          </p:cNvPr>
          <p:cNvSpPr txBox="1"/>
          <p:nvPr/>
        </p:nvSpPr>
        <p:spPr>
          <a:xfrm>
            <a:off x="461500" y="4489815"/>
            <a:ext cx="1181238" cy="208126"/>
          </a:xfrm>
          <a:prstGeom prst="round2SameRect">
            <a:avLst>
              <a:gd name="adj1" fmla="val 0"/>
              <a:gd name="adj2" fmla="val 46436"/>
            </a:avLst>
          </a:prstGeom>
          <a:gradFill flip="none" rotWithShape="1">
            <a:gsLst>
              <a:gs pos="0">
                <a:schemeClr val="bg1"/>
              </a:gs>
              <a:gs pos="98000">
                <a:schemeClr val="accent2"/>
              </a:gs>
            </a:gsLst>
            <a:lin ang="0" scaled="1"/>
            <a:tileRect/>
          </a:gradFill>
        </p:spPr>
        <p:txBody>
          <a:bodyPr vert="horz" wrap="none" lIns="108000" tIns="36000" rIns="108000" bIns="36000" numCol="1" spcCol="0" rtlCol="0" anchor="ctr" anchorCtr="1">
            <a:noAutofit/>
          </a:bodyPr>
          <a:lstStyle/>
          <a:p>
            <a:pPr algn="ctr" defTabSz="408084"/>
            <a:r>
              <a:rPr lang="en-GB" sz="900">
                <a:solidFill>
                  <a:prstClr val="white"/>
                </a:solidFill>
                <a:latin typeface="Proximus Light" pitchFamily="2" charset="77"/>
              </a:rPr>
              <a:t>Atropos</a:t>
            </a:r>
          </a:p>
        </p:txBody>
      </p:sp>
      <p:pic>
        <p:nvPicPr>
          <p:cNvPr id="15" name="Picture 72">
            <a:extLst>
              <a:ext uri="{FF2B5EF4-FFF2-40B4-BE49-F238E27FC236}">
                <a16:creationId xmlns:a16="http://schemas.microsoft.com/office/drawing/2014/main" id="{0BA7545A-2812-C872-3936-BC5DAECDD03B}"/>
              </a:ext>
            </a:extLst>
          </p:cNvPr>
          <p:cNvPicPr preferRelativeResize="0"/>
          <p:nvPr/>
        </p:nvPicPr>
        <p:blipFill>
          <a:blip r:embed="rId10"/>
          <a:stretch>
            <a:fillRect/>
          </a:stretch>
        </p:blipFill>
        <p:spPr>
          <a:xfrm>
            <a:off x="1777804" y="1759651"/>
            <a:ext cx="604467" cy="583957"/>
          </a:xfrm>
          <a:prstGeom prst="ellipse">
            <a:avLst/>
          </a:prstGeom>
          <a:ln w="28575">
            <a:solidFill>
              <a:schemeClr val="bg1"/>
            </a:solidFill>
          </a:ln>
        </p:spPr>
      </p:pic>
      <p:pic>
        <p:nvPicPr>
          <p:cNvPr id="16" name="Picture 73" descr="A picture containing sky, outdoor, platform, railroad&#10;&#10;Description automatically generated">
            <a:extLst>
              <a:ext uri="{FF2B5EF4-FFF2-40B4-BE49-F238E27FC236}">
                <a16:creationId xmlns:a16="http://schemas.microsoft.com/office/drawing/2014/main" id="{649BCAA5-744A-9713-0D83-429EACCC0C6E}"/>
              </a:ext>
            </a:extLst>
          </p:cNvPr>
          <p:cNvPicPr preferRelativeResize="0">
            <a:picLocks noChangeAspect="1"/>
          </p:cNvPicPr>
          <p:nvPr/>
        </p:nvPicPr>
        <p:blipFill>
          <a:blip r:embed="rId11">
            <a:extLst>
              <a:ext uri="{28A0092B-C50C-407E-A947-70E740481C1C}">
                <a14:useLocalDpi xmlns:a14="http://schemas.microsoft.com/office/drawing/2010/main" val="0"/>
              </a:ext>
            </a:extLst>
          </a:blip>
          <a:stretch>
            <a:fillRect/>
          </a:stretch>
        </p:blipFill>
        <p:spPr>
          <a:xfrm>
            <a:off x="1782932" y="2826053"/>
            <a:ext cx="583957" cy="583956"/>
          </a:xfrm>
          <a:prstGeom prst="ellipse">
            <a:avLst/>
          </a:prstGeom>
          <a:ln w="28575">
            <a:solidFill>
              <a:schemeClr val="bg1"/>
            </a:solidFill>
          </a:ln>
        </p:spPr>
      </p:pic>
      <p:pic>
        <p:nvPicPr>
          <p:cNvPr id="17" name="Picture 74">
            <a:extLst>
              <a:ext uri="{FF2B5EF4-FFF2-40B4-BE49-F238E27FC236}">
                <a16:creationId xmlns:a16="http://schemas.microsoft.com/office/drawing/2014/main" id="{6037CC33-C142-C13D-0D05-E3732C2AFDD8}"/>
              </a:ext>
            </a:extLst>
          </p:cNvPr>
          <p:cNvPicPr preferRelativeResize="0">
            <a:picLocks noChangeAspect="1"/>
          </p:cNvPicPr>
          <p:nvPr/>
        </p:nvPicPr>
        <p:blipFill>
          <a:blip r:embed="rId12"/>
          <a:stretch>
            <a:fillRect/>
          </a:stretch>
        </p:blipFill>
        <p:spPr>
          <a:xfrm>
            <a:off x="1777804" y="3897193"/>
            <a:ext cx="583957" cy="583956"/>
          </a:xfrm>
          <a:prstGeom prst="ellipse">
            <a:avLst/>
          </a:prstGeom>
          <a:ln w="28575">
            <a:solidFill>
              <a:schemeClr val="bg1"/>
            </a:solidFill>
          </a:ln>
        </p:spPr>
      </p:pic>
      <p:sp>
        <p:nvSpPr>
          <p:cNvPr id="27" name="Text Placeholder 4">
            <a:extLst>
              <a:ext uri="{FF2B5EF4-FFF2-40B4-BE49-F238E27FC236}">
                <a16:creationId xmlns:a16="http://schemas.microsoft.com/office/drawing/2014/main" id="{CFBDF491-FA7F-B919-2C7F-498A7ADB5A7D}"/>
              </a:ext>
            </a:extLst>
          </p:cNvPr>
          <p:cNvSpPr txBox="1">
            <a:spLocks/>
          </p:cNvSpPr>
          <p:nvPr/>
        </p:nvSpPr>
        <p:spPr>
          <a:xfrm>
            <a:off x="2686974" y="2304060"/>
            <a:ext cx="1657783" cy="317861"/>
          </a:xfrm>
          <a:prstGeom prst="roundRect">
            <a:avLst>
              <a:gd name="adj" fmla="val 11491"/>
            </a:avLst>
          </a:prstGeom>
          <a:noFill/>
          <a:effectLst/>
        </p:spPr>
        <p:txBody>
          <a:bodyPr vert="horz" lIns="0" tIns="0" rIns="0" bIns="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pPr>
            <a:r>
              <a:rPr lang="en-US" sz="1200">
                <a:latin typeface="Proximus Light" pitchFamily="2" charset="77"/>
              </a:rPr>
              <a:t>Industrialized </a:t>
            </a:r>
            <a:br>
              <a:rPr lang="en-US" sz="1200">
                <a:latin typeface="Proximus Light" pitchFamily="2" charset="77"/>
              </a:rPr>
            </a:br>
            <a:r>
              <a:rPr lang="en-US" sz="1200">
                <a:latin typeface="Proximus Light" pitchFamily="2" charset="77"/>
              </a:rPr>
              <a:t>solution</a:t>
            </a:r>
          </a:p>
        </p:txBody>
      </p:sp>
      <p:cxnSp>
        <p:nvCxnSpPr>
          <p:cNvPr id="28" name="Rechte verbindingslijn 12">
            <a:extLst>
              <a:ext uri="{FF2B5EF4-FFF2-40B4-BE49-F238E27FC236}">
                <a16:creationId xmlns:a16="http://schemas.microsoft.com/office/drawing/2014/main" id="{900EE578-7149-F499-1BE2-7DF8ACD7F9D3}"/>
              </a:ext>
            </a:extLst>
          </p:cNvPr>
          <p:cNvCxnSpPr>
            <a:cxnSpLocks/>
          </p:cNvCxnSpPr>
          <p:nvPr/>
        </p:nvCxnSpPr>
        <p:spPr>
          <a:xfrm flipV="1">
            <a:off x="2580568" y="1688279"/>
            <a:ext cx="0" cy="1635846"/>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4" name="Rechte verbindingslijn 12">
            <a:extLst>
              <a:ext uri="{FF2B5EF4-FFF2-40B4-BE49-F238E27FC236}">
                <a16:creationId xmlns:a16="http://schemas.microsoft.com/office/drawing/2014/main" id="{1C7EFD32-32B2-3A84-AF7E-3451099936D3}"/>
              </a:ext>
            </a:extLst>
          </p:cNvPr>
          <p:cNvCxnSpPr>
            <a:cxnSpLocks/>
          </p:cNvCxnSpPr>
          <p:nvPr/>
        </p:nvCxnSpPr>
        <p:spPr>
          <a:xfrm flipV="1">
            <a:off x="2580568" y="3793916"/>
            <a:ext cx="0" cy="920422"/>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40" name="Text Placeholder 4">
            <a:extLst>
              <a:ext uri="{FF2B5EF4-FFF2-40B4-BE49-F238E27FC236}">
                <a16:creationId xmlns:a16="http://schemas.microsoft.com/office/drawing/2014/main" id="{245061FD-085B-467A-278C-721BE38FFE8D}"/>
              </a:ext>
            </a:extLst>
          </p:cNvPr>
          <p:cNvSpPr txBox="1">
            <a:spLocks/>
          </p:cNvSpPr>
          <p:nvPr/>
        </p:nvSpPr>
        <p:spPr>
          <a:xfrm>
            <a:off x="2686974" y="3998554"/>
            <a:ext cx="1657783" cy="614194"/>
          </a:xfrm>
          <a:prstGeom prst="roundRect">
            <a:avLst>
              <a:gd name="adj" fmla="val 11491"/>
            </a:avLst>
          </a:prstGeom>
          <a:noFill/>
          <a:effectLst/>
        </p:spPr>
        <p:txBody>
          <a:bodyPr vert="horz" lIns="0" tIns="0" rIns="0" bIns="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pPr>
            <a:r>
              <a:rPr lang="en-US" sz="1200">
                <a:latin typeface="Proximus Light" pitchFamily="2" charset="77"/>
              </a:rPr>
              <a:t>Tailor-made </a:t>
            </a:r>
            <a:br>
              <a:rPr lang="en-US" sz="1200">
                <a:latin typeface="Proximus Light" pitchFamily="2" charset="77"/>
              </a:rPr>
            </a:br>
            <a:r>
              <a:rPr lang="en-US" sz="1200">
                <a:latin typeface="Proximus Light" pitchFamily="2" charset="77"/>
              </a:rPr>
              <a:t>solution</a:t>
            </a:r>
          </a:p>
        </p:txBody>
      </p:sp>
      <p:grpSp>
        <p:nvGrpSpPr>
          <p:cNvPr id="51" name="Group 8">
            <a:extLst>
              <a:ext uri="{FF2B5EF4-FFF2-40B4-BE49-F238E27FC236}">
                <a16:creationId xmlns:a16="http://schemas.microsoft.com/office/drawing/2014/main" id="{51C9AC82-BDE2-140C-53D5-D040840C9FE7}"/>
              </a:ext>
            </a:extLst>
          </p:cNvPr>
          <p:cNvGrpSpPr/>
          <p:nvPr/>
        </p:nvGrpSpPr>
        <p:grpSpPr>
          <a:xfrm>
            <a:off x="3793866" y="1855176"/>
            <a:ext cx="4956864" cy="2738701"/>
            <a:chOff x="4123675" y="2060237"/>
            <a:chExt cx="4630687" cy="2494301"/>
          </a:xfrm>
        </p:grpSpPr>
        <p:sp>
          <p:nvSpPr>
            <p:cNvPr id="52" name="Vrije vorm 59">
              <a:extLst>
                <a:ext uri="{FF2B5EF4-FFF2-40B4-BE49-F238E27FC236}">
                  <a16:creationId xmlns:a16="http://schemas.microsoft.com/office/drawing/2014/main" id="{CBE23B03-1823-8EC2-1405-FFD88B2A9819}"/>
                </a:ext>
              </a:extLst>
            </p:cNvPr>
            <p:cNvSpPr/>
            <p:nvPr/>
          </p:nvSpPr>
          <p:spPr>
            <a:xfrm>
              <a:off x="4752689" y="2989253"/>
              <a:ext cx="2986151" cy="1363619"/>
            </a:xfrm>
            <a:custGeom>
              <a:avLst/>
              <a:gdLst>
                <a:gd name="connsiteX0" fmla="*/ -1800 w 2986151"/>
                <a:gd name="connsiteY0" fmla="*/ 1150578 h 1363619"/>
                <a:gd name="connsiteX1" fmla="*/ 119027 w 2986151"/>
                <a:gd name="connsiteY1" fmla="*/ 1150578 h 1363619"/>
                <a:gd name="connsiteX2" fmla="*/ 119027 w 2986151"/>
                <a:gd name="connsiteY2" fmla="*/ 1363463 h 1363619"/>
                <a:gd name="connsiteX3" fmla="*/ -1800 w 2986151"/>
                <a:gd name="connsiteY3" fmla="*/ 1363463 h 1363619"/>
                <a:gd name="connsiteX4" fmla="*/ 239854 w 2986151"/>
                <a:gd name="connsiteY4" fmla="*/ 788096 h 1363619"/>
                <a:gd name="connsiteX5" fmla="*/ 360681 w 2986151"/>
                <a:gd name="connsiteY5" fmla="*/ 788096 h 1363619"/>
                <a:gd name="connsiteX6" fmla="*/ 360681 w 2986151"/>
                <a:gd name="connsiteY6" fmla="*/ 1363463 h 1363619"/>
                <a:gd name="connsiteX7" fmla="*/ 239854 w 2986151"/>
                <a:gd name="connsiteY7" fmla="*/ 1363463 h 1363619"/>
                <a:gd name="connsiteX8" fmla="*/ 475754 w 2986151"/>
                <a:gd name="connsiteY8" fmla="*/ 419862 h 1363619"/>
                <a:gd name="connsiteX9" fmla="*/ 596581 w 2986151"/>
                <a:gd name="connsiteY9" fmla="*/ 419862 h 1363619"/>
                <a:gd name="connsiteX10" fmla="*/ 596581 w 2986151"/>
                <a:gd name="connsiteY10" fmla="*/ 1363463 h 1363619"/>
                <a:gd name="connsiteX11" fmla="*/ 475754 w 2986151"/>
                <a:gd name="connsiteY11" fmla="*/ 1363463 h 1363619"/>
                <a:gd name="connsiteX12" fmla="*/ 717408 w 2986151"/>
                <a:gd name="connsiteY12" fmla="*/ 103410 h 1363619"/>
                <a:gd name="connsiteX13" fmla="*/ 838235 w 2986151"/>
                <a:gd name="connsiteY13" fmla="*/ 103410 h 1363619"/>
                <a:gd name="connsiteX14" fmla="*/ 838235 w 2986151"/>
                <a:gd name="connsiteY14" fmla="*/ 1363463 h 1363619"/>
                <a:gd name="connsiteX15" fmla="*/ 717408 w 2986151"/>
                <a:gd name="connsiteY15" fmla="*/ 1363463 h 1363619"/>
                <a:gd name="connsiteX16" fmla="*/ 953308 w 2986151"/>
                <a:gd name="connsiteY16" fmla="*/ 51627 h 1363619"/>
                <a:gd name="connsiteX17" fmla="*/ 1074135 w 2986151"/>
                <a:gd name="connsiteY17" fmla="*/ 51627 h 1363619"/>
                <a:gd name="connsiteX18" fmla="*/ 1074135 w 2986151"/>
                <a:gd name="connsiteY18" fmla="*/ 1363463 h 1363619"/>
                <a:gd name="connsiteX19" fmla="*/ 953308 w 2986151"/>
                <a:gd name="connsiteY19" fmla="*/ 1363463 h 1363619"/>
                <a:gd name="connsiteX20" fmla="*/ 1194962 w 2986151"/>
                <a:gd name="connsiteY20" fmla="*/ -156 h 1363619"/>
                <a:gd name="connsiteX21" fmla="*/ 1310035 w 2986151"/>
                <a:gd name="connsiteY21" fmla="*/ -156 h 1363619"/>
                <a:gd name="connsiteX22" fmla="*/ 1310035 w 2986151"/>
                <a:gd name="connsiteY22" fmla="*/ 1363463 h 1363619"/>
                <a:gd name="connsiteX23" fmla="*/ 1194962 w 2986151"/>
                <a:gd name="connsiteY23" fmla="*/ 1363463 h 1363619"/>
                <a:gd name="connsiteX24" fmla="*/ 1430862 w 2986151"/>
                <a:gd name="connsiteY24" fmla="*/ 368079 h 1363619"/>
                <a:gd name="connsiteX25" fmla="*/ 1551689 w 2986151"/>
                <a:gd name="connsiteY25" fmla="*/ 368079 h 1363619"/>
                <a:gd name="connsiteX26" fmla="*/ 1551689 w 2986151"/>
                <a:gd name="connsiteY26" fmla="*/ 1363463 h 1363619"/>
                <a:gd name="connsiteX27" fmla="*/ 1430862 w 2986151"/>
                <a:gd name="connsiteY27" fmla="*/ 1363463 h 1363619"/>
                <a:gd name="connsiteX28" fmla="*/ 1672516 w 2986151"/>
                <a:gd name="connsiteY28" fmla="*/ 736313 h 1363619"/>
                <a:gd name="connsiteX29" fmla="*/ 1787589 w 2986151"/>
                <a:gd name="connsiteY29" fmla="*/ 736313 h 1363619"/>
                <a:gd name="connsiteX30" fmla="*/ 1787589 w 2986151"/>
                <a:gd name="connsiteY30" fmla="*/ 1363463 h 1363619"/>
                <a:gd name="connsiteX31" fmla="*/ 1672516 w 2986151"/>
                <a:gd name="connsiteY31" fmla="*/ 1363463 h 1363619"/>
                <a:gd name="connsiteX32" fmla="*/ 1908416 w 2986151"/>
                <a:gd name="connsiteY32" fmla="*/ 788096 h 1363619"/>
                <a:gd name="connsiteX33" fmla="*/ 2029243 w 2986151"/>
                <a:gd name="connsiteY33" fmla="*/ 788096 h 1363619"/>
                <a:gd name="connsiteX34" fmla="*/ 2029243 w 2986151"/>
                <a:gd name="connsiteY34" fmla="*/ 1363463 h 1363619"/>
                <a:gd name="connsiteX35" fmla="*/ 1908416 w 2986151"/>
                <a:gd name="connsiteY35" fmla="*/ 1363463 h 1363619"/>
                <a:gd name="connsiteX36" fmla="*/ 2150070 w 2986151"/>
                <a:gd name="connsiteY36" fmla="*/ 1098795 h 1363619"/>
                <a:gd name="connsiteX37" fmla="*/ 2265143 w 2986151"/>
                <a:gd name="connsiteY37" fmla="*/ 1098795 h 1363619"/>
                <a:gd name="connsiteX38" fmla="*/ 2265143 w 2986151"/>
                <a:gd name="connsiteY38" fmla="*/ 1363463 h 1363619"/>
                <a:gd name="connsiteX39" fmla="*/ 2150070 w 2986151"/>
                <a:gd name="connsiteY39" fmla="*/ 1363463 h 1363619"/>
                <a:gd name="connsiteX40" fmla="*/ 2385970 w 2986151"/>
                <a:gd name="connsiteY40" fmla="*/ 1098795 h 1363619"/>
                <a:gd name="connsiteX41" fmla="*/ 2506797 w 2986151"/>
                <a:gd name="connsiteY41" fmla="*/ 1098795 h 1363619"/>
                <a:gd name="connsiteX42" fmla="*/ 2506797 w 2986151"/>
                <a:gd name="connsiteY42" fmla="*/ 1363463 h 1363619"/>
                <a:gd name="connsiteX43" fmla="*/ 2385970 w 2986151"/>
                <a:gd name="connsiteY43" fmla="*/ 1363463 h 1363619"/>
                <a:gd name="connsiteX44" fmla="*/ 2627624 w 2986151"/>
                <a:gd name="connsiteY44" fmla="*/ 1098795 h 1363619"/>
                <a:gd name="connsiteX45" fmla="*/ 2742697 w 2986151"/>
                <a:gd name="connsiteY45" fmla="*/ 1098795 h 1363619"/>
                <a:gd name="connsiteX46" fmla="*/ 2742697 w 2986151"/>
                <a:gd name="connsiteY46" fmla="*/ 1363463 h 1363619"/>
                <a:gd name="connsiteX47" fmla="*/ 2627624 w 2986151"/>
                <a:gd name="connsiteY47" fmla="*/ 1363463 h 1363619"/>
                <a:gd name="connsiteX48" fmla="*/ 2863524 w 2986151"/>
                <a:gd name="connsiteY48" fmla="*/ 1259897 h 1363619"/>
                <a:gd name="connsiteX49" fmla="*/ 2984351 w 2986151"/>
                <a:gd name="connsiteY49" fmla="*/ 1259897 h 1363619"/>
                <a:gd name="connsiteX50" fmla="*/ 2984351 w 2986151"/>
                <a:gd name="connsiteY50" fmla="*/ 1363463 h 1363619"/>
                <a:gd name="connsiteX51" fmla="*/ 2863524 w 2986151"/>
                <a:gd name="connsiteY51" fmla="*/ 1363463 h 136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86151" h="1363619">
                  <a:moveTo>
                    <a:pt x="-1800" y="1150578"/>
                  </a:moveTo>
                  <a:lnTo>
                    <a:pt x="119027" y="1150578"/>
                  </a:lnTo>
                  <a:lnTo>
                    <a:pt x="119027" y="1363463"/>
                  </a:lnTo>
                  <a:lnTo>
                    <a:pt x="-1800" y="1363463"/>
                  </a:lnTo>
                  <a:close/>
                  <a:moveTo>
                    <a:pt x="239854" y="788096"/>
                  </a:moveTo>
                  <a:lnTo>
                    <a:pt x="360681" y="788096"/>
                  </a:lnTo>
                  <a:lnTo>
                    <a:pt x="360681" y="1363463"/>
                  </a:lnTo>
                  <a:lnTo>
                    <a:pt x="239854" y="1363463"/>
                  </a:lnTo>
                  <a:close/>
                  <a:moveTo>
                    <a:pt x="475754" y="419862"/>
                  </a:moveTo>
                  <a:lnTo>
                    <a:pt x="596581" y="419862"/>
                  </a:lnTo>
                  <a:lnTo>
                    <a:pt x="596581" y="1363463"/>
                  </a:lnTo>
                  <a:lnTo>
                    <a:pt x="475754" y="1363463"/>
                  </a:lnTo>
                  <a:close/>
                  <a:moveTo>
                    <a:pt x="717408" y="103410"/>
                  </a:moveTo>
                  <a:lnTo>
                    <a:pt x="838235" y="103410"/>
                  </a:lnTo>
                  <a:lnTo>
                    <a:pt x="838235" y="1363463"/>
                  </a:lnTo>
                  <a:lnTo>
                    <a:pt x="717408" y="1363463"/>
                  </a:lnTo>
                  <a:close/>
                  <a:moveTo>
                    <a:pt x="953308" y="51627"/>
                  </a:moveTo>
                  <a:lnTo>
                    <a:pt x="1074135" y="51627"/>
                  </a:lnTo>
                  <a:lnTo>
                    <a:pt x="1074135" y="1363463"/>
                  </a:lnTo>
                  <a:lnTo>
                    <a:pt x="953308" y="1363463"/>
                  </a:lnTo>
                  <a:close/>
                  <a:moveTo>
                    <a:pt x="1194962" y="-156"/>
                  </a:moveTo>
                  <a:lnTo>
                    <a:pt x="1310035" y="-156"/>
                  </a:lnTo>
                  <a:lnTo>
                    <a:pt x="1310035" y="1363463"/>
                  </a:lnTo>
                  <a:lnTo>
                    <a:pt x="1194962" y="1363463"/>
                  </a:lnTo>
                  <a:close/>
                  <a:moveTo>
                    <a:pt x="1430862" y="368079"/>
                  </a:moveTo>
                  <a:lnTo>
                    <a:pt x="1551689" y="368079"/>
                  </a:lnTo>
                  <a:lnTo>
                    <a:pt x="1551689" y="1363463"/>
                  </a:lnTo>
                  <a:lnTo>
                    <a:pt x="1430862" y="1363463"/>
                  </a:lnTo>
                  <a:close/>
                  <a:moveTo>
                    <a:pt x="1672516" y="736313"/>
                  </a:moveTo>
                  <a:lnTo>
                    <a:pt x="1787589" y="736313"/>
                  </a:lnTo>
                  <a:lnTo>
                    <a:pt x="1787589" y="1363463"/>
                  </a:lnTo>
                  <a:lnTo>
                    <a:pt x="1672516" y="1363463"/>
                  </a:lnTo>
                  <a:close/>
                  <a:moveTo>
                    <a:pt x="1908416" y="788096"/>
                  </a:moveTo>
                  <a:lnTo>
                    <a:pt x="2029243" y="788096"/>
                  </a:lnTo>
                  <a:lnTo>
                    <a:pt x="2029243" y="1363463"/>
                  </a:lnTo>
                  <a:lnTo>
                    <a:pt x="1908416" y="1363463"/>
                  </a:lnTo>
                  <a:close/>
                  <a:moveTo>
                    <a:pt x="2150070" y="1098795"/>
                  </a:moveTo>
                  <a:lnTo>
                    <a:pt x="2265143" y="1098795"/>
                  </a:lnTo>
                  <a:lnTo>
                    <a:pt x="2265143" y="1363463"/>
                  </a:lnTo>
                  <a:lnTo>
                    <a:pt x="2150070" y="1363463"/>
                  </a:lnTo>
                  <a:close/>
                  <a:moveTo>
                    <a:pt x="2385970" y="1098795"/>
                  </a:moveTo>
                  <a:lnTo>
                    <a:pt x="2506797" y="1098795"/>
                  </a:lnTo>
                  <a:lnTo>
                    <a:pt x="2506797" y="1363463"/>
                  </a:lnTo>
                  <a:lnTo>
                    <a:pt x="2385970" y="1363463"/>
                  </a:lnTo>
                  <a:close/>
                  <a:moveTo>
                    <a:pt x="2627624" y="1098795"/>
                  </a:moveTo>
                  <a:lnTo>
                    <a:pt x="2742697" y="1098795"/>
                  </a:lnTo>
                  <a:lnTo>
                    <a:pt x="2742697" y="1363463"/>
                  </a:lnTo>
                  <a:lnTo>
                    <a:pt x="2627624" y="1363463"/>
                  </a:lnTo>
                  <a:close/>
                  <a:moveTo>
                    <a:pt x="2863524" y="1259897"/>
                  </a:moveTo>
                  <a:lnTo>
                    <a:pt x="2984351" y="1259897"/>
                  </a:lnTo>
                  <a:lnTo>
                    <a:pt x="2984351" y="1363463"/>
                  </a:lnTo>
                  <a:lnTo>
                    <a:pt x="2863524" y="1363463"/>
                  </a:lnTo>
                  <a:close/>
                </a:path>
              </a:pathLst>
            </a:custGeom>
            <a:solidFill>
              <a:schemeClr val="accent2"/>
            </a:solidFill>
            <a:ln w="5744" cap="flat">
              <a:noFill/>
              <a:prstDash val="solid"/>
              <a:miter/>
            </a:ln>
          </p:spPr>
          <p:txBody>
            <a:bodyPr rtlCol="0" anchor="ctr"/>
            <a:lstStyle/>
            <a:p>
              <a:endParaRPr lang="nl-BE"/>
            </a:p>
          </p:txBody>
        </p:sp>
        <p:sp>
          <p:nvSpPr>
            <p:cNvPr id="53" name="Vrije vorm 60">
              <a:extLst>
                <a:ext uri="{FF2B5EF4-FFF2-40B4-BE49-F238E27FC236}">
                  <a16:creationId xmlns:a16="http://schemas.microsoft.com/office/drawing/2014/main" id="{4B5B12CE-9191-DC8D-E7E9-33EE09181D52}"/>
                </a:ext>
              </a:extLst>
            </p:cNvPr>
            <p:cNvSpPr/>
            <p:nvPr/>
          </p:nvSpPr>
          <p:spPr>
            <a:xfrm>
              <a:off x="4752689" y="2822397"/>
              <a:ext cx="3699605" cy="1530475"/>
            </a:xfrm>
            <a:custGeom>
              <a:avLst/>
              <a:gdLst>
                <a:gd name="connsiteX0" fmla="*/ -1800 w 3699605"/>
                <a:gd name="connsiteY0" fmla="*/ 1162085 h 1530475"/>
                <a:gd name="connsiteX1" fmla="*/ 119027 w 3699605"/>
                <a:gd name="connsiteY1" fmla="*/ 1162085 h 1530475"/>
                <a:gd name="connsiteX2" fmla="*/ 119027 w 3699605"/>
                <a:gd name="connsiteY2" fmla="*/ 1317434 h 1530475"/>
                <a:gd name="connsiteX3" fmla="*/ -1800 w 3699605"/>
                <a:gd name="connsiteY3" fmla="*/ 1317434 h 1530475"/>
                <a:gd name="connsiteX4" fmla="*/ 239854 w 3699605"/>
                <a:gd name="connsiteY4" fmla="*/ 684530 h 1530475"/>
                <a:gd name="connsiteX5" fmla="*/ 360681 w 3699605"/>
                <a:gd name="connsiteY5" fmla="*/ 684530 h 1530475"/>
                <a:gd name="connsiteX6" fmla="*/ 360681 w 3699605"/>
                <a:gd name="connsiteY6" fmla="*/ 954953 h 1530475"/>
                <a:gd name="connsiteX7" fmla="*/ 239854 w 3699605"/>
                <a:gd name="connsiteY7" fmla="*/ 954953 h 1530475"/>
                <a:gd name="connsiteX8" fmla="*/ 475754 w 3699605"/>
                <a:gd name="connsiteY8" fmla="*/ 293281 h 1530475"/>
                <a:gd name="connsiteX9" fmla="*/ 596581 w 3699605"/>
                <a:gd name="connsiteY9" fmla="*/ 293281 h 1530475"/>
                <a:gd name="connsiteX10" fmla="*/ 596581 w 3699605"/>
                <a:gd name="connsiteY10" fmla="*/ 586718 h 1530475"/>
                <a:gd name="connsiteX11" fmla="*/ 475754 w 3699605"/>
                <a:gd name="connsiteY11" fmla="*/ 586718 h 1530475"/>
                <a:gd name="connsiteX12" fmla="*/ 717408 w 3699605"/>
                <a:gd name="connsiteY12" fmla="*/ -156 h 1530475"/>
                <a:gd name="connsiteX13" fmla="*/ 838235 w 3699605"/>
                <a:gd name="connsiteY13" fmla="*/ -156 h 1530475"/>
                <a:gd name="connsiteX14" fmla="*/ 838235 w 3699605"/>
                <a:gd name="connsiteY14" fmla="*/ 270266 h 1530475"/>
                <a:gd name="connsiteX15" fmla="*/ 717408 w 3699605"/>
                <a:gd name="connsiteY15" fmla="*/ 270266 h 1530475"/>
                <a:gd name="connsiteX16" fmla="*/ 953308 w 3699605"/>
                <a:gd name="connsiteY16" fmla="*/ 126425 h 1530475"/>
                <a:gd name="connsiteX17" fmla="*/ 1074135 w 3699605"/>
                <a:gd name="connsiteY17" fmla="*/ 126425 h 1530475"/>
                <a:gd name="connsiteX18" fmla="*/ 1074135 w 3699605"/>
                <a:gd name="connsiteY18" fmla="*/ 218483 h 1530475"/>
                <a:gd name="connsiteX19" fmla="*/ 953308 w 3699605"/>
                <a:gd name="connsiteY19" fmla="*/ 218483 h 1530475"/>
                <a:gd name="connsiteX20" fmla="*/ 1194962 w 3699605"/>
                <a:gd name="connsiteY20" fmla="*/ 74642 h 1530475"/>
                <a:gd name="connsiteX21" fmla="*/ 1310035 w 3699605"/>
                <a:gd name="connsiteY21" fmla="*/ 74642 h 1530475"/>
                <a:gd name="connsiteX22" fmla="*/ 1310035 w 3699605"/>
                <a:gd name="connsiteY22" fmla="*/ 166700 h 1530475"/>
                <a:gd name="connsiteX23" fmla="*/ 1194962 w 3699605"/>
                <a:gd name="connsiteY23" fmla="*/ 166700 h 1530475"/>
                <a:gd name="connsiteX24" fmla="*/ 1430862 w 3699605"/>
                <a:gd name="connsiteY24" fmla="*/ 264513 h 1530475"/>
                <a:gd name="connsiteX25" fmla="*/ 1551689 w 3699605"/>
                <a:gd name="connsiteY25" fmla="*/ 264513 h 1530475"/>
                <a:gd name="connsiteX26" fmla="*/ 1551689 w 3699605"/>
                <a:gd name="connsiteY26" fmla="*/ 534935 h 1530475"/>
                <a:gd name="connsiteX27" fmla="*/ 1430862 w 3699605"/>
                <a:gd name="connsiteY27" fmla="*/ 534935 h 1530475"/>
                <a:gd name="connsiteX28" fmla="*/ 1672516 w 3699605"/>
                <a:gd name="connsiteY28" fmla="*/ 494659 h 1530475"/>
                <a:gd name="connsiteX29" fmla="*/ 1787589 w 3699605"/>
                <a:gd name="connsiteY29" fmla="*/ 494659 h 1530475"/>
                <a:gd name="connsiteX30" fmla="*/ 1787589 w 3699605"/>
                <a:gd name="connsiteY30" fmla="*/ 903170 h 1530475"/>
                <a:gd name="connsiteX31" fmla="*/ 1672516 w 3699605"/>
                <a:gd name="connsiteY31" fmla="*/ 903170 h 1530475"/>
                <a:gd name="connsiteX32" fmla="*/ 1908416 w 3699605"/>
                <a:gd name="connsiteY32" fmla="*/ 437123 h 1530475"/>
                <a:gd name="connsiteX33" fmla="*/ 2029243 w 3699605"/>
                <a:gd name="connsiteY33" fmla="*/ 437123 h 1530475"/>
                <a:gd name="connsiteX34" fmla="*/ 2029243 w 3699605"/>
                <a:gd name="connsiteY34" fmla="*/ 954953 h 1530475"/>
                <a:gd name="connsiteX35" fmla="*/ 1908416 w 3699605"/>
                <a:gd name="connsiteY35" fmla="*/ 954953 h 1530475"/>
                <a:gd name="connsiteX36" fmla="*/ 2150070 w 3699605"/>
                <a:gd name="connsiteY36" fmla="*/ 931938 h 1530475"/>
                <a:gd name="connsiteX37" fmla="*/ 2265143 w 3699605"/>
                <a:gd name="connsiteY37" fmla="*/ 931938 h 1530475"/>
                <a:gd name="connsiteX38" fmla="*/ 2265143 w 3699605"/>
                <a:gd name="connsiteY38" fmla="*/ 1265651 h 1530475"/>
                <a:gd name="connsiteX39" fmla="*/ 2150070 w 3699605"/>
                <a:gd name="connsiteY39" fmla="*/ 1265651 h 1530475"/>
                <a:gd name="connsiteX40" fmla="*/ 2385970 w 3699605"/>
                <a:gd name="connsiteY40" fmla="*/ 1110302 h 1530475"/>
                <a:gd name="connsiteX41" fmla="*/ 2506797 w 3699605"/>
                <a:gd name="connsiteY41" fmla="*/ 1110302 h 1530475"/>
                <a:gd name="connsiteX42" fmla="*/ 2506797 w 3699605"/>
                <a:gd name="connsiteY42" fmla="*/ 1265651 h 1530475"/>
                <a:gd name="connsiteX43" fmla="*/ 2385970 w 3699605"/>
                <a:gd name="connsiteY43" fmla="*/ 1265651 h 1530475"/>
                <a:gd name="connsiteX44" fmla="*/ 3105178 w 3699605"/>
                <a:gd name="connsiteY44" fmla="*/ 1484290 h 1530475"/>
                <a:gd name="connsiteX45" fmla="*/ 3220252 w 3699605"/>
                <a:gd name="connsiteY45" fmla="*/ 1484290 h 1530475"/>
                <a:gd name="connsiteX46" fmla="*/ 3220252 w 3699605"/>
                <a:gd name="connsiteY46" fmla="*/ 1530320 h 1530475"/>
                <a:gd name="connsiteX47" fmla="*/ 3105178 w 3699605"/>
                <a:gd name="connsiteY47" fmla="*/ 1530320 h 1530475"/>
                <a:gd name="connsiteX48" fmla="*/ 3341078 w 3699605"/>
                <a:gd name="connsiteY48" fmla="*/ 1415246 h 1530475"/>
                <a:gd name="connsiteX49" fmla="*/ 3461905 w 3699605"/>
                <a:gd name="connsiteY49" fmla="*/ 1415246 h 1530475"/>
                <a:gd name="connsiteX50" fmla="*/ 3461905 w 3699605"/>
                <a:gd name="connsiteY50" fmla="*/ 1530320 h 1530475"/>
                <a:gd name="connsiteX51" fmla="*/ 3341078 w 3699605"/>
                <a:gd name="connsiteY51" fmla="*/ 1530320 h 1530475"/>
                <a:gd name="connsiteX52" fmla="*/ 3582732 w 3699605"/>
                <a:gd name="connsiteY52" fmla="*/ 1415246 h 1530475"/>
                <a:gd name="connsiteX53" fmla="*/ 3697806 w 3699605"/>
                <a:gd name="connsiteY53" fmla="*/ 1415246 h 1530475"/>
                <a:gd name="connsiteX54" fmla="*/ 3697806 w 3699605"/>
                <a:gd name="connsiteY54" fmla="*/ 1530320 h 1530475"/>
                <a:gd name="connsiteX55" fmla="*/ 3582732 w 3699605"/>
                <a:gd name="connsiteY55" fmla="*/ 1530320 h 153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99605" h="1530475">
                  <a:moveTo>
                    <a:pt x="-1800" y="1162085"/>
                  </a:moveTo>
                  <a:lnTo>
                    <a:pt x="119027" y="1162085"/>
                  </a:lnTo>
                  <a:lnTo>
                    <a:pt x="119027" y="1317434"/>
                  </a:lnTo>
                  <a:lnTo>
                    <a:pt x="-1800" y="1317434"/>
                  </a:lnTo>
                  <a:close/>
                  <a:moveTo>
                    <a:pt x="239854" y="684530"/>
                  </a:moveTo>
                  <a:lnTo>
                    <a:pt x="360681" y="684530"/>
                  </a:lnTo>
                  <a:lnTo>
                    <a:pt x="360681" y="954953"/>
                  </a:lnTo>
                  <a:lnTo>
                    <a:pt x="239854" y="954953"/>
                  </a:lnTo>
                  <a:close/>
                  <a:moveTo>
                    <a:pt x="475754" y="293281"/>
                  </a:moveTo>
                  <a:lnTo>
                    <a:pt x="596581" y="293281"/>
                  </a:lnTo>
                  <a:lnTo>
                    <a:pt x="596581" y="586718"/>
                  </a:lnTo>
                  <a:lnTo>
                    <a:pt x="475754" y="586718"/>
                  </a:lnTo>
                  <a:close/>
                  <a:moveTo>
                    <a:pt x="717408" y="-156"/>
                  </a:moveTo>
                  <a:lnTo>
                    <a:pt x="838235" y="-156"/>
                  </a:lnTo>
                  <a:lnTo>
                    <a:pt x="838235" y="270266"/>
                  </a:lnTo>
                  <a:lnTo>
                    <a:pt x="717408" y="270266"/>
                  </a:lnTo>
                  <a:close/>
                  <a:moveTo>
                    <a:pt x="953308" y="126425"/>
                  </a:moveTo>
                  <a:lnTo>
                    <a:pt x="1074135" y="126425"/>
                  </a:lnTo>
                  <a:lnTo>
                    <a:pt x="1074135" y="218483"/>
                  </a:lnTo>
                  <a:lnTo>
                    <a:pt x="953308" y="218483"/>
                  </a:lnTo>
                  <a:close/>
                  <a:moveTo>
                    <a:pt x="1194962" y="74642"/>
                  </a:moveTo>
                  <a:lnTo>
                    <a:pt x="1310035" y="74642"/>
                  </a:lnTo>
                  <a:lnTo>
                    <a:pt x="1310035" y="166700"/>
                  </a:lnTo>
                  <a:lnTo>
                    <a:pt x="1194962" y="166700"/>
                  </a:lnTo>
                  <a:close/>
                  <a:moveTo>
                    <a:pt x="1430862" y="264513"/>
                  </a:moveTo>
                  <a:lnTo>
                    <a:pt x="1551689" y="264513"/>
                  </a:lnTo>
                  <a:lnTo>
                    <a:pt x="1551689" y="534935"/>
                  </a:lnTo>
                  <a:lnTo>
                    <a:pt x="1430862" y="534935"/>
                  </a:lnTo>
                  <a:close/>
                  <a:moveTo>
                    <a:pt x="1672516" y="494659"/>
                  </a:moveTo>
                  <a:lnTo>
                    <a:pt x="1787589" y="494659"/>
                  </a:lnTo>
                  <a:lnTo>
                    <a:pt x="1787589" y="903170"/>
                  </a:lnTo>
                  <a:lnTo>
                    <a:pt x="1672516" y="903170"/>
                  </a:lnTo>
                  <a:close/>
                  <a:moveTo>
                    <a:pt x="1908416" y="437123"/>
                  </a:moveTo>
                  <a:lnTo>
                    <a:pt x="2029243" y="437123"/>
                  </a:lnTo>
                  <a:lnTo>
                    <a:pt x="2029243" y="954953"/>
                  </a:lnTo>
                  <a:lnTo>
                    <a:pt x="1908416" y="954953"/>
                  </a:lnTo>
                  <a:close/>
                  <a:moveTo>
                    <a:pt x="2150070" y="931938"/>
                  </a:moveTo>
                  <a:lnTo>
                    <a:pt x="2265143" y="931938"/>
                  </a:lnTo>
                  <a:lnTo>
                    <a:pt x="2265143" y="1265651"/>
                  </a:lnTo>
                  <a:lnTo>
                    <a:pt x="2150070" y="1265651"/>
                  </a:lnTo>
                  <a:close/>
                  <a:moveTo>
                    <a:pt x="2385970" y="1110302"/>
                  </a:moveTo>
                  <a:lnTo>
                    <a:pt x="2506797" y="1110302"/>
                  </a:lnTo>
                  <a:lnTo>
                    <a:pt x="2506797" y="1265651"/>
                  </a:lnTo>
                  <a:lnTo>
                    <a:pt x="2385970" y="1265651"/>
                  </a:lnTo>
                  <a:close/>
                  <a:moveTo>
                    <a:pt x="3105178" y="1484290"/>
                  </a:moveTo>
                  <a:lnTo>
                    <a:pt x="3220252" y="1484290"/>
                  </a:lnTo>
                  <a:lnTo>
                    <a:pt x="3220252" y="1530320"/>
                  </a:lnTo>
                  <a:lnTo>
                    <a:pt x="3105178" y="1530320"/>
                  </a:lnTo>
                  <a:close/>
                  <a:moveTo>
                    <a:pt x="3341078" y="1415246"/>
                  </a:moveTo>
                  <a:lnTo>
                    <a:pt x="3461905" y="1415246"/>
                  </a:lnTo>
                  <a:lnTo>
                    <a:pt x="3461905" y="1530320"/>
                  </a:lnTo>
                  <a:lnTo>
                    <a:pt x="3341078" y="1530320"/>
                  </a:lnTo>
                  <a:close/>
                  <a:moveTo>
                    <a:pt x="3582732" y="1415246"/>
                  </a:moveTo>
                  <a:lnTo>
                    <a:pt x="3697806" y="1415246"/>
                  </a:lnTo>
                  <a:lnTo>
                    <a:pt x="3697806" y="1530320"/>
                  </a:lnTo>
                  <a:lnTo>
                    <a:pt x="3582732" y="1530320"/>
                  </a:lnTo>
                  <a:close/>
                </a:path>
              </a:pathLst>
            </a:custGeom>
            <a:solidFill>
              <a:schemeClr val="bg1"/>
            </a:solidFill>
            <a:ln w="5744" cap="flat">
              <a:noFill/>
              <a:prstDash val="solid"/>
              <a:miter/>
            </a:ln>
          </p:spPr>
          <p:txBody>
            <a:bodyPr rtlCol="0" anchor="ctr"/>
            <a:lstStyle/>
            <a:p>
              <a:endParaRPr lang="nl-BE"/>
            </a:p>
          </p:txBody>
        </p:sp>
        <p:sp>
          <p:nvSpPr>
            <p:cNvPr id="54" name="Vrije vorm 61">
              <a:extLst>
                <a:ext uri="{FF2B5EF4-FFF2-40B4-BE49-F238E27FC236}">
                  <a16:creationId xmlns:a16="http://schemas.microsoft.com/office/drawing/2014/main" id="{9D929C9D-4A9E-FF9E-BCF5-EDFA48284ED4}"/>
                </a:ext>
              </a:extLst>
            </p:cNvPr>
            <p:cNvSpPr/>
            <p:nvPr/>
          </p:nvSpPr>
          <p:spPr>
            <a:xfrm>
              <a:off x="4752689" y="2718831"/>
              <a:ext cx="3941259" cy="1634041"/>
            </a:xfrm>
            <a:custGeom>
              <a:avLst/>
              <a:gdLst>
                <a:gd name="connsiteX0" fmla="*/ -1800 w 3941259"/>
                <a:gd name="connsiteY0" fmla="*/ 1093041 h 1634041"/>
                <a:gd name="connsiteX1" fmla="*/ 119027 w 3941259"/>
                <a:gd name="connsiteY1" fmla="*/ 1093041 h 1634041"/>
                <a:gd name="connsiteX2" fmla="*/ 119027 w 3941259"/>
                <a:gd name="connsiteY2" fmla="*/ 1265651 h 1634041"/>
                <a:gd name="connsiteX3" fmla="*/ -1800 w 3941259"/>
                <a:gd name="connsiteY3" fmla="*/ 1265651 h 1634041"/>
                <a:gd name="connsiteX4" fmla="*/ 239854 w 3941259"/>
                <a:gd name="connsiteY4" fmla="*/ 586718 h 1634041"/>
                <a:gd name="connsiteX5" fmla="*/ 360681 w 3941259"/>
                <a:gd name="connsiteY5" fmla="*/ 586718 h 1634041"/>
                <a:gd name="connsiteX6" fmla="*/ 360681 w 3941259"/>
                <a:gd name="connsiteY6" fmla="*/ 788096 h 1634041"/>
                <a:gd name="connsiteX7" fmla="*/ 239854 w 3941259"/>
                <a:gd name="connsiteY7" fmla="*/ 788096 h 1634041"/>
                <a:gd name="connsiteX8" fmla="*/ 475754 w 3941259"/>
                <a:gd name="connsiteY8" fmla="*/ 241498 h 1634041"/>
                <a:gd name="connsiteX9" fmla="*/ 596581 w 3941259"/>
                <a:gd name="connsiteY9" fmla="*/ 241498 h 1634041"/>
                <a:gd name="connsiteX10" fmla="*/ 596581 w 3941259"/>
                <a:gd name="connsiteY10" fmla="*/ 396847 h 1634041"/>
                <a:gd name="connsiteX11" fmla="*/ 475754 w 3941259"/>
                <a:gd name="connsiteY11" fmla="*/ 396847 h 1634041"/>
                <a:gd name="connsiteX12" fmla="*/ 717408 w 3941259"/>
                <a:gd name="connsiteY12" fmla="*/ -156 h 1634041"/>
                <a:gd name="connsiteX13" fmla="*/ 838235 w 3941259"/>
                <a:gd name="connsiteY13" fmla="*/ -156 h 1634041"/>
                <a:gd name="connsiteX14" fmla="*/ 838235 w 3941259"/>
                <a:gd name="connsiteY14" fmla="*/ 103410 h 1634041"/>
                <a:gd name="connsiteX15" fmla="*/ 717408 w 3941259"/>
                <a:gd name="connsiteY15" fmla="*/ 103410 h 1634041"/>
                <a:gd name="connsiteX16" fmla="*/ 953308 w 3941259"/>
                <a:gd name="connsiteY16" fmla="*/ 195469 h 1634041"/>
                <a:gd name="connsiteX17" fmla="*/ 1074135 w 3941259"/>
                <a:gd name="connsiteY17" fmla="*/ 195469 h 1634041"/>
                <a:gd name="connsiteX18" fmla="*/ 1074135 w 3941259"/>
                <a:gd name="connsiteY18" fmla="*/ 229991 h 1634041"/>
                <a:gd name="connsiteX19" fmla="*/ 953308 w 3941259"/>
                <a:gd name="connsiteY19" fmla="*/ 229991 h 1634041"/>
                <a:gd name="connsiteX20" fmla="*/ 1194962 w 3941259"/>
                <a:gd name="connsiteY20" fmla="*/ 97656 h 1634041"/>
                <a:gd name="connsiteX21" fmla="*/ 1310035 w 3941259"/>
                <a:gd name="connsiteY21" fmla="*/ 97656 h 1634041"/>
                <a:gd name="connsiteX22" fmla="*/ 1310035 w 3941259"/>
                <a:gd name="connsiteY22" fmla="*/ 178208 h 1634041"/>
                <a:gd name="connsiteX23" fmla="*/ 1194962 w 3941259"/>
                <a:gd name="connsiteY23" fmla="*/ 178208 h 1634041"/>
                <a:gd name="connsiteX24" fmla="*/ 1430862 w 3941259"/>
                <a:gd name="connsiteY24" fmla="*/ 241498 h 1634041"/>
                <a:gd name="connsiteX25" fmla="*/ 1551689 w 3941259"/>
                <a:gd name="connsiteY25" fmla="*/ 241498 h 1634041"/>
                <a:gd name="connsiteX26" fmla="*/ 1551689 w 3941259"/>
                <a:gd name="connsiteY26" fmla="*/ 368079 h 1634041"/>
                <a:gd name="connsiteX27" fmla="*/ 1430862 w 3941259"/>
                <a:gd name="connsiteY27" fmla="*/ 368079 h 1634041"/>
                <a:gd name="connsiteX28" fmla="*/ 1672516 w 3941259"/>
                <a:gd name="connsiteY28" fmla="*/ 362325 h 1634041"/>
                <a:gd name="connsiteX29" fmla="*/ 1787589 w 3941259"/>
                <a:gd name="connsiteY29" fmla="*/ 362325 h 1634041"/>
                <a:gd name="connsiteX30" fmla="*/ 1787589 w 3941259"/>
                <a:gd name="connsiteY30" fmla="*/ 598225 h 1634041"/>
                <a:gd name="connsiteX31" fmla="*/ 1672516 w 3941259"/>
                <a:gd name="connsiteY31" fmla="*/ 598225 h 1634041"/>
                <a:gd name="connsiteX32" fmla="*/ 1908416 w 3941259"/>
                <a:gd name="connsiteY32" fmla="*/ 178208 h 1634041"/>
                <a:gd name="connsiteX33" fmla="*/ 2029243 w 3941259"/>
                <a:gd name="connsiteY33" fmla="*/ 178208 h 1634041"/>
                <a:gd name="connsiteX34" fmla="*/ 2029243 w 3941259"/>
                <a:gd name="connsiteY34" fmla="*/ 540689 h 1634041"/>
                <a:gd name="connsiteX35" fmla="*/ 1908416 w 3941259"/>
                <a:gd name="connsiteY35" fmla="*/ 540689 h 1634041"/>
                <a:gd name="connsiteX36" fmla="*/ 2150070 w 3941259"/>
                <a:gd name="connsiteY36" fmla="*/ 684530 h 1634041"/>
                <a:gd name="connsiteX37" fmla="*/ 2265143 w 3941259"/>
                <a:gd name="connsiteY37" fmla="*/ 684530 h 1634041"/>
                <a:gd name="connsiteX38" fmla="*/ 2265143 w 3941259"/>
                <a:gd name="connsiteY38" fmla="*/ 1035504 h 1634041"/>
                <a:gd name="connsiteX39" fmla="*/ 2150070 w 3941259"/>
                <a:gd name="connsiteY39" fmla="*/ 1035504 h 1634041"/>
                <a:gd name="connsiteX40" fmla="*/ 2385970 w 3941259"/>
                <a:gd name="connsiteY40" fmla="*/ 885909 h 1634041"/>
                <a:gd name="connsiteX41" fmla="*/ 2506797 w 3941259"/>
                <a:gd name="connsiteY41" fmla="*/ 885909 h 1634041"/>
                <a:gd name="connsiteX42" fmla="*/ 2506797 w 3941259"/>
                <a:gd name="connsiteY42" fmla="*/ 1213868 h 1634041"/>
                <a:gd name="connsiteX43" fmla="*/ 2385970 w 3941259"/>
                <a:gd name="connsiteY43" fmla="*/ 1213868 h 1634041"/>
                <a:gd name="connsiteX44" fmla="*/ 2627624 w 3941259"/>
                <a:gd name="connsiteY44" fmla="*/ 1058519 h 1634041"/>
                <a:gd name="connsiteX45" fmla="*/ 2742697 w 3941259"/>
                <a:gd name="connsiteY45" fmla="*/ 1058519 h 1634041"/>
                <a:gd name="connsiteX46" fmla="*/ 2742697 w 3941259"/>
                <a:gd name="connsiteY46" fmla="*/ 1369217 h 1634041"/>
                <a:gd name="connsiteX47" fmla="*/ 2627624 w 3941259"/>
                <a:gd name="connsiteY47" fmla="*/ 1369217 h 1634041"/>
                <a:gd name="connsiteX48" fmla="*/ 2863524 w 3941259"/>
                <a:gd name="connsiteY48" fmla="*/ 1231129 h 1634041"/>
                <a:gd name="connsiteX49" fmla="*/ 2984351 w 3941259"/>
                <a:gd name="connsiteY49" fmla="*/ 1231129 h 1634041"/>
                <a:gd name="connsiteX50" fmla="*/ 2984351 w 3941259"/>
                <a:gd name="connsiteY50" fmla="*/ 1530320 h 1634041"/>
                <a:gd name="connsiteX51" fmla="*/ 2863524 w 3941259"/>
                <a:gd name="connsiteY51" fmla="*/ 1530320 h 1634041"/>
                <a:gd name="connsiteX52" fmla="*/ 3105178 w 3941259"/>
                <a:gd name="connsiteY52" fmla="*/ 1369217 h 1634041"/>
                <a:gd name="connsiteX53" fmla="*/ 3220252 w 3941259"/>
                <a:gd name="connsiteY53" fmla="*/ 1369217 h 1634041"/>
                <a:gd name="connsiteX54" fmla="*/ 3220252 w 3941259"/>
                <a:gd name="connsiteY54" fmla="*/ 1587856 h 1634041"/>
                <a:gd name="connsiteX55" fmla="*/ 3105178 w 3941259"/>
                <a:gd name="connsiteY55" fmla="*/ 1587856 h 1634041"/>
                <a:gd name="connsiteX56" fmla="*/ 3341078 w 3941259"/>
                <a:gd name="connsiteY56" fmla="*/ 1438261 h 1634041"/>
                <a:gd name="connsiteX57" fmla="*/ 3461905 w 3941259"/>
                <a:gd name="connsiteY57" fmla="*/ 1438261 h 1634041"/>
                <a:gd name="connsiteX58" fmla="*/ 3461905 w 3941259"/>
                <a:gd name="connsiteY58" fmla="*/ 1518812 h 1634041"/>
                <a:gd name="connsiteX59" fmla="*/ 3341078 w 3941259"/>
                <a:gd name="connsiteY59" fmla="*/ 1518812 h 1634041"/>
                <a:gd name="connsiteX60" fmla="*/ 3582732 w 3941259"/>
                <a:gd name="connsiteY60" fmla="*/ 1328941 h 1634041"/>
                <a:gd name="connsiteX61" fmla="*/ 3697806 w 3941259"/>
                <a:gd name="connsiteY61" fmla="*/ 1328941 h 1634041"/>
                <a:gd name="connsiteX62" fmla="*/ 3697806 w 3941259"/>
                <a:gd name="connsiteY62" fmla="*/ 1518812 h 1634041"/>
                <a:gd name="connsiteX63" fmla="*/ 3582732 w 3941259"/>
                <a:gd name="connsiteY63" fmla="*/ 1518812 h 1634041"/>
                <a:gd name="connsiteX64" fmla="*/ 3818633 w 3941259"/>
                <a:gd name="connsiteY64" fmla="*/ 1455522 h 1634041"/>
                <a:gd name="connsiteX65" fmla="*/ 3939459 w 3941259"/>
                <a:gd name="connsiteY65" fmla="*/ 1455522 h 1634041"/>
                <a:gd name="connsiteX66" fmla="*/ 3939459 w 3941259"/>
                <a:gd name="connsiteY66" fmla="*/ 1633886 h 1634041"/>
                <a:gd name="connsiteX67" fmla="*/ 3818633 w 3941259"/>
                <a:gd name="connsiteY67" fmla="*/ 1633886 h 16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941259" h="1634041">
                  <a:moveTo>
                    <a:pt x="-1800" y="1093041"/>
                  </a:moveTo>
                  <a:lnTo>
                    <a:pt x="119027" y="1093041"/>
                  </a:lnTo>
                  <a:lnTo>
                    <a:pt x="119027" y="1265651"/>
                  </a:lnTo>
                  <a:lnTo>
                    <a:pt x="-1800" y="1265651"/>
                  </a:lnTo>
                  <a:close/>
                  <a:moveTo>
                    <a:pt x="239854" y="586718"/>
                  </a:moveTo>
                  <a:lnTo>
                    <a:pt x="360681" y="586718"/>
                  </a:lnTo>
                  <a:lnTo>
                    <a:pt x="360681" y="788096"/>
                  </a:lnTo>
                  <a:lnTo>
                    <a:pt x="239854" y="788096"/>
                  </a:lnTo>
                  <a:close/>
                  <a:moveTo>
                    <a:pt x="475754" y="241498"/>
                  </a:moveTo>
                  <a:lnTo>
                    <a:pt x="596581" y="241498"/>
                  </a:lnTo>
                  <a:lnTo>
                    <a:pt x="596581" y="396847"/>
                  </a:lnTo>
                  <a:lnTo>
                    <a:pt x="475754" y="396847"/>
                  </a:lnTo>
                  <a:close/>
                  <a:moveTo>
                    <a:pt x="717408" y="-156"/>
                  </a:moveTo>
                  <a:lnTo>
                    <a:pt x="838235" y="-156"/>
                  </a:lnTo>
                  <a:lnTo>
                    <a:pt x="838235" y="103410"/>
                  </a:lnTo>
                  <a:lnTo>
                    <a:pt x="717408" y="103410"/>
                  </a:lnTo>
                  <a:close/>
                  <a:moveTo>
                    <a:pt x="953308" y="195469"/>
                  </a:moveTo>
                  <a:lnTo>
                    <a:pt x="1074135" y="195469"/>
                  </a:lnTo>
                  <a:lnTo>
                    <a:pt x="1074135" y="229991"/>
                  </a:lnTo>
                  <a:lnTo>
                    <a:pt x="953308" y="229991"/>
                  </a:lnTo>
                  <a:close/>
                  <a:moveTo>
                    <a:pt x="1194962" y="97656"/>
                  </a:moveTo>
                  <a:lnTo>
                    <a:pt x="1310035" y="97656"/>
                  </a:lnTo>
                  <a:lnTo>
                    <a:pt x="1310035" y="178208"/>
                  </a:lnTo>
                  <a:lnTo>
                    <a:pt x="1194962" y="178208"/>
                  </a:lnTo>
                  <a:close/>
                  <a:moveTo>
                    <a:pt x="1430862" y="241498"/>
                  </a:moveTo>
                  <a:lnTo>
                    <a:pt x="1551689" y="241498"/>
                  </a:lnTo>
                  <a:lnTo>
                    <a:pt x="1551689" y="368079"/>
                  </a:lnTo>
                  <a:lnTo>
                    <a:pt x="1430862" y="368079"/>
                  </a:lnTo>
                  <a:close/>
                  <a:moveTo>
                    <a:pt x="1672516" y="362325"/>
                  </a:moveTo>
                  <a:lnTo>
                    <a:pt x="1787589" y="362325"/>
                  </a:lnTo>
                  <a:lnTo>
                    <a:pt x="1787589" y="598225"/>
                  </a:lnTo>
                  <a:lnTo>
                    <a:pt x="1672516" y="598225"/>
                  </a:lnTo>
                  <a:close/>
                  <a:moveTo>
                    <a:pt x="1908416" y="178208"/>
                  </a:moveTo>
                  <a:lnTo>
                    <a:pt x="2029243" y="178208"/>
                  </a:lnTo>
                  <a:lnTo>
                    <a:pt x="2029243" y="540689"/>
                  </a:lnTo>
                  <a:lnTo>
                    <a:pt x="1908416" y="540689"/>
                  </a:lnTo>
                  <a:close/>
                  <a:moveTo>
                    <a:pt x="2150070" y="684530"/>
                  </a:moveTo>
                  <a:lnTo>
                    <a:pt x="2265143" y="684530"/>
                  </a:lnTo>
                  <a:lnTo>
                    <a:pt x="2265143" y="1035504"/>
                  </a:lnTo>
                  <a:lnTo>
                    <a:pt x="2150070" y="1035504"/>
                  </a:lnTo>
                  <a:close/>
                  <a:moveTo>
                    <a:pt x="2385970" y="885909"/>
                  </a:moveTo>
                  <a:lnTo>
                    <a:pt x="2506797" y="885909"/>
                  </a:lnTo>
                  <a:lnTo>
                    <a:pt x="2506797" y="1213868"/>
                  </a:lnTo>
                  <a:lnTo>
                    <a:pt x="2385970" y="1213868"/>
                  </a:lnTo>
                  <a:close/>
                  <a:moveTo>
                    <a:pt x="2627624" y="1058519"/>
                  </a:moveTo>
                  <a:lnTo>
                    <a:pt x="2742697" y="1058519"/>
                  </a:lnTo>
                  <a:lnTo>
                    <a:pt x="2742697" y="1369217"/>
                  </a:lnTo>
                  <a:lnTo>
                    <a:pt x="2627624" y="1369217"/>
                  </a:lnTo>
                  <a:close/>
                  <a:moveTo>
                    <a:pt x="2863524" y="1231129"/>
                  </a:moveTo>
                  <a:lnTo>
                    <a:pt x="2984351" y="1231129"/>
                  </a:lnTo>
                  <a:lnTo>
                    <a:pt x="2984351" y="1530320"/>
                  </a:lnTo>
                  <a:lnTo>
                    <a:pt x="2863524" y="1530320"/>
                  </a:lnTo>
                  <a:close/>
                  <a:moveTo>
                    <a:pt x="3105178" y="1369217"/>
                  </a:moveTo>
                  <a:lnTo>
                    <a:pt x="3220252" y="1369217"/>
                  </a:lnTo>
                  <a:lnTo>
                    <a:pt x="3220252" y="1587856"/>
                  </a:lnTo>
                  <a:lnTo>
                    <a:pt x="3105178" y="1587856"/>
                  </a:lnTo>
                  <a:close/>
                  <a:moveTo>
                    <a:pt x="3341078" y="1438261"/>
                  </a:moveTo>
                  <a:lnTo>
                    <a:pt x="3461905" y="1438261"/>
                  </a:lnTo>
                  <a:lnTo>
                    <a:pt x="3461905" y="1518812"/>
                  </a:lnTo>
                  <a:lnTo>
                    <a:pt x="3341078" y="1518812"/>
                  </a:lnTo>
                  <a:close/>
                  <a:moveTo>
                    <a:pt x="3582732" y="1328941"/>
                  </a:moveTo>
                  <a:lnTo>
                    <a:pt x="3697806" y="1328941"/>
                  </a:lnTo>
                  <a:lnTo>
                    <a:pt x="3697806" y="1518812"/>
                  </a:lnTo>
                  <a:lnTo>
                    <a:pt x="3582732" y="1518812"/>
                  </a:lnTo>
                  <a:close/>
                  <a:moveTo>
                    <a:pt x="3818633" y="1455522"/>
                  </a:moveTo>
                  <a:lnTo>
                    <a:pt x="3939459" y="1455522"/>
                  </a:lnTo>
                  <a:lnTo>
                    <a:pt x="3939459" y="1633886"/>
                  </a:lnTo>
                  <a:lnTo>
                    <a:pt x="3818633" y="1633886"/>
                  </a:lnTo>
                  <a:close/>
                </a:path>
              </a:pathLst>
            </a:custGeom>
            <a:solidFill>
              <a:schemeClr val="tx1">
                <a:lumMod val="75000"/>
              </a:schemeClr>
            </a:solidFill>
            <a:ln w="5744" cap="flat">
              <a:noFill/>
              <a:prstDash val="solid"/>
              <a:miter/>
            </a:ln>
          </p:spPr>
          <p:txBody>
            <a:bodyPr rtlCol="0" anchor="ctr"/>
            <a:lstStyle/>
            <a:p>
              <a:endParaRPr lang="nl-BE"/>
            </a:p>
          </p:txBody>
        </p:sp>
        <p:sp>
          <p:nvSpPr>
            <p:cNvPr id="55" name="Vrije vorm 62">
              <a:extLst>
                <a:ext uri="{FF2B5EF4-FFF2-40B4-BE49-F238E27FC236}">
                  <a16:creationId xmlns:a16="http://schemas.microsoft.com/office/drawing/2014/main" id="{FEC123D5-B593-51CC-5F59-A35F0DAAB5AD}"/>
                </a:ext>
              </a:extLst>
            </p:cNvPr>
            <p:cNvSpPr/>
            <p:nvPr/>
          </p:nvSpPr>
          <p:spPr>
            <a:xfrm>
              <a:off x="4692276" y="4349996"/>
              <a:ext cx="4062086" cy="5753"/>
            </a:xfrm>
            <a:custGeom>
              <a:avLst/>
              <a:gdLst>
                <a:gd name="connsiteX0" fmla="*/ -1800 w 4062086"/>
                <a:gd name="connsiteY0" fmla="*/ -156 h 5753"/>
                <a:gd name="connsiteX1" fmla="*/ 4060286 w 4062086"/>
                <a:gd name="connsiteY1" fmla="*/ -156 h 5753"/>
              </a:gdLst>
              <a:ahLst/>
              <a:cxnLst>
                <a:cxn ang="0">
                  <a:pos x="connsiteX0" y="connsiteY0"/>
                </a:cxn>
                <a:cxn ang="0">
                  <a:pos x="connsiteX1" y="connsiteY1"/>
                </a:cxn>
              </a:cxnLst>
              <a:rect l="l" t="t" r="r" b="b"/>
              <a:pathLst>
                <a:path w="4062086" h="5753">
                  <a:moveTo>
                    <a:pt x="-1800" y="-156"/>
                  </a:moveTo>
                  <a:lnTo>
                    <a:pt x="4060286" y="-156"/>
                  </a:lnTo>
                </a:path>
              </a:pathLst>
            </a:custGeom>
            <a:noFill/>
            <a:ln w="5744" cap="flat">
              <a:solidFill>
                <a:srgbClr val="D9D9D9"/>
              </a:solidFill>
              <a:prstDash val="solid"/>
              <a:round/>
            </a:ln>
          </p:spPr>
          <p:txBody>
            <a:bodyPr rtlCol="0" anchor="ctr"/>
            <a:lstStyle/>
            <a:p>
              <a:endParaRPr lang="nl-BE"/>
            </a:p>
          </p:txBody>
        </p:sp>
        <p:sp>
          <p:nvSpPr>
            <p:cNvPr id="56" name="Tekstvak 63">
              <a:extLst>
                <a:ext uri="{FF2B5EF4-FFF2-40B4-BE49-F238E27FC236}">
                  <a16:creationId xmlns:a16="http://schemas.microsoft.com/office/drawing/2014/main" id="{A6562B8A-03F8-25EB-62A9-E05320A9E196}"/>
                </a:ext>
              </a:extLst>
            </p:cNvPr>
            <p:cNvSpPr txBox="1"/>
            <p:nvPr/>
          </p:nvSpPr>
          <p:spPr>
            <a:xfrm>
              <a:off x="4471321" y="4243862"/>
              <a:ext cx="8976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0</a:t>
              </a:r>
            </a:p>
          </p:txBody>
        </p:sp>
        <p:sp>
          <p:nvSpPr>
            <p:cNvPr id="57" name="Tekstvak 64">
              <a:extLst>
                <a:ext uri="{FF2B5EF4-FFF2-40B4-BE49-F238E27FC236}">
                  <a16:creationId xmlns:a16="http://schemas.microsoft.com/office/drawing/2014/main" id="{C481F18F-86DA-8408-A952-CAEC60130638}"/>
                </a:ext>
              </a:extLst>
            </p:cNvPr>
            <p:cNvSpPr txBox="1"/>
            <p:nvPr/>
          </p:nvSpPr>
          <p:spPr>
            <a:xfrm>
              <a:off x="4424659" y="3944671"/>
              <a:ext cx="165110"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20</a:t>
              </a:r>
            </a:p>
          </p:txBody>
        </p:sp>
        <p:sp>
          <p:nvSpPr>
            <p:cNvPr id="58" name="Tekstvak 65">
              <a:extLst>
                <a:ext uri="{FF2B5EF4-FFF2-40B4-BE49-F238E27FC236}">
                  <a16:creationId xmlns:a16="http://schemas.microsoft.com/office/drawing/2014/main" id="{25C075D7-8D04-02AD-7552-91FAEE7E5994}"/>
                </a:ext>
              </a:extLst>
            </p:cNvPr>
            <p:cNvSpPr txBox="1"/>
            <p:nvPr/>
          </p:nvSpPr>
          <p:spPr>
            <a:xfrm>
              <a:off x="4424659" y="3645481"/>
              <a:ext cx="176330"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40</a:t>
              </a:r>
            </a:p>
          </p:txBody>
        </p:sp>
        <p:sp>
          <p:nvSpPr>
            <p:cNvPr id="59" name="Tekstvak 66">
              <a:extLst>
                <a:ext uri="{FF2B5EF4-FFF2-40B4-BE49-F238E27FC236}">
                  <a16:creationId xmlns:a16="http://schemas.microsoft.com/office/drawing/2014/main" id="{C56A3F47-8BB5-DA0D-1DC8-36187B7084EC}"/>
                </a:ext>
              </a:extLst>
            </p:cNvPr>
            <p:cNvSpPr txBox="1"/>
            <p:nvPr/>
          </p:nvSpPr>
          <p:spPr>
            <a:xfrm>
              <a:off x="4424659" y="3346290"/>
              <a:ext cx="17152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60</a:t>
              </a:r>
            </a:p>
          </p:txBody>
        </p:sp>
        <p:sp>
          <p:nvSpPr>
            <p:cNvPr id="60" name="Tekstvak 67">
              <a:extLst>
                <a:ext uri="{FF2B5EF4-FFF2-40B4-BE49-F238E27FC236}">
                  <a16:creationId xmlns:a16="http://schemas.microsoft.com/office/drawing/2014/main" id="{A753106A-9F4B-35A0-CE39-30706269C01E}"/>
                </a:ext>
              </a:extLst>
            </p:cNvPr>
            <p:cNvSpPr txBox="1"/>
            <p:nvPr/>
          </p:nvSpPr>
          <p:spPr>
            <a:xfrm>
              <a:off x="4424659" y="3047099"/>
              <a:ext cx="17472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80</a:t>
              </a:r>
            </a:p>
          </p:txBody>
        </p:sp>
        <p:sp>
          <p:nvSpPr>
            <p:cNvPr id="61" name="Tekstvak 68">
              <a:extLst>
                <a:ext uri="{FF2B5EF4-FFF2-40B4-BE49-F238E27FC236}">
                  <a16:creationId xmlns:a16="http://schemas.microsoft.com/office/drawing/2014/main" id="{177E2E31-53E6-9684-D9F4-50F0A6F93358}"/>
                </a:ext>
              </a:extLst>
            </p:cNvPr>
            <p:cNvSpPr txBox="1"/>
            <p:nvPr/>
          </p:nvSpPr>
          <p:spPr>
            <a:xfrm>
              <a:off x="4377996" y="2747909"/>
              <a:ext cx="24686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100</a:t>
              </a:r>
            </a:p>
          </p:txBody>
        </p:sp>
        <p:sp>
          <p:nvSpPr>
            <p:cNvPr id="62" name="Tekstvak 69">
              <a:extLst>
                <a:ext uri="{FF2B5EF4-FFF2-40B4-BE49-F238E27FC236}">
                  <a16:creationId xmlns:a16="http://schemas.microsoft.com/office/drawing/2014/main" id="{7E42E199-7D49-7F47-CDBD-0C2B393B3B98}"/>
                </a:ext>
              </a:extLst>
            </p:cNvPr>
            <p:cNvSpPr txBox="1"/>
            <p:nvPr/>
          </p:nvSpPr>
          <p:spPr>
            <a:xfrm>
              <a:off x="4377996" y="2448718"/>
              <a:ext cx="23243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cs typeface="Calibri"/>
                  <a:sym typeface="Calibri"/>
                  <a:rtl val="0"/>
                </a:rPr>
                <a:t>120</a:t>
              </a:r>
            </a:p>
          </p:txBody>
        </p:sp>
        <p:sp>
          <p:nvSpPr>
            <p:cNvPr id="63" name="Tekstvak 70">
              <a:extLst>
                <a:ext uri="{FF2B5EF4-FFF2-40B4-BE49-F238E27FC236}">
                  <a16:creationId xmlns:a16="http://schemas.microsoft.com/office/drawing/2014/main" id="{8A61733F-528A-0E15-60FD-DC086526A5FE}"/>
                </a:ext>
              </a:extLst>
            </p:cNvPr>
            <p:cNvSpPr txBox="1"/>
            <p:nvPr/>
          </p:nvSpPr>
          <p:spPr>
            <a:xfrm>
              <a:off x="4722948" y="4399211"/>
              <a:ext cx="16190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4</a:t>
              </a:r>
            </a:p>
          </p:txBody>
        </p:sp>
        <p:sp>
          <p:nvSpPr>
            <p:cNvPr id="64" name="Tekstvak 71">
              <a:extLst>
                <a:ext uri="{FF2B5EF4-FFF2-40B4-BE49-F238E27FC236}">
                  <a16:creationId xmlns:a16="http://schemas.microsoft.com/office/drawing/2014/main" id="{B8E407AD-F5C6-B223-5110-B1CF419A8604}"/>
                </a:ext>
              </a:extLst>
            </p:cNvPr>
            <p:cNvSpPr txBox="1"/>
            <p:nvPr/>
          </p:nvSpPr>
          <p:spPr>
            <a:xfrm>
              <a:off x="4966507"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5</a:t>
              </a:r>
            </a:p>
          </p:txBody>
        </p:sp>
        <p:sp>
          <p:nvSpPr>
            <p:cNvPr id="65" name="Tekstvak 72">
              <a:extLst>
                <a:ext uri="{FF2B5EF4-FFF2-40B4-BE49-F238E27FC236}">
                  <a16:creationId xmlns:a16="http://schemas.microsoft.com/office/drawing/2014/main" id="{3160B364-E959-4CEF-2957-0455709CB79D}"/>
                </a:ext>
              </a:extLst>
            </p:cNvPr>
            <p:cNvSpPr txBox="1"/>
            <p:nvPr/>
          </p:nvSpPr>
          <p:spPr>
            <a:xfrm>
              <a:off x="5203654"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6</a:t>
              </a:r>
            </a:p>
          </p:txBody>
        </p:sp>
        <p:sp>
          <p:nvSpPr>
            <p:cNvPr id="66" name="Tekstvak 73">
              <a:extLst>
                <a:ext uri="{FF2B5EF4-FFF2-40B4-BE49-F238E27FC236}">
                  <a16:creationId xmlns:a16="http://schemas.microsoft.com/office/drawing/2014/main" id="{CD1DCDD5-4A9F-3E90-7DBA-D792A924D3DB}"/>
                </a:ext>
              </a:extLst>
            </p:cNvPr>
            <p:cNvSpPr txBox="1"/>
            <p:nvPr/>
          </p:nvSpPr>
          <p:spPr>
            <a:xfrm>
              <a:off x="5447619" y="4399211"/>
              <a:ext cx="14106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7</a:t>
              </a:r>
            </a:p>
          </p:txBody>
        </p:sp>
        <p:sp>
          <p:nvSpPr>
            <p:cNvPr id="67" name="Tekstvak 74">
              <a:extLst>
                <a:ext uri="{FF2B5EF4-FFF2-40B4-BE49-F238E27FC236}">
                  <a16:creationId xmlns:a16="http://schemas.microsoft.com/office/drawing/2014/main" id="{62BC2180-4EFB-4421-6574-1F78FBE07CF3}"/>
                </a:ext>
              </a:extLst>
            </p:cNvPr>
            <p:cNvSpPr txBox="1"/>
            <p:nvPr/>
          </p:nvSpPr>
          <p:spPr>
            <a:xfrm>
              <a:off x="5675818" y="4399211"/>
              <a:ext cx="15869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8</a:t>
              </a:r>
            </a:p>
          </p:txBody>
        </p:sp>
        <p:sp>
          <p:nvSpPr>
            <p:cNvPr id="68" name="Tekstvak 75">
              <a:extLst>
                <a:ext uri="{FF2B5EF4-FFF2-40B4-BE49-F238E27FC236}">
                  <a16:creationId xmlns:a16="http://schemas.microsoft.com/office/drawing/2014/main" id="{DA2FEB98-5F7B-A3F8-31C5-5CDCE365DE0E}"/>
                </a:ext>
              </a:extLst>
            </p:cNvPr>
            <p:cNvSpPr txBox="1"/>
            <p:nvPr/>
          </p:nvSpPr>
          <p:spPr>
            <a:xfrm>
              <a:off x="5919229"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29</a:t>
              </a:r>
            </a:p>
          </p:txBody>
        </p:sp>
        <p:sp>
          <p:nvSpPr>
            <p:cNvPr id="69" name="Tekstvak 76">
              <a:extLst>
                <a:ext uri="{FF2B5EF4-FFF2-40B4-BE49-F238E27FC236}">
                  <a16:creationId xmlns:a16="http://schemas.microsoft.com/office/drawing/2014/main" id="{759859F3-573A-B0A2-EA4D-7777A7154078}"/>
                </a:ext>
              </a:extLst>
            </p:cNvPr>
            <p:cNvSpPr txBox="1"/>
            <p:nvPr/>
          </p:nvSpPr>
          <p:spPr>
            <a:xfrm>
              <a:off x="6155015" y="4399211"/>
              <a:ext cx="16350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0</a:t>
              </a:r>
            </a:p>
          </p:txBody>
        </p:sp>
        <p:sp>
          <p:nvSpPr>
            <p:cNvPr id="70" name="Tekstvak 77">
              <a:extLst>
                <a:ext uri="{FF2B5EF4-FFF2-40B4-BE49-F238E27FC236}">
                  <a16:creationId xmlns:a16="http://schemas.microsoft.com/office/drawing/2014/main" id="{AF384FE5-E120-E575-6C83-DFF0924FB851}"/>
                </a:ext>
              </a:extLst>
            </p:cNvPr>
            <p:cNvSpPr txBox="1"/>
            <p:nvPr/>
          </p:nvSpPr>
          <p:spPr>
            <a:xfrm>
              <a:off x="6411383" y="4399211"/>
              <a:ext cx="14106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1</a:t>
              </a:r>
            </a:p>
          </p:txBody>
        </p:sp>
        <p:sp>
          <p:nvSpPr>
            <p:cNvPr id="71" name="Tekstvak 78">
              <a:extLst>
                <a:ext uri="{FF2B5EF4-FFF2-40B4-BE49-F238E27FC236}">
                  <a16:creationId xmlns:a16="http://schemas.microsoft.com/office/drawing/2014/main" id="{5444D487-E8E2-B856-BA6C-C9037AB267C9}"/>
                </a:ext>
              </a:extLst>
            </p:cNvPr>
            <p:cNvSpPr txBox="1"/>
            <p:nvPr/>
          </p:nvSpPr>
          <p:spPr>
            <a:xfrm>
              <a:off x="6647070" y="4399211"/>
              <a:ext cx="14747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2</a:t>
              </a:r>
            </a:p>
          </p:txBody>
        </p:sp>
        <p:sp>
          <p:nvSpPr>
            <p:cNvPr id="72" name="Tekstvak 79">
              <a:extLst>
                <a:ext uri="{FF2B5EF4-FFF2-40B4-BE49-F238E27FC236}">
                  <a16:creationId xmlns:a16="http://schemas.microsoft.com/office/drawing/2014/main" id="{D1A1AEF7-F743-F575-9554-35784F9C2E06}"/>
                </a:ext>
              </a:extLst>
            </p:cNvPr>
            <p:cNvSpPr txBox="1"/>
            <p:nvPr/>
          </p:nvSpPr>
          <p:spPr>
            <a:xfrm>
              <a:off x="6889318" y="4399211"/>
              <a:ext cx="147476"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3</a:t>
              </a:r>
            </a:p>
          </p:txBody>
        </p:sp>
        <p:sp>
          <p:nvSpPr>
            <p:cNvPr id="73" name="Tekstvak 80">
              <a:extLst>
                <a:ext uri="{FF2B5EF4-FFF2-40B4-BE49-F238E27FC236}">
                  <a16:creationId xmlns:a16="http://schemas.microsoft.com/office/drawing/2014/main" id="{FC0C6A1C-B13E-C461-3A46-2644343E755E}"/>
                </a:ext>
              </a:extLst>
            </p:cNvPr>
            <p:cNvSpPr txBox="1"/>
            <p:nvPr/>
          </p:nvSpPr>
          <p:spPr>
            <a:xfrm>
              <a:off x="7119800" y="4399211"/>
              <a:ext cx="160300"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4</a:t>
              </a:r>
            </a:p>
          </p:txBody>
        </p:sp>
        <p:sp>
          <p:nvSpPr>
            <p:cNvPr id="74" name="Tekstvak 81">
              <a:extLst>
                <a:ext uri="{FF2B5EF4-FFF2-40B4-BE49-F238E27FC236}">
                  <a16:creationId xmlns:a16="http://schemas.microsoft.com/office/drawing/2014/main" id="{A779B67C-965A-41C4-BB96-681F6A4068A0}"/>
                </a:ext>
              </a:extLst>
            </p:cNvPr>
            <p:cNvSpPr txBox="1"/>
            <p:nvPr/>
          </p:nvSpPr>
          <p:spPr>
            <a:xfrm>
              <a:off x="7365128" y="4399211"/>
              <a:ext cx="15388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5</a:t>
              </a:r>
            </a:p>
          </p:txBody>
        </p:sp>
        <p:sp>
          <p:nvSpPr>
            <p:cNvPr id="75" name="Tekstvak 82">
              <a:extLst>
                <a:ext uri="{FF2B5EF4-FFF2-40B4-BE49-F238E27FC236}">
                  <a16:creationId xmlns:a16="http://schemas.microsoft.com/office/drawing/2014/main" id="{65B1401C-A507-86F7-6E69-9B8D568B2B4D}"/>
                </a:ext>
              </a:extLst>
            </p:cNvPr>
            <p:cNvSpPr txBox="1"/>
            <p:nvPr/>
          </p:nvSpPr>
          <p:spPr>
            <a:xfrm>
              <a:off x="7602837"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6</a:t>
              </a:r>
            </a:p>
          </p:txBody>
        </p:sp>
        <p:sp>
          <p:nvSpPr>
            <p:cNvPr id="76" name="Tekstvak 83">
              <a:extLst>
                <a:ext uri="{FF2B5EF4-FFF2-40B4-BE49-F238E27FC236}">
                  <a16:creationId xmlns:a16="http://schemas.microsoft.com/office/drawing/2014/main" id="{9A051FC8-F212-F202-16CF-14D6B17856C4}"/>
                </a:ext>
              </a:extLst>
            </p:cNvPr>
            <p:cNvSpPr txBox="1"/>
            <p:nvPr/>
          </p:nvSpPr>
          <p:spPr>
            <a:xfrm>
              <a:off x="7846802" y="4399211"/>
              <a:ext cx="141064"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7</a:t>
              </a:r>
            </a:p>
          </p:txBody>
        </p:sp>
        <p:sp>
          <p:nvSpPr>
            <p:cNvPr id="77" name="Tekstvak 84">
              <a:extLst>
                <a:ext uri="{FF2B5EF4-FFF2-40B4-BE49-F238E27FC236}">
                  <a16:creationId xmlns:a16="http://schemas.microsoft.com/office/drawing/2014/main" id="{5A26EEBB-D109-27E6-A7B5-5C841BB35055}"/>
                </a:ext>
              </a:extLst>
            </p:cNvPr>
            <p:cNvSpPr txBox="1"/>
            <p:nvPr/>
          </p:nvSpPr>
          <p:spPr>
            <a:xfrm>
              <a:off x="8075847" y="4399211"/>
              <a:ext cx="158698"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8</a:t>
              </a:r>
            </a:p>
          </p:txBody>
        </p:sp>
        <p:sp>
          <p:nvSpPr>
            <p:cNvPr id="78" name="Tekstvak 85">
              <a:extLst>
                <a:ext uri="{FF2B5EF4-FFF2-40B4-BE49-F238E27FC236}">
                  <a16:creationId xmlns:a16="http://schemas.microsoft.com/office/drawing/2014/main" id="{9A4A8132-48A3-547B-D27D-8FD0E782AAF3}"/>
                </a:ext>
              </a:extLst>
            </p:cNvPr>
            <p:cNvSpPr txBox="1"/>
            <p:nvPr/>
          </p:nvSpPr>
          <p:spPr>
            <a:xfrm>
              <a:off x="8317129" y="4399211"/>
              <a:ext cx="155492" cy="153888"/>
            </a:xfrm>
            <a:prstGeom prst="rect">
              <a:avLst/>
            </a:prstGeom>
            <a:noFill/>
          </p:spPr>
          <p:txBody>
            <a:bodyPr wrap="none" lIns="0" tIns="0" rIns="0" bIns="0" rtlCol="0">
              <a:spAutoFit/>
            </a:bodyPr>
            <a:lstStyle/>
            <a:p>
              <a:pPr algn="l" defTabSz="685800"/>
              <a:r>
                <a:rPr lang="nl-BE" sz="1000" spc="0" baseline="0">
                  <a:ln/>
                  <a:solidFill>
                    <a:srgbClr val="595959"/>
                  </a:solidFill>
                  <a:latin typeface="Proximus Light" pitchFamily="2" charset="77"/>
                  <a:sym typeface="Proximus"/>
                  <a:rtl val="0"/>
                </a:rPr>
                <a:t>39</a:t>
              </a:r>
            </a:p>
          </p:txBody>
        </p:sp>
        <p:sp>
          <p:nvSpPr>
            <p:cNvPr id="79" name="Tekstvak 86">
              <a:extLst>
                <a:ext uri="{FF2B5EF4-FFF2-40B4-BE49-F238E27FC236}">
                  <a16:creationId xmlns:a16="http://schemas.microsoft.com/office/drawing/2014/main" id="{0532221A-E2E4-C4E4-628F-B78EDA00A3AA}"/>
                </a:ext>
              </a:extLst>
            </p:cNvPr>
            <p:cNvSpPr txBox="1"/>
            <p:nvPr/>
          </p:nvSpPr>
          <p:spPr>
            <a:xfrm>
              <a:off x="8544706" y="4399211"/>
              <a:ext cx="194028" cy="153888"/>
            </a:xfrm>
            <a:prstGeom prst="rect">
              <a:avLst/>
            </a:prstGeom>
            <a:noFill/>
          </p:spPr>
          <p:txBody>
            <a:bodyPr wrap="square" lIns="0" tIns="0" rIns="0" bIns="0" rtlCol="0">
              <a:spAutoFit/>
            </a:bodyPr>
            <a:lstStyle/>
            <a:p>
              <a:pPr algn="l" defTabSz="685800"/>
              <a:r>
                <a:rPr lang="nl-BE" sz="1000" spc="0" baseline="0">
                  <a:ln/>
                  <a:solidFill>
                    <a:srgbClr val="595959"/>
                  </a:solidFill>
                  <a:latin typeface="Proximus Light" pitchFamily="2" charset="77"/>
                  <a:sym typeface="Proximus"/>
                  <a:rtl val="0"/>
                </a:rPr>
                <a:t>40</a:t>
              </a:r>
            </a:p>
          </p:txBody>
        </p:sp>
        <p:sp>
          <p:nvSpPr>
            <p:cNvPr id="80" name="Tekstvak 87">
              <a:extLst>
                <a:ext uri="{FF2B5EF4-FFF2-40B4-BE49-F238E27FC236}">
                  <a16:creationId xmlns:a16="http://schemas.microsoft.com/office/drawing/2014/main" id="{1593C344-1CE3-ADC5-FDA3-517E28E2AF15}"/>
                </a:ext>
              </a:extLst>
            </p:cNvPr>
            <p:cNvSpPr txBox="1"/>
            <p:nvPr/>
          </p:nvSpPr>
          <p:spPr>
            <a:xfrm rot="16200000">
              <a:off x="3050210" y="3337311"/>
              <a:ext cx="2290692" cy="143762"/>
            </a:xfrm>
            <a:prstGeom prst="rect">
              <a:avLst/>
            </a:prstGeom>
            <a:noFill/>
          </p:spPr>
          <p:txBody>
            <a:bodyPr wrap="square" lIns="0" tIns="0" rIns="0" bIns="0" rtlCol="0">
              <a:spAutoFit/>
            </a:bodyPr>
            <a:lstStyle/>
            <a:p>
              <a:pPr algn="l" defTabSz="685800"/>
              <a:r>
                <a:rPr lang="nl-BE" sz="1000" b="1" spc="0" baseline="0">
                  <a:ln/>
                  <a:solidFill>
                    <a:srgbClr val="000000"/>
                  </a:solidFill>
                  <a:latin typeface="Proximus Bold" pitchFamily="2" charset="77"/>
                  <a:cs typeface="Calibri"/>
                  <a:sym typeface="Calibri"/>
                  <a:rtl val="0"/>
                </a:rPr>
                <a:t>Ongoing projects </a:t>
              </a:r>
              <a:r>
                <a:rPr lang="nl-BE" sz="1000" spc="0" baseline="0">
                  <a:ln/>
                  <a:solidFill>
                    <a:srgbClr val="000000"/>
                  </a:solidFill>
                  <a:latin typeface="Proximus Light" pitchFamily="2" charset="77"/>
                  <a:cs typeface="Calibri"/>
                  <a:sym typeface="Calibri"/>
                  <a:rtl val="0"/>
                </a:rPr>
                <a:t>(x 1.000 m²)</a:t>
              </a:r>
            </a:p>
          </p:txBody>
        </p:sp>
        <p:sp>
          <p:nvSpPr>
            <p:cNvPr id="81" name="Vrije vorm 88">
              <a:extLst>
                <a:ext uri="{FF2B5EF4-FFF2-40B4-BE49-F238E27FC236}">
                  <a16:creationId xmlns:a16="http://schemas.microsoft.com/office/drawing/2014/main" id="{80FCF7B4-AA8F-7C63-B48D-F5F228BECBB0}"/>
                </a:ext>
              </a:extLst>
            </p:cNvPr>
            <p:cNvSpPr/>
            <p:nvPr/>
          </p:nvSpPr>
          <p:spPr>
            <a:xfrm>
              <a:off x="7583492" y="2937470"/>
              <a:ext cx="69043" cy="69044"/>
            </a:xfrm>
            <a:custGeom>
              <a:avLst/>
              <a:gdLst>
                <a:gd name="connsiteX0" fmla="*/ -1800 w 69043"/>
                <a:gd name="connsiteY0" fmla="*/ -156 h 69044"/>
                <a:gd name="connsiteX1" fmla="*/ 67244 w 69043"/>
                <a:gd name="connsiteY1" fmla="*/ -156 h 69044"/>
                <a:gd name="connsiteX2" fmla="*/ 67244 w 69043"/>
                <a:gd name="connsiteY2" fmla="*/ 68888 h 69044"/>
                <a:gd name="connsiteX3" fmla="*/ -1800 w 69043"/>
                <a:gd name="connsiteY3" fmla="*/ 68888 h 69044"/>
              </a:gdLst>
              <a:ahLst/>
              <a:cxnLst>
                <a:cxn ang="0">
                  <a:pos x="connsiteX0" y="connsiteY0"/>
                </a:cxn>
                <a:cxn ang="0">
                  <a:pos x="connsiteX1" y="connsiteY1"/>
                </a:cxn>
                <a:cxn ang="0">
                  <a:pos x="connsiteX2" y="connsiteY2"/>
                </a:cxn>
                <a:cxn ang="0">
                  <a:pos x="connsiteX3" y="connsiteY3"/>
                </a:cxn>
              </a:cxnLst>
              <a:rect l="l" t="t" r="r" b="b"/>
              <a:pathLst>
                <a:path w="69043" h="69044">
                  <a:moveTo>
                    <a:pt x="-1800" y="-156"/>
                  </a:moveTo>
                  <a:lnTo>
                    <a:pt x="67244" y="-156"/>
                  </a:lnTo>
                  <a:lnTo>
                    <a:pt x="67244" y="68888"/>
                  </a:lnTo>
                  <a:lnTo>
                    <a:pt x="-1800" y="68888"/>
                  </a:lnTo>
                  <a:close/>
                </a:path>
              </a:pathLst>
            </a:custGeom>
            <a:solidFill>
              <a:schemeClr val="tx1">
                <a:lumMod val="75000"/>
              </a:schemeClr>
            </a:solidFill>
            <a:ln w="5744" cap="flat">
              <a:noFill/>
              <a:prstDash val="solid"/>
              <a:miter/>
            </a:ln>
          </p:spPr>
          <p:txBody>
            <a:bodyPr rtlCol="0" anchor="ctr"/>
            <a:lstStyle/>
            <a:p>
              <a:endParaRPr lang="nl-BE"/>
            </a:p>
          </p:txBody>
        </p:sp>
        <p:sp>
          <p:nvSpPr>
            <p:cNvPr id="82" name="Tekstvak 89">
              <a:extLst>
                <a:ext uri="{FF2B5EF4-FFF2-40B4-BE49-F238E27FC236}">
                  <a16:creationId xmlns:a16="http://schemas.microsoft.com/office/drawing/2014/main" id="{E101B9D5-700F-B8BE-9E61-475522F205FA}"/>
                </a:ext>
              </a:extLst>
            </p:cNvPr>
            <p:cNvSpPr txBox="1"/>
            <p:nvPr/>
          </p:nvSpPr>
          <p:spPr>
            <a:xfrm>
              <a:off x="7712219" y="2886705"/>
              <a:ext cx="331822" cy="138499"/>
            </a:xfrm>
            <a:prstGeom prst="rect">
              <a:avLst/>
            </a:prstGeom>
            <a:noFill/>
          </p:spPr>
          <p:txBody>
            <a:bodyPr wrap="none" lIns="0" tIns="0" rIns="0" bIns="0" rtlCol="0">
              <a:spAutoFit/>
            </a:bodyPr>
            <a:lstStyle/>
            <a:p>
              <a:pPr algn="l" defTabSz="685800"/>
              <a:r>
                <a:rPr lang="nl-BE" sz="900" spc="0" baseline="0">
                  <a:ln/>
                  <a:solidFill>
                    <a:srgbClr val="595959"/>
                  </a:solidFill>
                  <a:latin typeface="Proximus Bold" pitchFamily="2" charset="77"/>
                  <a:cs typeface="Calibri"/>
                  <a:sym typeface="Calibri"/>
                  <a:rtl val="0"/>
                </a:rPr>
                <a:t>Small</a:t>
              </a:r>
            </a:p>
          </p:txBody>
        </p:sp>
        <p:sp>
          <p:nvSpPr>
            <p:cNvPr id="83" name="Vrije vorm 90">
              <a:extLst>
                <a:ext uri="{FF2B5EF4-FFF2-40B4-BE49-F238E27FC236}">
                  <a16:creationId xmlns:a16="http://schemas.microsoft.com/office/drawing/2014/main" id="{7F7F1F09-C531-1120-1FDB-5ECA5F5B40A9}"/>
                </a:ext>
              </a:extLst>
            </p:cNvPr>
            <p:cNvSpPr/>
            <p:nvPr/>
          </p:nvSpPr>
          <p:spPr>
            <a:xfrm>
              <a:off x="7583492" y="3110080"/>
              <a:ext cx="69043" cy="63290"/>
            </a:xfrm>
            <a:custGeom>
              <a:avLst/>
              <a:gdLst>
                <a:gd name="connsiteX0" fmla="*/ -1800 w 69043"/>
                <a:gd name="connsiteY0" fmla="*/ -156 h 63290"/>
                <a:gd name="connsiteX1" fmla="*/ 67244 w 69043"/>
                <a:gd name="connsiteY1" fmla="*/ -156 h 63290"/>
                <a:gd name="connsiteX2" fmla="*/ 67244 w 69043"/>
                <a:gd name="connsiteY2" fmla="*/ 63134 h 63290"/>
                <a:gd name="connsiteX3" fmla="*/ -1800 w 69043"/>
                <a:gd name="connsiteY3" fmla="*/ 63134 h 63290"/>
              </a:gdLst>
              <a:ahLst/>
              <a:cxnLst>
                <a:cxn ang="0">
                  <a:pos x="connsiteX0" y="connsiteY0"/>
                </a:cxn>
                <a:cxn ang="0">
                  <a:pos x="connsiteX1" y="connsiteY1"/>
                </a:cxn>
                <a:cxn ang="0">
                  <a:pos x="connsiteX2" y="connsiteY2"/>
                </a:cxn>
                <a:cxn ang="0">
                  <a:pos x="connsiteX3" y="connsiteY3"/>
                </a:cxn>
              </a:cxnLst>
              <a:rect l="l" t="t" r="r" b="b"/>
              <a:pathLst>
                <a:path w="69043" h="63290">
                  <a:moveTo>
                    <a:pt x="-1800" y="-156"/>
                  </a:moveTo>
                  <a:lnTo>
                    <a:pt x="67244" y="-156"/>
                  </a:lnTo>
                  <a:lnTo>
                    <a:pt x="67244" y="63134"/>
                  </a:lnTo>
                  <a:lnTo>
                    <a:pt x="-1800" y="63134"/>
                  </a:lnTo>
                  <a:close/>
                </a:path>
              </a:pathLst>
            </a:custGeom>
            <a:solidFill>
              <a:schemeClr val="bg1"/>
            </a:solidFill>
            <a:ln w="5744" cap="flat">
              <a:noFill/>
              <a:prstDash val="solid"/>
              <a:miter/>
            </a:ln>
          </p:spPr>
          <p:txBody>
            <a:bodyPr rtlCol="0" anchor="ctr"/>
            <a:lstStyle/>
            <a:p>
              <a:endParaRPr lang="nl-BE"/>
            </a:p>
          </p:txBody>
        </p:sp>
        <p:sp>
          <p:nvSpPr>
            <p:cNvPr id="84" name="Tekstvak 91">
              <a:extLst>
                <a:ext uri="{FF2B5EF4-FFF2-40B4-BE49-F238E27FC236}">
                  <a16:creationId xmlns:a16="http://schemas.microsoft.com/office/drawing/2014/main" id="{69E06B26-65EF-0B86-3FFB-CD623D422885}"/>
                </a:ext>
              </a:extLst>
            </p:cNvPr>
            <p:cNvSpPr txBox="1"/>
            <p:nvPr/>
          </p:nvSpPr>
          <p:spPr>
            <a:xfrm>
              <a:off x="7712943" y="3058502"/>
              <a:ext cx="442429" cy="138499"/>
            </a:xfrm>
            <a:prstGeom prst="rect">
              <a:avLst/>
            </a:prstGeom>
            <a:noFill/>
          </p:spPr>
          <p:txBody>
            <a:bodyPr wrap="none" lIns="0" tIns="0" rIns="0" bIns="0" rtlCol="0">
              <a:spAutoFit/>
            </a:bodyPr>
            <a:lstStyle/>
            <a:p>
              <a:pPr algn="l" defTabSz="685800"/>
              <a:r>
                <a:rPr lang="nl-BE" sz="900" spc="0" baseline="0">
                  <a:ln/>
                  <a:solidFill>
                    <a:srgbClr val="595959"/>
                  </a:solidFill>
                  <a:latin typeface="Proximus Bold" pitchFamily="2" charset="77"/>
                  <a:cs typeface="Calibri"/>
                  <a:sym typeface="Calibri"/>
                  <a:rtl val="0"/>
                </a:rPr>
                <a:t>Medium</a:t>
              </a:r>
            </a:p>
          </p:txBody>
        </p:sp>
        <p:sp>
          <p:nvSpPr>
            <p:cNvPr id="85" name="Vrije vorm 92">
              <a:extLst>
                <a:ext uri="{FF2B5EF4-FFF2-40B4-BE49-F238E27FC236}">
                  <a16:creationId xmlns:a16="http://schemas.microsoft.com/office/drawing/2014/main" id="{92C09B57-943C-159C-A20D-D9DAD85ED61E}"/>
                </a:ext>
              </a:extLst>
            </p:cNvPr>
            <p:cNvSpPr/>
            <p:nvPr/>
          </p:nvSpPr>
          <p:spPr>
            <a:xfrm>
              <a:off x="7583492" y="3276937"/>
              <a:ext cx="69043" cy="69044"/>
            </a:xfrm>
            <a:custGeom>
              <a:avLst/>
              <a:gdLst>
                <a:gd name="connsiteX0" fmla="*/ -1800 w 69043"/>
                <a:gd name="connsiteY0" fmla="*/ -156 h 69044"/>
                <a:gd name="connsiteX1" fmla="*/ 67244 w 69043"/>
                <a:gd name="connsiteY1" fmla="*/ -156 h 69044"/>
                <a:gd name="connsiteX2" fmla="*/ 67244 w 69043"/>
                <a:gd name="connsiteY2" fmla="*/ 68888 h 69044"/>
                <a:gd name="connsiteX3" fmla="*/ -1800 w 69043"/>
                <a:gd name="connsiteY3" fmla="*/ 68888 h 69044"/>
              </a:gdLst>
              <a:ahLst/>
              <a:cxnLst>
                <a:cxn ang="0">
                  <a:pos x="connsiteX0" y="connsiteY0"/>
                </a:cxn>
                <a:cxn ang="0">
                  <a:pos x="connsiteX1" y="connsiteY1"/>
                </a:cxn>
                <a:cxn ang="0">
                  <a:pos x="connsiteX2" y="connsiteY2"/>
                </a:cxn>
                <a:cxn ang="0">
                  <a:pos x="connsiteX3" y="connsiteY3"/>
                </a:cxn>
              </a:cxnLst>
              <a:rect l="l" t="t" r="r" b="b"/>
              <a:pathLst>
                <a:path w="69043" h="69044">
                  <a:moveTo>
                    <a:pt x="-1800" y="-156"/>
                  </a:moveTo>
                  <a:lnTo>
                    <a:pt x="67244" y="-156"/>
                  </a:lnTo>
                  <a:lnTo>
                    <a:pt x="67244" y="68888"/>
                  </a:lnTo>
                  <a:lnTo>
                    <a:pt x="-1800" y="68888"/>
                  </a:lnTo>
                  <a:close/>
                </a:path>
              </a:pathLst>
            </a:custGeom>
            <a:solidFill>
              <a:schemeClr val="accent2"/>
            </a:solidFill>
            <a:ln w="5744" cap="flat">
              <a:noFill/>
              <a:prstDash val="solid"/>
              <a:miter/>
            </a:ln>
          </p:spPr>
          <p:txBody>
            <a:bodyPr rtlCol="0" anchor="ctr"/>
            <a:lstStyle/>
            <a:p>
              <a:endParaRPr lang="nl-BE"/>
            </a:p>
          </p:txBody>
        </p:sp>
        <p:sp>
          <p:nvSpPr>
            <p:cNvPr id="86" name="Tekstvak 93">
              <a:extLst>
                <a:ext uri="{FF2B5EF4-FFF2-40B4-BE49-F238E27FC236}">
                  <a16:creationId xmlns:a16="http://schemas.microsoft.com/office/drawing/2014/main" id="{33A1CE7A-C8BE-B46A-CC44-48E9A1B02C59}"/>
                </a:ext>
              </a:extLst>
            </p:cNvPr>
            <p:cNvSpPr txBox="1"/>
            <p:nvPr/>
          </p:nvSpPr>
          <p:spPr>
            <a:xfrm>
              <a:off x="7712219" y="3230148"/>
              <a:ext cx="322204" cy="138499"/>
            </a:xfrm>
            <a:prstGeom prst="rect">
              <a:avLst/>
            </a:prstGeom>
            <a:noFill/>
          </p:spPr>
          <p:txBody>
            <a:bodyPr wrap="none" lIns="0" tIns="0" rIns="0" bIns="0" rtlCol="0">
              <a:spAutoFit/>
            </a:bodyPr>
            <a:lstStyle/>
            <a:p>
              <a:pPr algn="l" defTabSz="685800"/>
              <a:r>
                <a:rPr lang="nl-BE" sz="900" spc="0" baseline="0">
                  <a:ln/>
                  <a:solidFill>
                    <a:srgbClr val="595959"/>
                  </a:solidFill>
                  <a:latin typeface="Proximus Bold" pitchFamily="2" charset="77"/>
                  <a:cs typeface="Calibri"/>
                  <a:sym typeface="Calibri"/>
                  <a:rtl val="0"/>
                </a:rPr>
                <a:t>Large</a:t>
              </a:r>
            </a:p>
          </p:txBody>
        </p:sp>
        <p:sp>
          <p:nvSpPr>
            <p:cNvPr id="87" name="TextBox 66">
              <a:extLst>
                <a:ext uri="{FF2B5EF4-FFF2-40B4-BE49-F238E27FC236}">
                  <a16:creationId xmlns:a16="http://schemas.microsoft.com/office/drawing/2014/main" id="{BDCE4E26-981B-26B5-2BAB-F2FFBED70292}"/>
                </a:ext>
              </a:extLst>
            </p:cNvPr>
            <p:cNvSpPr txBox="1"/>
            <p:nvPr/>
          </p:nvSpPr>
          <p:spPr>
            <a:xfrm>
              <a:off x="5044150" y="2060237"/>
              <a:ext cx="3043740" cy="165763"/>
            </a:xfrm>
            <a:prstGeom prst="rect">
              <a:avLst/>
            </a:prstGeom>
            <a:noFill/>
          </p:spPr>
          <p:txBody>
            <a:bodyPr wrap="square" lIns="27000" tIns="0" rIns="0" bIns="27000" rtlCol="0" anchor="t">
              <a:spAutoFit/>
            </a:bodyPr>
            <a:lstStyle/>
            <a:p>
              <a:pPr indent="-37148" defTabSz="685715">
                <a:spcBef>
                  <a:spcPts val="450"/>
                </a:spcBef>
                <a:spcAft>
                  <a:spcPts val="225"/>
                </a:spcAft>
                <a:buClr>
                  <a:srgbClr val="5C2D91"/>
                </a:buClr>
                <a:buSzPct val="100000"/>
              </a:pPr>
              <a:r>
                <a:rPr lang="en-GB" sz="900" b="1">
                  <a:solidFill>
                    <a:srgbClr val="000000"/>
                  </a:solidFill>
                  <a:latin typeface="Proximus Bold"/>
                </a:rPr>
                <a:t>Ongoing buildings </a:t>
              </a:r>
              <a:r>
                <a:rPr lang="en-GB" sz="900" b="1" err="1">
                  <a:solidFill>
                    <a:srgbClr val="000000"/>
                  </a:solidFill>
                  <a:latin typeface="Proximus Bold"/>
                </a:rPr>
                <a:t>outphasing</a:t>
              </a:r>
              <a:r>
                <a:rPr lang="en-GB" sz="900" b="1">
                  <a:solidFill>
                    <a:srgbClr val="000000"/>
                  </a:solidFill>
                  <a:latin typeface="Proximus Bold"/>
                </a:rPr>
                <a:t> surface</a:t>
              </a:r>
              <a:r>
                <a:rPr lang="en-GB" sz="900">
                  <a:solidFill>
                    <a:srgbClr val="000000"/>
                  </a:solidFill>
                  <a:latin typeface="Proximus Bold"/>
                </a:rPr>
                <a:t> </a:t>
              </a:r>
              <a:r>
                <a:rPr lang="en-GB" sz="900">
                  <a:solidFill>
                    <a:srgbClr val="000000"/>
                  </a:solidFill>
                  <a:latin typeface="Proximus Light" pitchFamily="2" charset="77"/>
                </a:rPr>
                <a:t>(x 1.000 m²)</a:t>
              </a:r>
            </a:p>
          </p:txBody>
        </p:sp>
      </p:grpSp>
    </p:spTree>
    <p:extLst>
      <p:ext uri="{BB962C8B-B14F-4D97-AF65-F5344CB8AC3E}">
        <p14:creationId xmlns:p14="http://schemas.microsoft.com/office/powerpoint/2010/main" val="2223564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1BE18-2D3D-A1A1-D8DD-C4F6426E09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ED876E-CAE6-AAC6-FA7B-D3624AE3ED13}"/>
              </a:ext>
            </a:extLst>
          </p:cNvPr>
          <p:cNvSpPr>
            <a:spLocks noGrp="1"/>
          </p:cNvSpPr>
          <p:nvPr>
            <p:ph type="title"/>
          </p:nvPr>
        </p:nvSpPr>
        <p:spPr>
          <a:xfrm>
            <a:off x="1226989" y="377826"/>
            <a:ext cx="7455051" cy="660092"/>
          </a:xfrm>
        </p:spPr>
        <p:txBody>
          <a:bodyPr anchor="ctr"/>
          <a:lstStyle/>
          <a:p>
            <a:r>
              <a:rPr lang="en-GB">
                <a:solidFill>
                  <a:srgbClr val="2A2234"/>
                </a:solidFill>
              </a:rPr>
              <a:t>Building </a:t>
            </a:r>
            <a:r>
              <a:rPr lang="en-GB" err="1">
                <a:solidFill>
                  <a:srgbClr val="2A2234"/>
                </a:solidFill>
              </a:rPr>
              <a:t>outphasing</a:t>
            </a:r>
            <a:r>
              <a:rPr lang="en-GB">
                <a:solidFill>
                  <a:srgbClr val="2A2234"/>
                </a:solidFill>
              </a:rPr>
              <a:t> </a:t>
            </a:r>
            <a:r>
              <a:rPr lang="en-BE" b="0">
                <a:solidFill>
                  <a:srgbClr val="2A2234"/>
                </a:solidFill>
                <a:latin typeface="Proximus Light" pitchFamily="2" charset="77"/>
              </a:rPr>
              <a:t>in 2025</a:t>
            </a:r>
            <a:endParaRPr lang="en-GB">
              <a:solidFill>
                <a:srgbClr val="2A2234"/>
              </a:solidFill>
            </a:endParaRPr>
          </a:p>
        </p:txBody>
      </p:sp>
      <p:sp>
        <p:nvSpPr>
          <p:cNvPr id="39" name="!!OVAL_network">
            <a:extLst>
              <a:ext uri="{FF2B5EF4-FFF2-40B4-BE49-F238E27FC236}">
                <a16:creationId xmlns:a16="http://schemas.microsoft.com/office/drawing/2014/main" id="{8E01031B-B63D-DF5A-6191-B18F4C39223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Graphic 3">
            <a:extLst>
              <a:ext uri="{FF2B5EF4-FFF2-40B4-BE49-F238E27FC236}">
                <a16:creationId xmlns:a16="http://schemas.microsoft.com/office/drawing/2014/main" id="{CD601B73-A0E4-C282-B057-09832698E7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75" y="517372"/>
            <a:ext cx="381000" cy="381000"/>
          </a:xfrm>
          <a:prstGeom prst="rect">
            <a:avLst/>
          </a:prstGeom>
        </p:spPr>
      </p:pic>
      <p:sp>
        <p:nvSpPr>
          <p:cNvPr id="3" name="Text Placeholder 4">
            <a:extLst>
              <a:ext uri="{FF2B5EF4-FFF2-40B4-BE49-F238E27FC236}">
                <a16:creationId xmlns:a16="http://schemas.microsoft.com/office/drawing/2014/main" id="{B9D46B81-BB06-F8ED-3E69-ED9C8E2B7100}"/>
              </a:ext>
            </a:extLst>
          </p:cNvPr>
          <p:cNvSpPr txBox="1">
            <a:spLocks/>
          </p:cNvSpPr>
          <p:nvPr/>
        </p:nvSpPr>
        <p:spPr>
          <a:xfrm>
            <a:off x="460374" y="1393460"/>
            <a:ext cx="2592000" cy="2149840"/>
          </a:xfrm>
          <a:prstGeom prst="roundRect">
            <a:avLst>
              <a:gd name="adj" fmla="val 735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2"/>
                    </a:gs>
                  </a:gsLst>
                  <a:lin ang="3000000" scaled="0"/>
                </a:gradFill>
                <a:latin typeface="Proximus ExtraBold" pitchFamily="2" charset="77"/>
              </a:rPr>
              <a:t>1</a:t>
            </a: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Find </a:t>
            </a:r>
            <a:r>
              <a:rPr lang="en-US" sz="1100" b="1" dirty="0">
                <a:solidFill>
                  <a:srgbClr val="141C24"/>
                </a:solidFill>
                <a:latin typeface="Proximus Bold" pitchFamily="2" charset="77"/>
              </a:rPr>
              <a:t>locations</a:t>
            </a:r>
            <a:r>
              <a:rPr lang="en-US" sz="1100" dirty="0">
                <a:solidFill>
                  <a:srgbClr val="141C24"/>
                </a:solidFill>
                <a:latin typeface="Proximus Light" pitchFamily="2" charset="77"/>
              </a:rPr>
              <a:t> and </a:t>
            </a:r>
            <a:r>
              <a:rPr lang="en-US" sz="1100" b="1" dirty="0">
                <a:solidFill>
                  <a:srgbClr val="141C24"/>
                </a:solidFill>
                <a:latin typeface="Proximus Bold" pitchFamily="2" charset="77"/>
              </a:rPr>
              <a:t>permits</a:t>
            </a:r>
            <a:r>
              <a:rPr lang="en-US" sz="1100" dirty="0">
                <a:solidFill>
                  <a:srgbClr val="141C24"/>
                </a:solidFill>
                <a:latin typeface="Proximus Light" pitchFamily="2" charset="77"/>
              </a:rPr>
              <a:t> </a:t>
            </a: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Deliver </a:t>
            </a:r>
            <a:r>
              <a:rPr lang="en-US" sz="1100" b="1" dirty="0">
                <a:solidFill>
                  <a:srgbClr val="141C24"/>
                </a:solidFill>
                <a:latin typeface="Proximus Bold" pitchFamily="2" charset="77"/>
              </a:rPr>
              <a:t>network designs</a:t>
            </a:r>
          </a:p>
          <a:p>
            <a:pPr marL="0" indent="0" defTabSz="914241">
              <a:lnSpc>
                <a:spcPct val="110000"/>
              </a:lnSpc>
              <a:spcBef>
                <a:spcPts val="0"/>
              </a:spcBef>
              <a:spcAft>
                <a:spcPts val="1200"/>
              </a:spcAft>
              <a:buClr>
                <a:srgbClr val="5C2D91"/>
              </a:buClr>
              <a:buNone/>
              <a:defRPr/>
            </a:pPr>
            <a:r>
              <a:rPr lang="en-US" sz="1100" b="1" dirty="0">
                <a:solidFill>
                  <a:srgbClr val="141C24"/>
                </a:solidFill>
                <a:latin typeface="Proximus Bold" pitchFamily="2" charset="77"/>
              </a:rPr>
              <a:t>Migration </a:t>
            </a:r>
            <a:r>
              <a:rPr lang="en-US" sz="1100" dirty="0">
                <a:solidFill>
                  <a:srgbClr val="141C24"/>
                </a:solidFill>
                <a:latin typeface="Proximus Light" pitchFamily="2" charset="77"/>
              </a:rPr>
              <a:t>Control Center (MCC)</a:t>
            </a:r>
            <a:br>
              <a:rPr lang="en-US" sz="1100" b="1" dirty="0">
                <a:solidFill>
                  <a:srgbClr val="141C24"/>
                </a:solidFill>
                <a:latin typeface="Proximus ExtraBold" pitchFamily="2" charset="77"/>
              </a:rPr>
            </a:br>
            <a:endParaRPr lang="en-US" sz="1100" b="1" dirty="0">
              <a:solidFill>
                <a:srgbClr val="141C24"/>
              </a:solidFill>
              <a:latin typeface="Proximus ExtraBold" pitchFamily="2" charset="77"/>
            </a:endParaRPr>
          </a:p>
        </p:txBody>
      </p:sp>
      <p:sp>
        <p:nvSpPr>
          <p:cNvPr id="6" name="Text Placeholder 4">
            <a:extLst>
              <a:ext uri="{FF2B5EF4-FFF2-40B4-BE49-F238E27FC236}">
                <a16:creationId xmlns:a16="http://schemas.microsoft.com/office/drawing/2014/main" id="{6DF97502-AB5D-FD12-8E53-41EC4D0BD5CA}"/>
              </a:ext>
            </a:extLst>
          </p:cNvPr>
          <p:cNvSpPr txBox="1">
            <a:spLocks/>
          </p:cNvSpPr>
          <p:nvPr/>
        </p:nvSpPr>
        <p:spPr>
          <a:xfrm>
            <a:off x="3280358" y="1387107"/>
            <a:ext cx="2592000" cy="3308718"/>
          </a:xfrm>
          <a:prstGeom prst="roundRect">
            <a:avLst>
              <a:gd name="adj" fmla="val 735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2"/>
                    </a:gs>
                  </a:gsLst>
                  <a:lin ang="3000000" scaled="0"/>
                </a:gradFill>
                <a:latin typeface="Proximus ExtraBold" pitchFamily="2" charset="77"/>
              </a:rPr>
              <a:t>2</a:t>
            </a:r>
            <a:endParaRPr lang="en-US" sz="1200" b="1" dirty="0">
              <a:gradFill>
                <a:gsLst>
                  <a:gs pos="0">
                    <a:schemeClr val="bg1"/>
                  </a:gs>
                  <a:gs pos="100000">
                    <a:schemeClr val="accent2"/>
                  </a:gs>
                </a:gsLst>
                <a:lin ang="3000000" scaled="0"/>
              </a:gradFill>
              <a:latin typeface="Proximus ExtraBold" pitchFamily="2" charset="77"/>
            </a:endParaRP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Further </a:t>
            </a:r>
            <a:r>
              <a:rPr lang="en-US" sz="1100" b="1" dirty="0">
                <a:solidFill>
                  <a:srgbClr val="141C24"/>
                </a:solidFill>
                <a:latin typeface="Proximus Bold" pitchFamily="2" charset="77"/>
              </a:rPr>
              <a:t>industrialize</a:t>
            </a:r>
            <a:r>
              <a:rPr lang="en-US" sz="1100" dirty="0">
                <a:solidFill>
                  <a:srgbClr val="141C24"/>
                </a:solidFill>
                <a:latin typeface="Proximus Light" pitchFamily="2" charset="77"/>
              </a:rPr>
              <a:t> to 40 buildings/year scale in processes and solutions</a:t>
            </a: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Automate </a:t>
            </a:r>
            <a:r>
              <a:rPr lang="en-US" sz="1100" b="1" dirty="0">
                <a:solidFill>
                  <a:srgbClr val="141C24"/>
                </a:solidFill>
                <a:latin typeface="Proximus Bold" pitchFamily="2" charset="77"/>
              </a:rPr>
              <a:t>re-hosting</a:t>
            </a:r>
          </a:p>
          <a:p>
            <a:pPr marL="0" indent="0" defTabSz="914241">
              <a:lnSpc>
                <a:spcPct val="110000"/>
              </a:lnSpc>
              <a:spcBef>
                <a:spcPts val="0"/>
              </a:spcBef>
              <a:spcAft>
                <a:spcPts val="1200"/>
              </a:spcAft>
              <a:buClr>
                <a:srgbClr val="5C2D91"/>
              </a:buClr>
              <a:buNone/>
              <a:defRPr/>
            </a:pPr>
            <a:r>
              <a:rPr lang="en-US" sz="1100" b="1" dirty="0">
                <a:solidFill>
                  <a:srgbClr val="141C24"/>
                </a:solidFill>
                <a:latin typeface="Proximus Bold" pitchFamily="2" charset="77"/>
              </a:rPr>
              <a:t>Underground</a:t>
            </a:r>
            <a:r>
              <a:rPr lang="en-US" sz="1100" dirty="0">
                <a:solidFill>
                  <a:srgbClr val="141C24"/>
                </a:solidFill>
                <a:latin typeface="Proximus Light" pitchFamily="2" charset="77"/>
              </a:rPr>
              <a:t> Optimus</a:t>
            </a:r>
          </a:p>
          <a:p>
            <a:pPr marL="0" indent="0" defTabSz="914241">
              <a:lnSpc>
                <a:spcPct val="110000"/>
              </a:lnSpc>
              <a:spcBef>
                <a:spcPts val="0"/>
              </a:spcBef>
              <a:spcAft>
                <a:spcPts val="1200"/>
              </a:spcAft>
              <a:buClr>
                <a:srgbClr val="5C2D91"/>
              </a:buClr>
              <a:buNone/>
              <a:defRPr/>
            </a:pPr>
            <a:endParaRPr lang="en-US" sz="1100" b="1" dirty="0">
              <a:solidFill>
                <a:srgbClr val="141C24"/>
              </a:solidFill>
              <a:latin typeface="Proximus ExtraBold" pitchFamily="2" charset="77"/>
            </a:endParaRPr>
          </a:p>
          <a:p>
            <a:pPr marL="0" indent="0" defTabSz="914241">
              <a:lnSpc>
                <a:spcPct val="110000"/>
              </a:lnSpc>
              <a:spcBef>
                <a:spcPts val="0"/>
              </a:spcBef>
              <a:spcAft>
                <a:spcPts val="1200"/>
              </a:spcAft>
              <a:buClr>
                <a:srgbClr val="5C2D91"/>
              </a:buClr>
              <a:buNone/>
              <a:defRPr/>
            </a:pPr>
            <a:br>
              <a:rPr lang="en-US" sz="1100" dirty="0">
                <a:solidFill>
                  <a:srgbClr val="141C24"/>
                </a:solidFill>
                <a:latin typeface="Proximus Light" pitchFamily="2" charset="77"/>
              </a:rPr>
            </a:br>
            <a:endParaRPr lang="en-US" sz="1100" b="1" dirty="0">
              <a:solidFill>
                <a:srgbClr val="141C24"/>
              </a:solidFill>
              <a:latin typeface="Proximus ExtraBold" pitchFamily="2" charset="77"/>
            </a:endParaRPr>
          </a:p>
        </p:txBody>
      </p:sp>
      <p:sp>
        <p:nvSpPr>
          <p:cNvPr id="8" name="Text Placeholder 4">
            <a:extLst>
              <a:ext uri="{FF2B5EF4-FFF2-40B4-BE49-F238E27FC236}">
                <a16:creationId xmlns:a16="http://schemas.microsoft.com/office/drawing/2014/main" id="{81784CEC-D05F-24D2-C797-A0FFF7572593}"/>
              </a:ext>
            </a:extLst>
          </p:cNvPr>
          <p:cNvSpPr txBox="1">
            <a:spLocks/>
          </p:cNvSpPr>
          <p:nvPr/>
        </p:nvSpPr>
        <p:spPr>
          <a:xfrm>
            <a:off x="6090040" y="3032551"/>
            <a:ext cx="2592000" cy="1663274"/>
          </a:xfrm>
          <a:prstGeom prst="roundRect">
            <a:avLst>
              <a:gd name="adj" fmla="val 735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2"/>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11 buildings </a:t>
            </a:r>
            <a:r>
              <a:rPr lang="en-US" sz="1100" b="1" dirty="0">
                <a:solidFill>
                  <a:srgbClr val="141C24"/>
                </a:solidFill>
                <a:latin typeface="Proximus Bold" pitchFamily="2" charset="77"/>
              </a:rPr>
              <a:t>phased out</a:t>
            </a: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25 buildings in </a:t>
            </a:r>
            <a:r>
              <a:rPr lang="en-US" sz="1100" b="1" dirty="0">
                <a:solidFill>
                  <a:srgbClr val="141C24"/>
                </a:solidFill>
                <a:latin typeface="Proximus Bold" pitchFamily="2" charset="77"/>
              </a:rPr>
              <a:t>execution </a:t>
            </a:r>
          </a:p>
        </p:txBody>
      </p:sp>
      <p:sp>
        <p:nvSpPr>
          <p:cNvPr id="13" name="Freeform: Shape 12">
            <a:extLst>
              <a:ext uri="{FF2B5EF4-FFF2-40B4-BE49-F238E27FC236}">
                <a16:creationId xmlns:a16="http://schemas.microsoft.com/office/drawing/2014/main" id="{E095ED72-EB45-6772-BA28-E821C4D6B785}"/>
              </a:ext>
            </a:extLst>
          </p:cNvPr>
          <p:cNvSpPr>
            <a:spLocks noChangeAspect="1"/>
          </p:cNvSpPr>
          <p:nvPr/>
        </p:nvSpPr>
        <p:spPr>
          <a:xfrm>
            <a:off x="6100342" y="-221720"/>
            <a:ext cx="2590410" cy="3074648"/>
          </a:xfrm>
          <a:prstGeom prst="roundRect">
            <a:avLst>
              <a:gd name="adj" fmla="val 7354"/>
            </a:avLst>
          </a:prstGeom>
          <a:blipFill dpi="0" rotWithShape="1">
            <a:blip r:embed="rId5">
              <a:extLst>
                <a:ext uri="{28A0092B-C50C-407E-A947-70E740481C1C}">
                  <a14:useLocalDpi xmlns:a14="http://schemas.microsoft.com/office/drawing/2010/main" val="0"/>
                </a:ext>
              </a:extLst>
            </a:blip>
            <a:srcRect/>
            <a:stretch>
              <a:fillRect l="-55859" t="7212" r="-40591" b="-1"/>
            </a:stretch>
          </a:blipFill>
          <a:ln w="38100">
            <a:noFill/>
          </a:ln>
          <a:effectLst/>
        </p:spPr>
        <p:style>
          <a:lnRef idx="1">
            <a:schemeClr val="accent1"/>
          </a:lnRef>
          <a:fillRef idx="3">
            <a:schemeClr val="accent1"/>
          </a:fillRef>
          <a:effectRef idx="2">
            <a:schemeClr val="accent1"/>
          </a:effectRef>
          <a:fontRef idx="minor">
            <a:schemeClr val="lt1"/>
          </a:fontRef>
        </p:style>
        <p:txBody>
          <a:bodyPr vert="horz" wrap="square" lIns="108000" tIns="108000" rIns="108000" bIns="108000" rtlCol="0" anchor="t" anchorCtr="0">
            <a:noAutofit/>
          </a:bodyPr>
          <a:lstStyle/>
          <a:p>
            <a:pPr algn="l" defTabSz="1218418"/>
            <a:endParaRPr lang="en-BE" sz="900" b="1">
              <a:solidFill>
                <a:schemeClr val="tx1"/>
              </a:solidFill>
              <a:latin typeface="Proximus Bold" panose="00000500000000000000" pitchFamily="2" charset="0"/>
              <a:cs typeface="Proximus Bold"/>
            </a:endParaRPr>
          </a:p>
        </p:txBody>
      </p:sp>
      <p:pic>
        <p:nvPicPr>
          <p:cNvPr id="14" name="image_0">
            <a:extLst>
              <a:ext uri="{FF2B5EF4-FFF2-40B4-BE49-F238E27FC236}">
                <a16:creationId xmlns:a16="http://schemas.microsoft.com/office/drawing/2014/main" id="{511C8894-BA09-7A0A-25D9-F599E575D53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6786" t="28809" r="16634" b="35601"/>
          <a:stretch/>
        </p:blipFill>
        <p:spPr bwMode="auto">
          <a:xfrm>
            <a:off x="6662882" y="3321387"/>
            <a:ext cx="1610421" cy="372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2" name="Rounded Rectangle 11">
            <a:extLst>
              <a:ext uri="{FF2B5EF4-FFF2-40B4-BE49-F238E27FC236}">
                <a16:creationId xmlns:a16="http://schemas.microsoft.com/office/drawing/2014/main" id="{229EF7F5-E5D7-F614-FE8B-9F40AC21C13D}"/>
              </a:ext>
            </a:extLst>
          </p:cNvPr>
          <p:cNvSpPr/>
          <p:nvPr/>
        </p:nvSpPr>
        <p:spPr>
          <a:xfrm>
            <a:off x="460375" y="3746727"/>
            <a:ext cx="2590056" cy="1856716"/>
          </a:xfrm>
          <a:prstGeom prst="roundRect">
            <a:avLst>
              <a:gd name="adj" fmla="val 7355"/>
            </a:avLst>
          </a:prstGeom>
          <a:blipFill>
            <a:blip r:embed="rId7"/>
            <a:srcRect/>
            <a:stretch>
              <a:fillRect l="-3764" t="-16941" r="-3764" b="1694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Tree>
    <p:extLst>
      <p:ext uri="{BB962C8B-B14F-4D97-AF65-F5344CB8AC3E}">
        <p14:creationId xmlns:p14="http://schemas.microsoft.com/office/powerpoint/2010/main" val="17184793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B3B6B-3394-0DDE-85D2-7F89E7DF1B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12B305-D2E7-8433-D9A9-DD51D11E83DD}"/>
              </a:ext>
            </a:extLst>
          </p:cNvPr>
          <p:cNvSpPr>
            <a:spLocks noGrp="1"/>
          </p:cNvSpPr>
          <p:nvPr>
            <p:ph type="title"/>
          </p:nvPr>
        </p:nvSpPr>
        <p:spPr>
          <a:xfrm>
            <a:off x="1226989" y="377826"/>
            <a:ext cx="7455051" cy="660092"/>
          </a:xfrm>
        </p:spPr>
        <p:txBody>
          <a:bodyPr anchor="ctr"/>
          <a:lstStyle/>
          <a:p>
            <a:r>
              <a:rPr lang="en-GB">
                <a:solidFill>
                  <a:srgbClr val="2A2234"/>
                </a:solidFill>
              </a:rPr>
              <a:t>Evolve our NBU operating model</a:t>
            </a:r>
          </a:p>
        </p:txBody>
      </p:sp>
      <p:sp>
        <p:nvSpPr>
          <p:cNvPr id="39" name="!!OVAL_network">
            <a:extLst>
              <a:ext uri="{FF2B5EF4-FFF2-40B4-BE49-F238E27FC236}">
                <a16:creationId xmlns:a16="http://schemas.microsoft.com/office/drawing/2014/main" id="{9A456FA2-4014-6F11-CD69-A1AFC210A5E6}"/>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ICON_brands">
            <a:extLst>
              <a:ext uri="{FF2B5EF4-FFF2-40B4-BE49-F238E27FC236}">
                <a16:creationId xmlns:a16="http://schemas.microsoft.com/office/drawing/2014/main" id="{E643CEF8-F2CA-945D-98A7-DEEA030FA5D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0817" y="573754"/>
            <a:ext cx="327115" cy="268235"/>
          </a:xfrm>
          <a:prstGeom prst="rect">
            <a:avLst/>
          </a:prstGeom>
        </p:spPr>
      </p:pic>
      <p:sp>
        <p:nvSpPr>
          <p:cNvPr id="3" name="Text Placeholder 4">
            <a:extLst>
              <a:ext uri="{FF2B5EF4-FFF2-40B4-BE49-F238E27FC236}">
                <a16:creationId xmlns:a16="http://schemas.microsoft.com/office/drawing/2014/main" id="{46F4B8DE-A686-318D-F4B9-1B4E2A52CED7}"/>
              </a:ext>
            </a:extLst>
          </p:cNvPr>
          <p:cNvSpPr txBox="1">
            <a:spLocks/>
          </p:cNvSpPr>
          <p:nvPr/>
        </p:nvSpPr>
        <p:spPr>
          <a:xfrm>
            <a:off x="2237008" y="1557451"/>
            <a:ext cx="4669983" cy="1296000"/>
          </a:xfrm>
          <a:prstGeom prst="roundRect">
            <a:avLst>
              <a:gd name="adj" fmla="val 9959"/>
            </a:avLst>
          </a:prstGeom>
          <a:solidFill>
            <a:schemeClr val="tx1"/>
          </a:solidFill>
          <a:effectLst>
            <a:outerShdw blurRad="508000" dist="38100" dir="5400000" algn="t" rotWithShape="0">
              <a:prstClr val="black">
                <a:alpha val="15000"/>
              </a:prstClr>
            </a:outerShdw>
          </a:effectLst>
        </p:spPr>
        <p:txBody>
          <a:bodyPr lIns="1116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spcAft>
                <a:spcPts val="0"/>
              </a:spcAft>
              <a:buClr>
                <a:srgbClr val="5C2D91"/>
              </a:buClr>
              <a:buNone/>
              <a:defRPr/>
            </a:pPr>
            <a:r>
              <a:rPr lang="en-US" sz="1600" b="1" dirty="0">
                <a:solidFill>
                  <a:srgbClr val="141C24"/>
                </a:solidFill>
                <a:latin typeface="Proximus Bold" pitchFamily="2" charset="77"/>
              </a:rPr>
              <a:t>Build cheaper </a:t>
            </a:r>
            <a:r>
              <a:rPr lang="en-US" sz="1600" dirty="0">
                <a:solidFill>
                  <a:srgbClr val="141C24"/>
                </a:solidFill>
                <a:latin typeface="Proximus Light" pitchFamily="2" charset="77"/>
              </a:rPr>
              <a:t>with quality, using</a:t>
            </a:r>
            <a:br>
              <a:rPr lang="en-US" sz="1600" dirty="0">
                <a:solidFill>
                  <a:srgbClr val="141C24"/>
                </a:solidFill>
                <a:latin typeface="Proximus Light" pitchFamily="2" charset="77"/>
              </a:rPr>
            </a:br>
            <a:r>
              <a:rPr lang="en-US" sz="1600" dirty="0">
                <a:solidFill>
                  <a:srgbClr val="141C24"/>
                </a:solidFill>
                <a:latin typeface="Proximus Light" pitchFamily="2" charset="77"/>
              </a:rPr>
              <a:t>a streamlined model, </a:t>
            </a:r>
            <a:r>
              <a:rPr lang="en-US" sz="1600" b="1" dirty="0">
                <a:solidFill>
                  <a:srgbClr val="141C24"/>
                </a:solidFill>
                <a:latin typeface="Proximus Bold" pitchFamily="2" charset="77"/>
              </a:rPr>
              <a:t>GOFIT(light)</a:t>
            </a:r>
          </a:p>
        </p:txBody>
      </p:sp>
      <p:sp>
        <p:nvSpPr>
          <p:cNvPr id="5" name="Text Placeholder 4">
            <a:extLst>
              <a:ext uri="{FF2B5EF4-FFF2-40B4-BE49-F238E27FC236}">
                <a16:creationId xmlns:a16="http://schemas.microsoft.com/office/drawing/2014/main" id="{689C3AA6-5BA2-DBCB-95C7-1CD728F03295}"/>
              </a:ext>
            </a:extLst>
          </p:cNvPr>
          <p:cNvSpPr txBox="1">
            <a:spLocks/>
          </p:cNvSpPr>
          <p:nvPr/>
        </p:nvSpPr>
        <p:spPr>
          <a:xfrm>
            <a:off x="2237009" y="3149184"/>
            <a:ext cx="4669982" cy="1296000"/>
          </a:xfrm>
          <a:prstGeom prst="roundRect">
            <a:avLst>
              <a:gd name="adj" fmla="val 11265"/>
            </a:avLst>
          </a:prstGeom>
          <a:solidFill>
            <a:schemeClr val="tx1"/>
          </a:solidFill>
          <a:effectLst>
            <a:outerShdw blurRad="508000" dist="38100" dir="5400000" algn="t" rotWithShape="0">
              <a:prstClr val="black">
                <a:alpha val="15000"/>
              </a:prstClr>
            </a:outerShdw>
          </a:effectLst>
        </p:spPr>
        <p:txBody>
          <a:bodyPr lIns="1116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spcAft>
                <a:spcPts val="0"/>
              </a:spcAft>
              <a:buClr>
                <a:srgbClr val="5C2D91"/>
              </a:buClr>
              <a:buNone/>
              <a:defRPr/>
            </a:pPr>
            <a:r>
              <a:rPr lang="en-US" sz="1600" dirty="0">
                <a:solidFill>
                  <a:srgbClr val="141C24"/>
                </a:solidFill>
                <a:latin typeface="Proximus Light" pitchFamily="2" charset="77"/>
              </a:rPr>
              <a:t>Deliver </a:t>
            </a:r>
            <a:r>
              <a:rPr lang="en-US" sz="1600" b="1" dirty="0">
                <a:solidFill>
                  <a:srgbClr val="141C24"/>
                </a:solidFill>
                <a:latin typeface="Proximus Bold" pitchFamily="2" charset="77"/>
              </a:rPr>
              <a:t>O&amp;M </a:t>
            </a:r>
            <a:r>
              <a:rPr lang="en-US" sz="1600" dirty="0">
                <a:solidFill>
                  <a:srgbClr val="141C24"/>
                </a:solidFill>
                <a:latin typeface="Proximus Light" pitchFamily="2" charset="77"/>
              </a:rPr>
              <a:t>across all fiber footprints, supported by </a:t>
            </a:r>
            <a:r>
              <a:rPr lang="en-US" sz="1600" b="1" dirty="0">
                <a:solidFill>
                  <a:srgbClr val="141C24"/>
                </a:solidFill>
                <a:latin typeface="Proximus Bold" pitchFamily="2" charset="77"/>
              </a:rPr>
              <a:t>next-generation AI super NOC </a:t>
            </a:r>
            <a:r>
              <a:rPr lang="en-US" sz="1600" dirty="0">
                <a:solidFill>
                  <a:srgbClr val="141C24"/>
                </a:solidFill>
                <a:latin typeface="Proximus Light" pitchFamily="2" charset="77"/>
              </a:rPr>
              <a:t>ensuring efficient diagnosis and dispatch</a:t>
            </a:r>
          </a:p>
        </p:txBody>
      </p:sp>
      <p:pic>
        <p:nvPicPr>
          <p:cNvPr id="7" name="Graphic 6">
            <a:extLst>
              <a:ext uri="{FF2B5EF4-FFF2-40B4-BE49-F238E27FC236}">
                <a16:creationId xmlns:a16="http://schemas.microsoft.com/office/drawing/2014/main" id="{83343E74-7FF0-FA99-B6C4-54037CA4B4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04256" y="1862123"/>
            <a:ext cx="666114" cy="666114"/>
          </a:xfrm>
          <a:prstGeom prst="rect">
            <a:avLst/>
          </a:prstGeom>
        </p:spPr>
      </p:pic>
      <p:pic>
        <p:nvPicPr>
          <p:cNvPr id="8" name="Graphic 7">
            <a:extLst>
              <a:ext uri="{FF2B5EF4-FFF2-40B4-BE49-F238E27FC236}">
                <a16:creationId xmlns:a16="http://schemas.microsoft.com/office/drawing/2014/main" id="{F95C3DA6-21F2-5573-19B9-B3DFF4F1B5E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504256" y="3437074"/>
            <a:ext cx="666114" cy="666114"/>
          </a:xfrm>
          <a:prstGeom prst="rect">
            <a:avLst/>
          </a:prstGeom>
        </p:spPr>
      </p:pic>
    </p:spTree>
    <p:extLst>
      <p:ext uri="{BB962C8B-B14F-4D97-AF65-F5344CB8AC3E}">
        <p14:creationId xmlns:p14="http://schemas.microsoft.com/office/powerpoint/2010/main" val="2739636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0B772-6D33-3915-68ED-134C780A5AA9}"/>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106593DE-26BC-1EE9-E60F-4F72D6D4F845}"/>
              </a:ext>
            </a:extLst>
          </p:cNvPr>
          <p:cNvSpPr/>
          <p:nvPr/>
        </p:nvSpPr>
        <p:spPr>
          <a:xfrm>
            <a:off x="460375" y="450850"/>
            <a:ext cx="8221665" cy="4244975"/>
          </a:xfrm>
          <a:prstGeom prst="roundRect">
            <a:avLst>
              <a:gd name="adj" fmla="val 2317"/>
            </a:avLst>
          </a:prstGeom>
          <a:gradFill flip="none" rotWithShape="1">
            <a:gsLst>
              <a:gs pos="0">
                <a:schemeClr val="bg1"/>
              </a:gs>
              <a:gs pos="99000">
                <a:schemeClr val="accent2"/>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9FBB1234-3B39-A6E3-986F-EC5124FE280F}"/>
              </a:ext>
            </a:extLst>
          </p:cNvPr>
          <p:cNvSpPr>
            <a:spLocks noGrp="1"/>
          </p:cNvSpPr>
          <p:nvPr>
            <p:ph type="title"/>
          </p:nvPr>
        </p:nvSpPr>
        <p:spPr>
          <a:xfrm>
            <a:off x="4073706" y="1592655"/>
            <a:ext cx="3382896" cy="377904"/>
          </a:xfrm>
        </p:spPr>
        <p:txBody>
          <a:bodyPr/>
          <a:lstStyle/>
          <a:p>
            <a:r>
              <a:rPr lang="en-GB" dirty="0">
                <a:solidFill>
                  <a:schemeClr val="tx1"/>
                </a:solidFill>
              </a:rPr>
              <a:t>What is GO fit light?</a:t>
            </a:r>
            <a:endParaRPr lang="en-BE" dirty="0">
              <a:solidFill>
                <a:schemeClr val="tx1"/>
              </a:solidFill>
            </a:endParaRPr>
          </a:p>
        </p:txBody>
      </p:sp>
      <p:sp>
        <p:nvSpPr>
          <p:cNvPr id="4" name="Title 1">
            <a:extLst>
              <a:ext uri="{FF2B5EF4-FFF2-40B4-BE49-F238E27FC236}">
                <a16:creationId xmlns:a16="http://schemas.microsoft.com/office/drawing/2014/main" id="{35B40570-CB45-88A5-EA6B-F5A06B07CAF7}"/>
              </a:ext>
            </a:extLst>
          </p:cNvPr>
          <p:cNvSpPr txBox="1">
            <a:spLocks/>
          </p:cNvSpPr>
          <p:nvPr/>
        </p:nvSpPr>
        <p:spPr>
          <a:xfrm>
            <a:off x="4073706" y="2183205"/>
            <a:ext cx="4400992"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nSpc>
                <a:spcPct val="107000"/>
              </a:lnSpc>
              <a:spcAft>
                <a:spcPts val="800"/>
              </a:spcAft>
              <a:buFont typeface="+mj-lt"/>
              <a:buAutoNum type="arabicPeriod"/>
            </a:pP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A new Proximus </a:t>
            </a:r>
            <a:r>
              <a:rPr lang="fr-FR" sz="1800" b="0" kern="100" dirty="0" err="1">
                <a:solidFill>
                  <a:schemeClr val="tx1"/>
                </a:solidFill>
                <a:latin typeface="Proximus Light" pitchFamily="2" charset="77"/>
                <a:ea typeface="Aptos" panose="020B0004020202020204" pitchFamily="34" charset="0"/>
                <a:cs typeface="Arial" panose="020B0604020202020204" pitchFamily="34" charset="0"/>
              </a:rPr>
              <a:t>wellbeing</a:t>
            </a: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 program</a:t>
            </a:r>
            <a:endParaRPr lang="fr-FR" sz="1800" b="0" kern="100" dirty="0">
              <a:solidFill>
                <a:schemeClr val="tx1"/>
              </a:solidFill>
              <a:effectLst/>
              <a:latin typeface="Proximus Light" pitchFamily="2" charset="77"/>
              <a:ea typeface="Aptos" panose="020B0004020202020204" pitchFamily="34" charset="0"/>
              <a:cs typeface="Arial" panose="020B0604020202020204" pitchFamily="34" charset="0"/>
            </a:endParaRPr>
          </a:p>
          <a:p>
            <a:pPr marL="342900" indent="-342900">
              <a:lnSpc>
                <a:spcPct val="107000"/>
              </a:lnSpc>
              <a:spcAft>
                <a:spcPts val="800"/>
              </a:spcAft>
              <a:buFont typeface="+mj-lt"/>
              <a:buAutoNum type="arabicPeriod"/>
            </a:pP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A NEO initiative to </a:t>
            </a:r>
            <a:r>
              <a:rPr lang="fr-FR" sz="1800" b="0" kern="100" dirty="0" err="1">
                <a:solidFill>
                  <a:schemeClr val="tx1"/>
                </a:solidFill>
                <a:latin typeface="Proximus Light" pitchFamily="2" charset="77"/>
                <a:ea typeface="Aptos" panose="020B0004020202020204" pitchFamily="34" charset="0"/>
                <a:cs typeface="Arial" panose="020B0604020202020204" pitchFamily="34" charset="0"/>
              </a:rPr>
              <a:t>decrease</a:t>
            </a: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 </a:t>
            </a:r>
            <a:r>
              <a:rPr lang="fr-FR" sz="1800" b="0" kern="100" dirty="0" err="1">
                <a:solidFill>
                  <a:schemeClr val="tx1"/>
                </a:solidFill>
                <a:latin typeface="Proximus Light" pitchFamily="2" charset="77"/>
                <a:ea typeface="Aptos" panose="020B0004020202020204" pitchFamily="34" charset="0"/>
                <a:cs typeface="Arial" panose="020B0604020202020204" pitchFamily="34" charset="0"/>
              </a:rPr>
              <a:t>cost</a:t>
            </a: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 </a:t>
            </a:r>
            <a:br>
              <a:rPr lang="fr-FR" sz="1800" b="0" kern="100" dirty="0">
                <a:solidFill>
                  <a:schemeClr val="tx1"/>
                </a:solidFill>
                <a:latin typeface="Proximus Light" pitchFamily="2" charset="77"/>
                <a:ea typeface="Aptos" panose="020B0004020202020204" pitchFamily="34" charset="0"/>
                <a:cs typeface="Arial" panose="020B0604020202020204" pitchFamily="34" charset="0"/>
              </a:rPr>
            </a:b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of </a:t>
            </a:r>
            <a:r>
              <a:rPr lang="fr-FR" sz="1800" b="0" kern="100" dirty="0" err="1">
                <a:solidFill>
                  <a:schemeClr val="tx1"/>
                </a:solidFill>
                <a:latin typeface="Proximus Light" pitchFamily="2" charset="77"/>
                <a:ea typeface="Aptos" panose="020B0004020202020204" pitchFamily="34" charset="0"/>
                <a:cs typeface="Arial" panose="020B0604020202020204" pitchFamily="34" charset="0"/>
              </a:rPr>
              <a:t>fiber</a:t>
            </a: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 </a:t>
            </a:r>
            <a:r>
              <a:rPr lang="fr-FR" sz="1800" b="0" kern="100" dirty="0" err="1">
                <a:solidFill>
                  <a:schemeClr val="tx1"/>
                </a:solidFill>
                <a:latin typeface="Proximus Light" pitchFamily="2" charset="77"/>
                <a:ea typeface="Aptos" panose="020B0004020202020204" pitchFamily="34" charset="0"/>
                <a:cs typeface="Arial" panose="020B0604020202020204" pitchFamily="34" charset="0"/>
              </a:rPr>
              <a:t>deployement</a:t>
            </a: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 </a:t>
            </a:r>
          </a:p>
          <a:p>
            <a:pPr marL="342900" indent="-342900">
              <a:lnSpc>
                <a:spcPct val="107000"/>
              </a:lnSpc>
              <a:spcAft>
                <a:spcPts val="800"/>
              </a:spcAft>
              <a:buFont typeface="+mj-lt"/>
              <a:buAutoNum type="arabicPeriod"/>
            </a:pP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Copper switch off </a:t>
            </a:r>
            <a:r>
              <a:rPr lang="fr-FR" sz="1800" b="0" kern="100" dirty="0" err="1">
                <a:solidFill>
                  <a:schemeClr val="tx1"/>
                </a:solidFill>
                <a:latin typeface="Proximus Light" pitchFamily="2" charset="77"/>
                <a:ea typeface="Aptos" panose="020B0004020202020204" pitchFamily="34" charset="0"/>
                <a:cs typeface="Arial" panose="020B0604020202020204" pitchFamily="34" charset="0"/>
              </a:rPr>
              <a:t>partners</a:t>
            </a:r>
            <a:endParaRPr lang="fr-FR" sz="1800" b="0" kern="100" dirty="0">
              <a:solidFill>
                <a:schemeClr val="tx1"/>
              </a:solidFill>
              <a:effectLst/>
              <a:latin typeface="Proximus Light" pitchFamily="2" charset="77"/>
              <a:ea typeface="Aptos" panose="020B0004020202020204" pitchFamily="34" charset="0"/>
              <a:cs typeface="Arial" panose="020B0604020202020204" pitchFamily="34" charset="0"/>
            </a:endParaRPr>
          </a:p>
          <a:p>
            <a:pPr marL="342900" indent="-342900">
              <a:lnSpc>
                <a:spcPct val="107000"/>
              </a:lnSpc>
              <a:spcAft>
                <a:spcPts val="800"/>
              </a:spcAft>
              <a:buFont typeface="+mj-lt"/>
              <a:buAutoNum type="arabicPeriod"/>
            </a:pPr>
            <a:r>
              <a:rPr lang="fr-FR" sz="1800" b="0" kern="100" dirty="0">
                <a:solidFill>
                  <a:schemeClr val="tx1"/>
                </a:solidFill>
                <a:latin typeface="Proximus Light" pitchFamily="2" charset="77"/>
                <a:ea typeface="Aptos" panose="020B0004020202020204" pitchFamily="34" charset="0"/>
                <a:cs typeface="Arial" panose="020B0604020202020204" pitchFamily="34" charset="0"/>
              </a:rPr>
              <a:t>A new CWS </a:t>
            </a:r>
            <a:r>
              <a:rPr lang="fr-FR" sz="1800" b="0" kern="100" dirty="0" err="1">
                <a:solidFill>
                  <a:schemeClr val="tx1"/>
                </a:solidFill>
                <a:latin typeface="Proximus Light" pitchFamily="2" charset="77"/>
                <a:ea typeface="Aptos" panose="020B0004020202020204" pitchFamily="34" charset="0"/>
                <a:cs typeface="Arial" panose="020B0604020202020204" pitchFamily="34" charset="0"/>
              </a:rPr>
              <a:t>customer</a:t>
            </a:r>
            <a:endParaRPr lang="fr-FR" sz="1800" b="0" kern="100" dirty="0">
              <a:solidFill>
                <a:schemeClr val="tx1"/>
              </a:solidFill>
              <a:effectLst/>
              <a:latin typeface="Proximus Light" pitchFamily="2" charset="77"/>
              <a:ea typeface="Aptos" panose="020B0004020202020204" pitchFamily="34" charset="0"/>
              <a:cs typeface="Arial" panose="020B0604020202020204" pitchFamily="34" charset="0"/>
            </a:endParaRPr>
          </a:p>
        </p:txBody>
      </p:sp>
      <p:grpSp>
        <p:nvGrpSpPr>
          <p:cNvPr id="11" name="Group 10">
            <a:extLst>
              <a:ext uri="{FF2B5EF4-FFF2-40B4-BE49-F238E27FC236}">
                <a16:creationId xmlns:a16="http://schemas.microsoft.com/office/drawing/2014/main" id="{788BEB02-6157-8C79-6EFF-54433760E00F}"/>
              </a:ext>
            </a:extLst>
          </p:cNvPr>
          <p:cNvGrpSpPr/>
          <p:nvPr/>
        </p:nvGrpSpPr>
        <p:grpSpPr>
          <a:xfrm>
            <a:off x="1034715" y="1330467"/>
            <a:ext cx="2376000" cy="2850482"/>
            <a:chOff x="1034715" y="1437623"/>
            <a:chExt cx="2376000" cy="2850482"/>
          </a:xfrm>
        </p:grpSpPr>
        <p:sp>
          <p:nvSpPr>
            <p:cNvPr id="12" name="Rounded Rectangle 11">
              <a:extLst>
                <a:ext uri="{FF2B5EF4-FFF2-40B4-BE49-F238E27FC236}">
                  <a16:creationId xmlns:a16="http://schemas.microsoft.com/office/drawing/2014/main" id="{9579BE91-DBA0-D77D-79E3-BC27569D1650}"/>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13" name="Group 12">
              <a:extLst>
                <a:ext uri="{FF2B5EF4-FFF2-40B4-BE49-F238E27FC236}">
                  <a16:creationId xmlns:a16="http://schemas.microsoft.com/office/drawing/2014/main" id="{EE1B5C01-CBAA-6CF6-B33B-D643A04CBCB8}"/>
                </a:ext>
              </a:extLst>
            </p:cNvPr>
            <p:cNvGrpSpPr/>
            <p:nvPr/>
          </p:nvGrpSpPr>
          <p:grpSpPr>
            <a:xfrm>
              <a:off x="1758834" y="3919743"/>
              <a:ext cx="948471" cy="263470"/>
              <a:chOff x="5411538" y="379361"/>
              <a:chExt cx="613934" cy="170541"/>
            </a:xfrm>
            <a:solidFill>
              <a:srgbClr val="000000"/>
            </a:solidFill>
          </p:grpSpPr>
          <p:sp>
            <p:nvSpPr>
              <p:cNvPr id="15" name="Freeform 14">
                <a:extLst>
                  <a:ext uri="{FF2B5EF4-FFF2-40B4-BE49-F238E27FC236}">
                    <a16:creationId xmlns:a16="http://schemas.microsoft.com/office/drawing/2014/main" id="{4BFF2E94-4DA1-F9E6-4C45-DDEEDA0D7117}"/>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6" name="Freeform 15">
                <a:extLst>
                  <a:ext uri="{FF2B5EF4-FFF2-40B4-BE49-F238E27FC236}">
                    <a16:creationId xmlns:a16="http://schemas.microsoft.com/office/drawing/2014/main" id="{CE8D56A7-83A3-149E-43B1-92334D4D665A}"/>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0C371CEB-705A-9371-1454-821BF1C3BDAA}"/>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14" name="Afbeelding 4">
              <a:extLst>
                <a:ext uri="{FF2B5EF4-FFF2-40B4-BE49-F238E27FC236}">
                  <a16:creationId xmlns:a16="http://schemas.microsoft.com/office/drawing/2014/main" id="{0A9DACA7-8DCF-1F59-274D-47B5A9F674F1}"/>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4064380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4AB020-E689-0166-C025-35CB57D947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080F42-011F-09CA-712A-790ABF09DE45}"/>
              </a:ext>
            </a:extLst>
          </p:cNvPr>
          <p:cNvSpPr>
            <a:spLocks noGrp="1"/>
          </p:cNvSpPr>
          <p:nvPr>
            <p:ph type="title"/>
          </p:nvPr>
        </p:nvSpPr>
        <p:spPr>
          <a:xfrm>
            <a:off x="1226989" y="377826"/>
            <a:ext cx="7455051" cy="660092"/>
          </a:xfrm>
        </p:spPr>
        <p:txBody>
          <a:bodyPr anchor="ctr"/>
          <a:lstStyle/>
          <a:p>
            <a:r>
              <a:rPr lang="en-GB">
                <a:solidFill>
                  <a:srgbClr val="2A2234"/>
                </a:solidFill>
              </a:rPr>
              <a:t>Reviewed operational model </a:t>
            </a:r>
            <a:r>
              <a:rPr lang="en-BE" b="0">
                <a:solidFill>
                  <a:srgbClr val="2A2234"/>
                </a:solidFill>
                <a:latin typeface="Proximus Light" pitchFamily="2" charset="77"/>
              </a:rPr>
              <a:t>in 2025</a:t>
            </a:r>
            <a:endParaRPr lang="en-GB">
              <a:solidFill>
                <a:srgbClr val="2A2234"/>
              </a:solidFill>
            </a:endParaRPr>
          </a:p>
        </p:txBody>
      </p:sp>
      <p:sp>
        <p:nvSpPr>
          <p:cNvPr id="39" name="!!OVAL_network">
            <a:extLst>
              <a:ext uri="{FF2B5EF4-FFF2-40B4-BE49-F238E27FC236}">
                <a16:creationId xmlns:a16="http://schemas.microsoft.com/office/drawing/2014/main" id="{2E17C891-646E-8869-E4D2-FBD8339E1ECC}"/>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4" name="!!ICON_brands">
            <a:extLst>
              <a:ext uri="{FF2B5EF4-FFF2-40B4-BE49-F238E27FC236}">
                <a16:creationId xmlns:a16="http://schemas.microsoft.com/office/drawing/2014/main" id="{D7DD89C1-C843-8548-06D8-D0CA8138ECC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0817" y="573754"/>
            <a:ext cx="327115" cy="268235"/>
          </a:xfrm>
          <a:prstGeom prst="rect">
            <a:avLst/>
          </a:prstGeom>
        </p:spPr>
      </p:pic>
      <p:sp>
        <p:nvSpPr>
          <p:cNvPr id="3" name="Text Placeholder 4">
            <a:extLst>
              <a:ext uri="{FF2B5EF4-FFF2-40B4-BE49-F238E27FC236}">
                <a16:creationId xmlns:a16="http://schemas.microsoft.com/office/drawing/2014/main" id="{B13F8D3F-20DC-E44A-CBA4-89F2F343067A}"/>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2"/>
                    </a:gs>
                  </a:gsLst>
                  <a:lin ang="3000000" scaled="0"/>
                </a:gradFill>
                <a:latin typeface="Proximus ExtraBold" pitchFamily="2" charset="77"/>
              </a:rPr>
              <a:t>1</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Define the </a:t>
            </a:r>
            <a:r>
              <a:rPr lang="en-US" sz="1100" b="1">
                <a:solidFill>
                  <a:srgbClr val="141C24"/>
                </a:solidFill>
                <a:latin typeface="Proximus ExtraBold" pitchFamily="2" charset="77"/>
              </a:rPr>
              <a:t>optimal CUO/NEO demarcation point </a:t>
            </a:r>
            <a:r>
              <a:rPr lang="en-US" sz="1100">
                <a:solidFill>
                  <a:srgbClr val="141C24"/>
                </a:solidFill>
                <a:latin typeface="Proximus Light" pitchFamily="2" charset="77"/>
              </a:rPr>
              <a:t>&amp; related implementation roadmap</a:t>
            </a:r>
            <a:endParaRPr lang="en-US" sz="1100" b="1">
              <a:solidFill>
                <a:srgbClr val="141C24"/>
              </a:solidFill>
              <a:latin typeface="Proximus ExtraBold" pitchFamily="2" charset="77"/>
            </a:endParaRPr>
          </a:p>
        </p:txBody>
      </p:sp>
      <p:sp>
        <p:nvSpPr>
          <p:cNvPr id="7" name="Text Placeholder 4">
            <a:extLst>
              <a:ext uri="{FF2B5EF4-FFF2-40B4-BE49-F238E27FC236}">
                <a16:creationId xmlns:a16="http://schemas.microsoft.com/office/drawing/2014/main" id="{0D121FBC-B5C0-B2B5-3F7B-4F27771E7FCF}"/>
              </a:ext>
            </a:extLst>
          </p:cNvPr>
          <p:cNvSpPr txBox="1">
            <a:spLocks/>
          </p:cNvSpPr>
          <p:nvPr/>
        </p:nvSpPr>
        <p:spPr>
          <a:xfrm>
            <a:off x="257391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2"/>
                    </a:gs>
                  </a:gsLst>
                  <a:lin ang="3000000" scaled="0"/>
                </a:gradFill>
                <a:latin typeface="Proximus ExtraBold" pitchFamily="2" charset="77"/>
              </a:rPr>
              <a:t>2</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Define </a:t>
            </a:r>
            <a:r>
              <a:rPr lang="en-US" sz="1100" b="1">
                <a:solidFill>
                  <a:srgbClr val="141C24"/>
                </a:solidFill>
                <a:latin typeface="Proximus ExtraBold" pitchFamily="2" charset="77"/>
              </a:rPr>
              <a:t>IT &amp; tools ecosystem </a:t>
            </a:r>
            <a:r>
              <a:rPr lang="en-US" sz="1100">
                <a:solidFill>
                  <a:srgbClr val="141C24"/>
                </a:solidFill>
                <a:latin typeface="Proximus Light" pitchFamily="2" charset="77"/>
              </a:rPr>
              <a:t>to support our model, aligned with our new </a:t>
            </a:r>
            <a:r>
              <a:rPr lang="en-US" sz="1100" b="1">
                <a:solidFill>
                  <a:srgbClr val="141C24"/>
                </a:solidFill>
                <a:latin typeface="Proximus Light" pitchFamily="2" charset="77"/>
              </a:rPr>
              <a:t>multi-footprint servicing </a:t>
            </a:r>
            <a:r>
              <a:rPr lang="en-US" sz="1100">
                <a:solidFill>
                  <a:srgbClr val="141C24"/>
                </a:solidFill>
                <a:latin typeface="Proximus Light" pitchFamily="2" charset="77"/>
              </a:rPr>
              <a:t>architecture and </a:t>
            </a:r>
            <a:r>
              <a:rPr lang="en-US" sz="1100" b="1">
                <a:solidFill>
                  <a:srgbClr val="141C24"/>
                </a:solidFill>
                <a:latin typeface="Proximus Light" pitchFamily="2" charset="77"/>
              </a:rPr>
              <a:t>SLA management </a:t>
            </a:r>
            <a:r>
              <a:rPr lang="en-US" sz="1100">
                <a:solidFill>
                  <a:srgbClr val="141C24"/>
                </a:solidFill>
                <a:latin typeface="Proximus Light" pitchFamily="2" charset="77"/>
              </a:rPr>
              <a:t>with back-to-back contracts</a:t>
            </a:r>
          </a:p>
        </p:txBody>
      </p:sp>
      <p:sp>
        <p:nvSpPr>
          <p:cNvPr id="8" name="Text Placeholder 4">
            <a:extLst>
              <a:ext uri="{FF2B5EF4-FFF2-40B4-BE49-F238E27FC236}">
                <a16:creationId xmlns:a16="http://schemas.microsoft.com/office/drawing/2014/main" id="{C874E9FC-2C08-7110-380D-276E4F6819E6}"/>
              </a:ext>
            </a:extLst>
          </p:cNvPr>
          <p:cNvSpPr txBox="1">
            <a:spLocks/>
          </p:cNvSpPr>
          <p:nvPr/>
        </p:nvSpPr>
        <p:spPr>
          <a:xfrm>
            <a:off x="4812224" y="1393460"/>
            <a:ext cx="1884240" cy="1978390"/>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2"/>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Become </a:t>
            </a:r>
            <a:r>
              <a:rPr lang="en-US" sz="1100" b="1">
                <a:solidFill>
                  <a:srgbClr val="141C24"/>
                </a:solidFill>
                <a:latin typeface="Proximus ExtraBold" pitchFamily="2" charset="77"/>
              </a:rPr>
              <a:t>preferred O&amp;M partner </a:t>
            </a:r>
            <a:r>
              <a:rPr lang="en-US" sz="1100">
                <a:solidFill>
                  <a:srgbClr val="141C24"/>
                </a:solidFill>
                <a:latin typeface="Proximus Light" pitchFamily="2" charset="77"/>
              </a:rPr>
              <a:t>for the joint ventures, started with </a:t>
            </a:r>
            <a:r>
              <a:rPr lang="en-US" sz="1100" err="1">
                <a:solidFill>
                  <a:srgbClr val="141C24"/>
                </a:solidFill>
                <a:latin typeface="Proximus Light" pitchFamily="2" charset="77"/>
              </a:rPr>
              <a:t>Unifiber</a:t>
            </a:r>
            <a:r>
              <a:rPr lang="en-US" sz="1100">
                <a:solidFill>
                  <a:srgbClr val="141C24"/>
                </a:solidFill>
                <a:latin typeface="Proximus Light" pitchFamily="2" charset="77"/>
              </a:rPr>
              <a:t> PoC</a:t>
            </a:r>
          </a:p>
        </p:txBody>
      </p:sp>
      <p:sp>
        <p:nvSpPr>
          <p:cNvPr id="10" name="Text Placeholder 4">
            <a:extLst>
              <a:ext uri="{FF2B5EF4-FFF2-40B4-BE49-F238E27FC236}">
                <a16:creationId xmlns:a16="http://schemas.microsoft.com/office/drawing/2014/main" id="{490C13C2-7AAD-AAD8-8F7C-07A887258310}"/>
              </a:ext>
            </a:extLst>
          </p:cNvPr>
          <p:cNvSpPr txBox="1">
            <a:spLocks/>
          </p:cNvSpPr>
          <p:nvPr/>
        </p:nvSpPr>
        <p:spPr>
          <a:xfrm>
            <a:off x="6925759"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2"/>
                    </a:gs>
                  </a:gsLst>
                  <a:lin ang="3000000" scaled="0"/>
                </a:gradFill>
                <a:latin typeface="Proximus ExtraBold" pitchFamily="2" charset="77"/>
              </a:rPr>
              <a:t>4</a:t>
            </a:r>
          </a:p>
          <a:p>
            <a:pPr marL="0" indent="0" defTabSz="914241">
              <a:lnSpc>
                <a:spcPct val="110000"/>
              </a:lnSpc>
              <a:spcBef>
                <a:spcPts val="0"/>
              </a:spcBef>
              <a:spcAft>
                <a:spcPts val="1200"/>
              </a:spcAft>
              <a:buClr>
                <a:srgbClr val="5C2D91"/>
              </a:buClr>
              <a:buNone/>
              <a:defRPr/>
            </a:pPr>
            <a:r>
              <a:rPr lang="en-US" sz="1100" b="1">
                <a:solidFill>
                  <a:srgbClr val="141C24"/>
                </a:solidFill>
                <a:latin typeface="Proximus ExtraBold" pitchFamily="2" charset="77"/>
              </a:rPr>
              <a:t>“GOFIT light model” recommendation </a:t>
            </a:r>
            <a:r>
              <a:rPr lang="en-US" sz="1100">
                <a:solidFill>
                  <a:srgbClr val="141C24"/>
                </a:solidFill>
                <a:latin typeface="Proximus Light" pitchFamily="2" charset="77"/>
              </a:rPr>
              <a:t>for Fiber built and other civil worlds drivers</a:t>
            </a:r>
          </a:p>
        </p:txBody>
      </p:sp>
      <p:sp>
        <p:nvSpPr>
          <p:cNvPr id="5" name="Rounded Rectangle 4">
            <a:extLst>
              <a:ext uri="{FF2B5EF4-FFF2-40B4-BE49-F238E27FC236}">
                <a16:creationId xmlns:a16="http://schemas.microsoft.com/office/drawing/2014/main" id="{3122A961-3278-3B31-5069-E34C2C3E49A4}"/>
              </a:ext>
            </a:extLst>
          </p:cNvPr>
          <p:cNvSpPr/>
          <p:nvPr/>
        </p:nvSpPr>
        <p:spPr>
          <a:xfrm>
            <a:off x="4812224" y="3543300"/>
            <a:ext cx="1884240" cy="1850231"/>
          </a:xfrm>
          <a:prstGeom prst="roundRect">
            <a:avLst>
              <a:gd name="adj" fmla="val 10110"/>
            </a:avLst>
          </a:prstGeom>
          <a:blipFill>
            <a:blip r:embed="rId5"/>
            <a:srcRect/>
            <a:stretch>
              <a:fillRect l="-12749" r="-34569"/>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15634765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55EC2B09-5682-3226-023D-51F3D9505B5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936B7F1-D9CF-0E84-7B58-B8D88902DC46}"/>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11500" b="1">
                <a:solidFill>
                  <a:srgbClr val="2A2234"/>
                </a:solidFill>
                <a:latin typeface="Proximus ExtraBold" pitchFamily="2" charset="77"/>
              </a:rPr>
              <a:t>NBU </a:t>
            </a:r>
            <a:r>
              <a:rPr lang="en-GB" sz="11500" b="1">
                <a:gradFill flip="none" rotWithShape="1">
                  <a:gsLst>
                    <a:gs pos="36000">
                      <a:schemeClr val="tx2"/>
                    </a:gs>
                    <a:gs pos="99000">
                      <a:schemeClr val="bg1"/>
                    </a:gs>
                  </a:gsLst>
                  <a:lin ang="18900000" scaled="1"/>
                  <a:tileRect/>
                </a:gradFill>
                <a:latin typeface="Proximus ExtraBold" pitchFamily="2" charset="77"/>
              </a:rPr>
              <a:t>4.0</a:t>
            </a:r>
          </a:p>
        </p:txBody>
      </p:sp>
      <p:sp>
        <p:nvSpPr>
          <p:cNvPr id="2" name="TextBox 1">
            <a:extLst>
              <a:ext uri="{FF2B5EF4-FFF2-40B4-BE49-F238E27FC236}">
                <a16:creationId xmlns:a16="http://schemas.microsoft.com/office/drawing/2014/main" id="{7A21E020-E1B5-0757-A76E-8B5F45CBAB34}"/>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216784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550D6-4904-87D9-C57C-EA5BFE578192}"/>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A22A8C46-9701-C6CA-1BFA-65845DF0AB4B}"/>
              </a:ext>
            </a:extLst>
          </p:cNvPr>
          <p:cNvSpPr/>
          <p:nvPr/>
        </p:nvSpPr>
        <p:spPr>
          <a:xfrm>
            <a:off x="458785" y="450850"/>
            <a:ext cx="8221665" cy="4244975"/>
          </a:xfrm>
          <a:prstGeom prst="roundRect">
            <a:avLst>
              <a:gd name="adj" fmla="val 2317"/>
            </a:avLst>
          </a:prstGeom>
          <a:gradFill flip="none" rotWithShape="1">
            <a:gsLst>
              <a:gs pos="0">
                <a:schemeClr val="bg1"/>
              </a:gs>
              <a:gs pos="99000">
                <a:schemeClr val="accent5"/>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F31820F7-2AE7-8477-2BF9-67C954E852F5}"/>
              </a:ext>
            </a:extLst>
          </p:cNvPr>
          <p:cNvSpPr>
            <a:spLocks noGrp="1"/>
          </p:cNvSpPr>
          <p:nvPr>
            <p:ph type="title"/>
          </p:nvPr>
        </p:nvSpPr>
        <p:spPr>
          <a:xfrm>
            <a:off x="829733" y="3807152"/>
            <a:ext cx="7484533" cy="747386"/>
          </a:xfrm>
        </p:spPr>
        <p:txBody>
          <a:bodyPr/>
          <a:lstStyle/>
          <a:p>
            <a:pPr algn="ctr"/>
            <a:r>
              <a:rPr lang="en-GB" sz="2400" b="0" dirty="0">
                <a:solidFill>
                  <a:schemeClr val="tx1"/>
                </a:solidFill>
                <a:latin typeface="Proximus Light" pitchFamily="2" charset="77"/>
              </a:rPr>
              <a:t>Scan </a:t>
            </a:r>
            <a:r>
              <a:rPr lang="en-GB" sz="2400" b="0" dirty="0" err="1">
                <a:solidFill>
                  <a:schemeClr val="tx1"/>
                </a:solidFill>
                <a:latin typeface="Proximus Light" pitchFamily="2" charset="77"/>
              </a:rPr>
              <a:t>Slido</a:t>
            </a:r>
            <a:r>
              <a:rPr lang="en-GB" sz="2400" b="0" dirty="0">
                <a:solidFill>
                  <a:schemeClr val="tx1"/>
                </a:solidFill>
                <a:latin typeface="Proximus Light" pitchFamily="2" charset="77"/>
              </a:rPr>
              <a:t> QR code for</a:t>
            </a:r>
            <a:r>
              <a:rPr lang="en-GB" sz="2400" dirty="0">
                <a:solidFill>
                  <a:schemeClr val="tx1"/>
                </a:solidFill>
              </a:rPr>
              <a:t> quiz </a:t>
            </a:r>
            <a:r>
              <a:rPr lang="en-GB" sz="2400" b="0" dirty="0">
                <a:solidFill>
                  <a:schemeClr val="tx1"/>
                </a:solidFill>
                <a:latin typeface="Proximus Light" pitchFamily="2" charset="77"/>
              </a:rPr>
              <a:t>&amp;</a:t>
            </a:r>
            <a:r>
              <a:rPr lang="en-GB" sz="2400" dirty="0">
                <a:solidFill>
                  <a:schemeClr val="tx1"/>
                </a:solidFill>
              </a:rPr>
              <a:t> Q&amp;A</a:t>
            </a:r>
            <a:endParaRPr lang="en-BE" sz="2400" dirty="0">
              <a:solidFill>
                <a:schemeClr val="tx1"/>
              </a:solidFill>
            </a:endParaRPr>
          </a:p>
        </p:txBody>
      </p:sp>
      <p:grpSp>
        <p:nvGrpSpPr>
          <p:cNvPr id="6" name="Group 5">
            <a:extLst>
              <a:ext uri="{FF2B5EF4-FFF2-40B4-BE49-F238E27FC236}">
                <a16:creationId xmlns:a16="http://schemas.microsoft.com/office/drawing/2014/main" id="{47C472F3-50B2-1F6E-5D98-9E98A636AA5A}"/>
              </a:ext>
            </a:extLst>
          </p:cNvPr>
          <p:cNvGrpSpPr/>
          <p:nvPr/>
        </p:nvGrpSpPr>
        <p:grpSpPr>
          <a:xfrm>
            <a:off x="3384000" y="941001"/>
            <a:ext cx="2376000" cy="2850482"/>
            <a:chOff x="1034715" y="1437623"/>
            <a:chExt cx="2376000" cy="2850482"/>
          </a:xfrm>
        </p:grpSpPr>
        <p:sp>
          <p:nvSpPr>
            <p:cNvPr id="8" name="Rounded Rectangle 7">
              <a:extLst>
                <a:ext uri="{FF2B5EF4-FFF2-40B4-BE49-F238E27FC236}">
                  <a16:creationId xmlns:a16="http://schemas.microsoft.com/office/drawing/2014/main" id="{8F969CB5-09F2-CD4D-17E8-ECFD8CEF1F1C}"/>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13" name="Group 12">
              <a:extLst>
                <a:ext uri="{FF2B5EF4-FFF2-40B4-BE49-F238E27FC236}">
                  <a16:creationId xmlns:a16="http://schemas.microsoft.com/office/drawing/2014/main" id="{29D18AD5-D022-9CF3-4825-756CA160984C}"/>
                </a:ext>
              </a:extLst>
            </p:cNvPr>
            <p:cNvGrpSpPr/>
            <p:nvPr/>
          </p:nvGrpSpPr>
          <p:grpSpPr>
            <a:xfrm>
              <a:off x="1758834" y="3919743"/>
              <a:ext cx="948471" cy="263470"/>
              <a:chOff x="5411538" y="379361"/>
              <a:chExt cx="613934" cy="170541"/>
            </a:xfrm>
            <a:solidFill>
              <a:srgbClr val="000000"/>
            </a:solidFill>
          </p:grpSpPr>
          <p:sp>
            <p:nvSpPr>
              <p:cNvPr id="15" name="Freeform 14">
                <a:extLst>
                  <a:ext uri="{FF2B5EF4-FFF2-40B4-BE49-F238E27FC236}">
                    <a16:creationId xmlns:a16="http://schemas.microsoft.com/office/drawing/2014/main" id="{E9AF62A8-FB42-4F6B-286D-78F3F2D0C8A6}"/>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6" name="Freeform 15">
                <a:extLst>
                  <a:ext uri="{FF2B5EF4-FFF2-40B4-BE49-F238E27FC236}">
                    <a16:creationId xmlns:a16="http://schemas.microsoft.com/office/drawing/2014/main" id="{8E9F145E-7139-9628-180B-69F388CF52EA}"/>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A23D7CBE-E6A4-5265-8749-C85DFA3E0070}"/>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14" name="Afbeelding 4">
              <a:extLst>
                <a:ext uri="{FF2B5EF4-FFF2-40B4-BE49-F238E27FC236}">
                  <a16:creationId xmlns:a16="http://schemas.microsoft.com/office/drawing/2014/main" id="{057D170D-F167-D71E-C4B4-4DC3ADAACF97}"/>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7654358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C9A398D-E35B-8BCE-E238-588C99CB8EC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51E567B-A508-F4FA-A0DA-F8432EA810B4}"/>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lnSpc>
                <a:spcPct val="80000"/>
              </a:lnSpc>
            </a:pPr>
            <a:r>
              <a:rPr lang="en-GB" sz="11500" b="1">
                <a:solidFill>
                  <a:srgbClr val="2A2234"/>
                </a:solidFill>
                <a:latin typeface="Proximus ExtraBold" pitchFamily="2" charset="77"/>
              </a:rPr>
              <a:t>Rebel</a:t>
            </a:r>
            <a:br>
              <a:rPr lang="en-GB" sz="11500" b="1">
                <a:solidFill>
                  <a:srgbClr val="2A2234"/>
                </a:solidFill>
                <a:latin typeface="Proximus ExtraBold" pitchFamily="2" charset="77"/>
              </a:rPr>
            </a:br>
            <a:r>
              <a:rPr lang="en-GB" sz="11500" b="1">
                <a:solidFill>
                  <a:srgbClr val="2A2234"/>
                </a:solidFill>
                <a:latin typeface="Proximus ExtraBold" pitchFamily="2" charset="77"/>
              </a:rPr>
              <a:t>Rebel</a:t>
            </a:r>
            <a:endParaRPr lang="en-GB" sz="11500" b="1">
              <a:gradFill flip="none" rotWithShape="1">
                <a:gsLst>
                  <a:gs pos="36000">
                    <a:schemeClr val="tx2"/>
                  </a:gs>
                  <a:gs pos="99000">
                    <a:schemeClr val="bg1"/>
                  </a:gs>
                </a:gsLst>
                <a:lin ang="18900000" scaled="1"/>
                <a:tileRect/>
              </a:gradFill>
              <a:latin typeface="Proximus ExtraBold" pitchFamily="2" charset="77"/>
            </a:endParaRPr>
          </a:p>
        </p:txBody>
      </p:sp>
      <p:sp>
        <p:nvSpPr>
          <p:cNvPr id="2" name="TextBox 1">
            <a:extLst>
              <a:ext uri="{FF2B5EF4-FFF2-40B4-BE49-F238E27FC236}">
                <a16:creationId xmlns:a16="http://schemas.microsoft.com/office/drawing/2014/main" id="{9806F1BA-6F37-5335-6089-02359F5710F3}"/>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
        <p:nvSpPr>
          <p:cNvPr id="5" name="TextBox 4">
            <a:extLst>
              <a:ext uri="{FF2B5EF4-FFF2-40B4-BE49-F238E27FC236}">
                <a16:creationId xmlns:a16="http://schemas.microsoft.com/office/drawing/2014/main" id="{9DDF5B02-B2E7-9EC7-DDA7-DF6445756D6A}"/>
              </a:ext>
            </a:extLst>
          </p:cNvPr>
          <p:cNvSpPr txBox="1"/>
          <p:nvPr/>
        </p:nvSpPr>
        <p:spPr>
          <a:xfrm>
            <a:off x="2286000" y="4287145"/>
            <a:ext cx="4572000" cy="369332"/>
          </a:xfrm>
          <a:prstGeom prst="rect">
            <a:avLst/>
          </a:prstGeom>
          <a:noFill/>
        </p:spPr>
        <p:txBody>
          <a:bodyPr wrap="square">
            <a:spAutoFit/>
          </a:bodyPr>
          <a:lstStyle/>
          <a:p>
            <a:pPr algn="ctr"/>
            <a:r>
              <a:rPr lang="en-GB" sz="1800" b="0">
                <a:solidFill>
                  <a:srgbClr val="2A2234"/>
                </a:solidFill>
                <a:latin typeface="Proximus Light"/>
              </a:rPr>
              <a:t>by Geert Van Mol</a:t>
            </a:r>
            <a:endParaRPr lang="en-BE"/>
          </a:p>
        </p:txBody>
      </p:sp>
    </p:spTree>
    <p:extLst>
      <p:ext uri="{BB962C8B-B14F-4D97-AF65-F5344CB8AC3E}">
        <p14:creationId xmlns:p14="http://schemas.microsoft.com/office/powerpoint/2010/main" val="54906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EC71C414-EE2B-A71B-FC88-2F3C15333F6C}"/>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E0162688-06F0-D45D-D38E-A691B9D6BA35}"/>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11500" b="1">
                <a:solidFill>
                  <a:srgbClr val="2A2234"/>
                </a:solidFill>
                <a:latin typeface="Proximus ExtraBold" pitchFamily="2" charset="77"/>
              </a:rPr>
              <a:t>NBU </a:t>
            </a:r>
            <a:r>
              <a:rPr lang="en-GB" sz="11500" b="1">
                <a:gradFill flip="none" rotWithShape="1">
                  <a:gsLst>
                    <a:gs pos="36000">
                      <a:schemeClr val="tx2"/>
                    </a:gs>
                    <a:gs pos="99000">
                      <a:schemeClr val="bg1"/>
                    </a:gs>
                  </a:gsLst>
                  <a:lin ang="18900000" scaled="1"/>
                  <a:tileRect/>
                </a:gradFill>
                <a:latin typeface="Proximus ExtraBold" pitchFamily="2" charset="77"/>
              </a:rPr>
              <a:t>4.0</a:t>
            </a:r>
          </a:p>
        </p:txBody>
      </p:sp>
      <p:sp>
        <p:nvSpPr>
          <p:cNvPr id="2" name="TextBox 1">
            <a:extLst>
              <a:ext uri="{FF2B5EF4-FFF2-40B4-BE49-F238E27FC236}">
                <a16:creationId xmlns:a16="http://schemas.microsoft.com/office/drawing/2014/main" id="{14F27E9E-6AB5-ACB6-BF1B-D1112B9C677B}"/>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35755398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FF7AA8AC-03E1-A967-8EC4-DD9A9FD5121B}"/>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8085D8E2-F09C-7080-1D0F-47F3E0684D0F}"/>
              </a:ext>
            </a:extLst>
          </p:cNvPr>
          <p:cNvSpPr>
            <a:spLocks noGrp="1"/>
          </p:cNvSpPr>
          <p:nvPr>
            <p:ph type="body" sz="quarter" idx="13"/>
          </p:nvPr>
        </p:nvSpPr>
        <p:spPr>
          <a:xfrm>
            <a:off x="460369" y="923131"/>
            <a:ext cx="1908000" cy="3297238"/>
          </a:xfrm>
          <a:solidFill>
            <a:schemeClr val="tx1"/>
          </a:solidFill>
        </p:spPr>
        <p:txBody>
          <a:bodyPr tIns="1494000"/>
          <a:lstStyle/>
          <a:p>
            <a:pPr algn="ctr"/>
            <a:r>
              <a:rPr lang="en-BE" sz="1600" b="1">
                <a:solidFill>
                  <a:srgbClr val="2A2234"/>
                </a:solidFill>
                <a:latin typeface="Proximus ExtraBold" pitchFamily="2" charset="77"/>
              </a:rPr>
              <a:t>Bold experiences</a:t>
            </a:r>
          </a:p>
        </p:txBody>
      </p:sp>
      <p:sp>
        <p:nvSpPr>
          <p:cNvPr id="5" name="!!box3">
            <a:extLst>
              <a:ext uri="{FF2B5EF4-FFF2-40B4-BE49-F238E27FC236}">
                <a16:creationId xmlns:a16="http://schemas.microsoft.com/office/drawing/2014/main" id="{16193767-1BD4-DA75-CE06-7BD1D09A6CC7}"/>
              </a:ext>
            </a:extLst>
          </p:cNvPr>
          <p:cNvSpPr>
            <a:spLocks noGrp="1"/>
          </p:cNvSpPr>
          <p:nvPr>
            <p:ph type="body" sz="quarter" idx="15"/>
          </p:nvPr>
        </p:nvSpPr>
        <p:spPr>
          <a:xfrm>
            <a:off x="4668423" y="923131"/>
            <a:ext cx="1908000" cy="3297238"/>
          </a:xfrm>
          <a:gradFill>
            <a:gsLst>
              <a:gs pos="0">
                <a:schemeClr val="bg1"/>
              </a:gs>
              <a:gs pos="100000">
                <a:schemeClr val="accent4"/>
              </a:gs>
            </a:gsLst>
            <a:lin ang="4200000" scaled="0"/>
          </a:gradFill>
        </p:spPr>
        <p:txBody>
          <a:bodyPr tIns="1494000"/>
          <a:lstStyle/>
          <a:p>
            <a:pPr algn="ctr"/>
            <a:r>
              <a:rPr lang="en-BE" sz="1600" b="1">
                <a:solidFill>
                  <a:schemeClr val="tx1"/>
                </a:solidFill>
                <a:latin typeface="Proximus ExtraBold" pitchFamily="2" charset="77"/>
              </a:rPr>
              <a:t>Bold</a:t>
            </a:r>
            <a:r>
              <a:rPr lang="en-GB" sz="1600" b="1">
                <a:solidFill>
                  <a:schemeClr val="tx1"/>
                </a:solidFill>
                <a:latin typeface="Proximus ExtraBold" pitchFamily="2" charset="77"/>
              </a:rPr>
              <a:t> </a:t>
            </a:r>
            <a:br>
              <a:rPr lang="en-GB" sz="1600" b="1">
                <a:solidFill>
                  <a:schemeClr val="tx1"/>
                </a:solidFill>
                <a:latin typeface="Proximus ExtraBold" pitchFamily="2" charset="77"/>
              </a:rPr>
            </a:br>
            <a:r>
              <a:rPr lang="en-GB" sz="1600" b="1">
                <a:solidFill>
                  <a:schemeClr val="tx1"/>
                </a:solidFill>
                <a:latin typeface="Proximus ExtraBold" pitchFamily="2" charset="77"/>
              </a:rPr>
              <a:t>future-proofness</a:t>
            </a:r>
            <a:endParaRPr lang="en-BE" sz="1600" b="1">
              <a:solidFill>
                <a:schemeClr val="tx1"/>
              </a:solidFill>
              <a:latin typeface="Proximus ExtraBold" pitchFamily="2" charset="77"/>
            </a:endParaRPr>
          </a:p>
        </p:txBody>
      </p:sp>
      <p:sp>
        <p:nvSpPr>
          <p:cNvPr id="7" name="!!box5">
            <a:extLst>
              <a:ext uri="{FF2B5EF4-FFF2-40B4-BE49-F238E27FC236}">
                <a16:creationId xmlns:a16="http://schemas.microsoft.com/office/drawing/2014/main" id="{6D8954F0-8B5C-6171-4D84-F8AA48B2AA86}"/>
              </a:ext>
            </a:extLst>
          </p:cNvPr>
          <p:cNvSpPr>
            <a:spLocks noGrp="1"/>
          </p:cNvSpPr>
          <p:nvPr>
            <p:ph type="body" sz="quarter" idx="17"/>
          </p:nvPr>
        </p:nvSpPr>
        <p:spPr>
          <a:xfrm>
            <a:off x="6772450"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people</a:t>
            </a:r>
          </a:p>
        </p:txBody>
      </p:sp>
      <p:grpSp>
        <p:nvGrpSpPr>
          <p:cNvPr id="63" name="Group 62">
            <a:extLst>
              <a:ext uri="{FF2B5EF4-FFF2-40B4-BE49-F238E27FC236}">
                <a16:creationId xmlns:a16="http://schemas.microsoft.com/office/drawing/2014/main" id="{AE2A9867-0893-6D8E-C310-48A3DD9C7994}"/>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F6AA8ADE-C41B-64E4-A86D-899FDA3D6E03}"/>
                </a:ext>
              </a:extLst>
            </p:cNvPr>
            <p:cNvSpPr>
              <a:spLocks noChangeAspect="1"/>
            </p:cNvSpPr>
            <p:nvPr/>
          </p:nvSpPr>
          <p:spPr>
            <a:xfrm>
              <a:off x="869838" y="1363153"/>
              <a:ext cx="648000" cy="648000"/>
            </a:xfrm>
            <a:prstGeom prst="ellipse">
              <a:avLst/>
            </a:prstGeom>
            <a:gradFill flip="none" rotWithShape="1">
              <a:gsLst>
                <a:gs pos="0">
                  <a:schemeClr val="bg1"/>
                </a:gs>
                <a:gs pos="98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AF9FC253-F11A-4B08-55FD-DC0AAEB26BAF}"/>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46370A75-8B5D-E143-9E3F-7F77C9DD6050}"/>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A4571D0A-FBDF-2199-C7A4-CAEEA2400FD9}"/>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sp>
        <p:nvSpPr>
          <p:cNvPr id="50" name="!!OVAL_technology">
            <a:extLst>
              <a:ext uri="{FF2B5EF4-FFF2-40B4-BE49-F238E27FC236}">
                <a16:creationId xmlns:a16="http://schemas.microsoft.com/office/drawing/2014/main" id="{E3FE2299-9A35-E0FE-97AF-68F3F037D6E4}"/>
              </a:ext>
            </a:extLst>
          </p:cNvPr>
          <p:cNvSpPr>
            <a:spLocks noChangeAspect="1"/>
          </p:cNvSpPr>
          <p:nvPr/>
        </p:nvSpPr>
        <p:spPr>
          <a:xfrm>
            <a:off x="5298423" y="1390436"/>
            <a:ext cx="648000" cy="648000"/>
          </a:xfrm>
          <a:prstGeom prst="ellipse">
            <a:avLst/>
          </a:prstGeom>
          <a:no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8" name="Group 67">
            <a:extLst>
              <a:ext uri="{FF2B5EF4-FFF2-40B4-BE49-F238E27FC236}">
                <a16:creationId xmlns:a16="http://schemas.microsoft.com/office/drawing/2014/main" id="{7D764E24-721E-5737-0D87-C2D69B9438B2}"/>
              </a:ext>
            </a:extLst>
          </p:cNvPr>
          <p:cNvGrpSpPr/>
          <p:nvPr/>
        </p:nvGrpSpPr>
        <p:grpSpPr>
          <a:xfrm>
            <a:off x="7402450" y="1390436"/>
            <a:ext cx="648000" cy="648000"/>
            <a:chOff x="8824393" y="1279878"/>
            <a:chExt cx="648000" cy="648000"/>
          </a:xfrm>
        </p:grpSpPr>
        <p:sp>
          <p:nvSpPr>
            <p:cNvPr id="53" name="!!OVAL_technology">
              <a:extLst>
                <a:ext uri="{FF2B5EF4-FFF2-40B4-BE49-F238E27FC236}">
                  <a16:creationId xmlns:a16="http://schemas.microsoft.com/office/drawing/2014/main" id="{9252368A-FBC6-3882-3F22-66FBA9A431B2}"/>
                </a:ext>
              </a:extLst>
            </p:cNvPr>
            <p:cNvSpPr>
              <a:spLocks noChangeAspect="1"/>
            </p:cNvSpPr>
            <p:nvPr/>
          </p:nvSpPr>
          <p:spPr>
            <a:xfrm>
              <a:off x="8824393" y="1279878"/>
              <a:ext cx="648000" cy="648000"/>
            </a:xfrm>
            <a:prstGeom prst="ellipse">
              <a:avLst/>
            </a:prstGeom>
            <a:gradFill flip="none" rotWithShape="1">
              <a:gsLst>
                <a:gs pos="0">
                  <a:schemeClr val="bg1"/>
                </a:gs>
                <a:gs pos="99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64" name="multiple users collab">
              <a:extLst>
                <a:ext uri="{FF2B5EF4-FFF2-40B4-BE49-F238E27FC236}">
                  <a16:creationId xmlns:a16="http://schemas.microsoft.com/office/drawing/2014/main" id="{DC0665EA-3F31-5043-9B56-3BEB57BD372E}"/>
                </a:ext>
              </a:extLst>
            </p:cNvPr>
            <p:cNvGrpSpPr/>
            <p:nvPr/>
          </p:nvGrpSpPr>
          <p:grpSpPr>
            <a:xfrm>
              <a:off x="8967408" y="1422903"/>
              <a:ext cx="361970" cy="361950"/>
              <a:chOff x="7322650" y="2129134"/>
              <a:chExt cx="361970" cy="361950"/>
            </a:xfrm>
            <a:solidFill>
              <a:schemeClr val="tx1"/>
            </a:solidFill>
          </p:grpSpPr>
          <p:sp>
            <p:nvSpPr>
              <p:cNvPr id="65" name="Freeform: Shape 96">
                <a:extLst>
                  <a:ext uri="{FF2B5EF4-FFF2-40B4-BE49-F238E27FC236}">
                    <a16:creationId xmlns:a16="http://schemas.microsoft.com/office/drawing/2014/main" id="{DD89A40B-4924-3AD8-F18A-475E12FF77DD}"/>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66" name="Freeform: Shape 97">
                <a:extLst>
                  <a:ext uri="{FF2B5EF4-FFF2-40B4-BE49-F238E27FC236}">
                    <a16:creationId xmlns:a16="http://schemas.microsoft.com/office/drawing/2014/main" id="{D6847EB4-1BA9-F43E-15B5-EF1E3859EA5E}"/>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67" name="Freeform: Shape 98">
                <a:extLst>
                  <a:ext uri="{FF2B5EF4-FFF2-40B4-BE49-F238E27FC236}">
                    <a16:creationId xmlns:a16="http://schemas.microsoft.com/office/drawing/2014/main" id="{39D0630D-DF47-865F-68B6-6973D24AE26C}"/>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grpSp>
        <p:nvGrpSpPr>
          <p:cNvPr id="24" name="Group 23">
            <a:extLst>
              <a:ext uri="{FF2B5EF4-FFF2-40B4-BE49-F238E27FC236}">
                <a16:creationId xmlns:a16="http://schemas.microsoft.com/office/drawing/2014/main" id="{BFF4FFA6-CB06-6C71-6AA1-A1F7FFF3B217}"/>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062CB79F-A3F5-0127-1A6E-F5412B504EBB}"/>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02A95201-CDF9-CE8F-3A30-FEEC9C327114}"/>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0DB75961-A453-CC74-C70B-C62C99D5E311}"/>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E84910FD-0021-2F10-1F0D-138DFDC7268F}"/>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589E1A96-CDD3-465B-4DD8-10FB815B6DB6}"/>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sp>
        <p:nvSpPr>
          <p:cNvPr id="8" name="!!box2">
            <a:extLst>
              <a:ext uri="{FF2B5EF4-FFF2-40B4-BE49-F238E27FC236}">
                <a16:creationId xmlns:a16="http://schemas.microsoft.com/office/drawing/2014/main" id="{C379F0D9-1230-84EF-8912-16387FF4B0B6}"/>
              </a:ext>
            </a:extLst>
          </p:cNvPr>
          <p:cNvSpPr>
            <a:spLocks noGrp="1"/>
          </p:cNvSpPr>
          <p:nvPr>
            <p:ph type="body" sz="quarter" idx="14"/>
          </p:nvPr>
        </p:nvSpPr>
        <p:spPr>
          <a:xfrm>
            <a:off x="256239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efficiency</a:t>
            </a:r>
          </a:p>
        </p:txBody>
      </p:sp>
      <p:grpSp>
        <p:nvGrpSpPr>
          <p:cNvPr id="9" name="Group 8">
            <a:extLst>
              <a:ext uri="{FF2B5EF4-FFF2-40B4-BE49-F238E27FC236}">
                <a16:creationId xmlns:a16="http://schemas.microsoft.com/office/drawing/2014/main" id="{4EB204FD-2B0D-72F5-A0F5-A5878F464961}"/>
              </a:ext>
            </a:extLst>
          </p:cNvPr>
          <p:cNvGrpSpPr/>
          <p:nvPr/>
        </p:nvGrpSpPr>
        <p:grpSpPr>
          <a:xfrm>
            <a:off x="3192393" y="1390436"/>
            <a:ext cx="648000" cy="648000"/>
            <a:chOff x="2559633" y="1384953"/>
            <a:chExt cx="648000" cy="648000"/>
          </a:xfrm>
        </p:grpSpPr>
        <p:sp>
          <p:nvSpPr>
            <p:cNvPr id="10" name="!!OVAL_brands">
              <a:extLst>
                <a:ext uri="{FF2B5EF4-FFF2-40B4-BE49-F238E27FC236}">
                  <a16:creationId xmlns:a16="http://schemas.microsoft.com/office/drawing/2014/main" id="{38BBF6D4-B3E5-C647-CA0D-087EF3C8D4A1}"/>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12" name="Graphic 11">
              <a:extLst>
                <a:ext uri="{FF2B5EF4-FFF2-40B4-BE49-F238E27FC236}">
                  <a16:creationId xmlns:a16="http://schemas.microsoft.com/office/drawing/2014/main" id="{A8260F5F-369D-67BC-36F5-8861A306B1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Tree>
    <p:extLst>
      <p:ext uri="{BB962C8B-B14F-4D97-AF65-F5344CB8AC3E}">
        <p14:creationId xmlns:p14="http://schemas.microsoft.com/office/powerpoint/2010/main" val="27976508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9F141068-9AF4-0FC2-244B-1E520A1F52B7}"/>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38D9C1F5-D1EE-390E-B171-41D7C5743BA5}"/>
              </a:ext>
            </a:extLst>
          </p:cNvPr>
          <p:cNvSpPr>
            <a:spLocks noGrp="1"/>
          </p:cNvSpPr>
          <p:nvPr>
            <p:ph type="body" sz="quarter" idx="4294967295"/>
          </p:nvPr>
        </p:nvSpPr>
        <p:spPr>
          <a:xfrm>
            <a:off x="2564930" y="1408113"/>
            <a:ext cx="1908000" cy="2774950"/>
          </a:xfrm>
          <a:prstGeom prst="roundRect">
            <a:avLst>
              <a:gd name="adj" fmla="val 9984"/>
            </a:avLst>
          </a:prstGeom>
          <a:solidFill>
            <a:schemeClr val="bg1"/>
          </a:solidFill>
        </p:spPr>
        <p:txBody>
          <a:bodyPr tIns="576000" anchor="ctr"/>
          <a:lstStyle/>
          <a:p>
            <a:pPr marL="0" indent="0" algn="ctr">
              <a:buNone/>
            </a:pPr>
            <a:r>
              <a:rPr lang="en-GB" sz="1600" b="1">
                <a:solidFill>
                  <a:schemeClr val="tx1"/>
                </a:solidFill>
                <a:latin typeface="Proximus ExtraBold" pitchFamily="2" charset="77"/>
              </a:rPr>
              <a:t>Platforms</a:t>
            </a:r>
          </a:p>
        </p:txBody>
      </p:sp>
      <p:sp>
        <p:nvSpPr>
          <p:cNvPr id="10" name="Text Placeholder 7">
            <a:extLst>
              <a:ext uri="{FF2B5EF4-FFF2-40B4-BE49-F238E27FC236}">
                <a16:creationId xmlns:a16="http://schemas.microsoft.com/office/drawing/2014/main" id="{905CFE22-0351-F691-8DDD-892A16A825F8}"/>
              </a:ext>
            </a:extLst>
          </p:cNvPr>
          <p:cNvSpPr txBox="1">
            <a:spLocks/>
          </p:cNvSpPr>
          <p:nvPr/>
        </p:nvSpPr>
        <p:spPr>
          <a:xfrm>
            <a:off x="4669485" y="1408113"/>
            <a:ext cx="1908000" cy="2774950"/>
          </a:xfrm>
          <a:prstGeom prst="roundRect">
            <a:avLst>
              <a:gd name="adj" fmla="val 9984"/>
            </a:avLst>
          </a:prstGeom>
          <a:solidFill>
            <a:schemeClr val="bg1"/>
          </a:solidFill>
        </p:spPr>
        <p:txBody>
          <a:bodyPr vert="horz" lIns="0" tIns="576000" rIns="0" bIns="0" numCol="1" spcCol="0" rtlCol="0" anchor="ctr" anchorCtr="0">
            <a:noAutofit/>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GB" sz="1600" b="1">
                <a:solidFill>
                  <a:schemeClr val="tx1"/>
                </a:solidFill>
                <a:latin typeface="Proximus ExtraBold" pitchFamily="2" charset="77"/>
              </a:rPr>
              <a:t>Monetizing </a:t>
            </a:r>
            <a:br>
              <a:rPr lang="en-GB" sz="1600" b="1">
                <a:solidFill>
                  <a:schemeClr val="tx1"/>
                </a:solidFill>
                <a:latin typeface="Proximus ExtraBold" pitchFamily="2" charset="77"/>
              </a:rPr>
            </a:br>
            <a:r>
              <a:rPr lang="en-GB" sz="1600" b="1">
                <a:solidFill>
                  <a:schemeClr val="tx1"/>
                </a:solidFill>
                <a:latin typeface="Proximus ExtraBold" pitchFamily="2" charset="77"/>
              </a:rPr>
              <a:t>telco assets</a:t>
            </a:r>
          </a:p>
        </p:txBody>
      </p:sp>
      <p:sp>
        <p:nvSpPr>
          <p:cNvPr id="2" name="Title 1">
            <a:extLst>
              <a:ext uri="{FF2B5EF4-FFF2-40B4-BE49-F238E27FC236}">
                <a16:creationId xmlns:a16="http://schemas.microsoft.com/office/drawing/2014/main" id="{F949DE53-8DF7-AD6D-4E80-969429A08192}"/>
              </a:ext>
            </a:extLst>
          </p:cNvPr>
          <p:cNvSpPr>
            <a:spLocks noGrp="1"/>
          </p:cNvSpPr>
          <p:nvPr>
            <p:ph type="title"/>
          </p:nvPr>
        </p:nvSpPr>
        <p:spPr>
          <a:xfrm>
            <a:off x="1252548" y="377826"/>
            <a:ext cx="7429492" cy="660092"/>
          </a:xfrm>
        </p:spPr>
        <p:txBody>
          <a:bodyPr anchor="ctr"/>
          <a:lstStyle/>
          <a:p>
            <a:r>
              <a:rPr lang="en-BE">
                <a:solidFill>
                  <a:srgbClr val="2A2234"/>
                </a:solidFill>
              </a:rPr>
              <a:t>Bold future-proofness</a:t>
            </a:r>
          </a:p>
        </p:txBody>
      </p:sp>
      <p:sp>
        <p:nvSpPr>
          <p:cNvPr id="3" name="Text Placeholder 2">
            <a:extLst>
              <a:ext uri="{FF2B5EF4-FFF2-40B4-BE49-F238E27FC236}">
                <a16:creationId xmlns:a16="http://schemas.microsoft.com/office/drawing/2014/main" id="{ED304D85-43F9-053D-F6BB-B02CE032D4BD}"/>
              </a:ext>
            </a:extLst>
          </p:cNvPr>
          <p:cNvSpPr>
            <a:spLocks noGrp="1"/>
          </p:cNvSpPr>
          <p:nvPr>
            <p:ph type="body" sz="quarter" idx="4294967295"/>
          </p:nvPr>
        </p:nvSpPr>
        <p:spPr>
          <a:xfrm>
            <a:off x="460375" y="1408113"/>
            <a:ext cx="1908000" cy="2774950"/>
          </a:xfrm>
          <a:prstGeom prst="roundRect">
            <a:avLst>
              <a:gd name="adj" fmla="val 9984"/>
            </a:avLst>
          </a:prstGeom>
          <a:gradFill flip="none" rotWithShape="1">
            <a:gsLst>
              <a:gs pos="0">
                <a:schemeClr val="bg1"/>
              </a:gs>
              <a:gs pos="100000">
                <a:schemeClr val="accent4"/>
              </a:gs>
            </a:gsLst>
            <a:lin ang="10800000" scaled="1"/>
            <a:tileRect/>
          </a:gradFill>
        </p:spPr>
        <p:txBody>
          <a:bodyPr tIns="576000" anchor="ctr"/>
          <a:lstStyle/>
          <a:p>
            <a:pPr marL="0" indent="0" algn="ctr">
              <a:buNone/>
            </a:pPr>
            <a:r>
              <a:rPr lang="en-GB" sz="1600" b="1">
                <a:solidFill>
                  <a:schemeClr val="tx1"/>
                </a:solidFill>
                <a:latin typeface="Proximus ExtraBold"/>
              </a:rPr>
              <a:t>Network</a:t>
            </a:r>
          </a:p>
          <a:p>
            <a:pPr marL="0" indent="0" algn="ctr">
              <a:buNone/>
            </a:pPr>
            <a:r>
              <a:rPr lang="en-GB" sz="1600" b="1">
                <a:solidFill>
                  <a:schemeClr val="tx1"/>
                </a:solidFill>
                <a:latin typeface="Proximus ExtraBold"/>
              </a:rPr>
              <a:t>foundations</a:t>
            </a:r>
            <a:endParaRPr lang="en-GB" sz="1600" b="1">
              <a:solidFill>
                <a:schemeClr val="tx1"/>
              </a:solidFill>
              <a:latin typeface="Proximus ExtraBold" pitchFamily="2" charset="77"/>
            </a:endParaRPr>
          </a:p>
        </p:txBody>
      </p:sp>
      <p:sp>
        <p:nvSpPr>
          <p:cNvPr id="4" name="Text Placeholder 3">
            <a:extLst>
              <a:ext uri="{FF2B5EF4-FFF2-40B4-BE49-F238E27FC236}">
                <a16:creationId xmlns:a16="http://schemas.microsoft.com/office/drawing/2014/main" id="{4D95ECDF-1972-AA0D-1392-A9F789EBBF9C}"/>
              </a:ext>
            </a:extLst>
          </p:cNvPr>
          <p:cNvSpPr>
            <a:spLocks noGrp="1"/>
          </p:cNvSpPr>
          <p:nvPr>
            <p:ph type="body" sz="quarter" idx="4294967295"/>
          </p:nvPr>
        </p:nvSpPr>
        <p:spPr>
          <a:xfrm>
            <a:off x="6774040" y="1408113"/>
            <a:ext cx="1908000" cy="2774950"/>
          </a:xfrm>
          <a:prstGeom prst="roundRect">
            <a:avLst>
              <a:gd name="adj" fmla="val 9984"/>
            </a:avLst>
          </a:prstGeom>
          <a:gradFill flip="none" rotWithShape="1">
            <a:gsLst>
              <a:gs pos="0">
                <a:schemeClr val="bg1"/>
              </a:gs>
              <a:gs pos="100000">
                <a:schemeClr val="accent4"/>
              </a:gs>
            </a:gsLst>
            <a:lin ang="0" scaled="1"/>
            <a:tileRect/>
          </a:gradFill>
        </p:spPr>
        <p:txBody>
          <a:bodyPr tIns="576000" anchor="ctr"/>
          <a:lstStyle/>
          <a:p>
            <a:pPr marL="0" indent="0" algn="ctr">
              <a:buNone/>
            </a:pPr>
            <a:r>
              <a:rPr lang="en-GB" sz="1600" b="1">
                <a:solidFill>
                  <a:schemeClr val="tx1"/>
                </a:solidFill>
                <a:latin typeface="Proximus ExtraBold" pitchFamily="2" charset="77"/>
              </a:rPr>
              <a:t>Sustainability</a:t>
            </a:r>
          </a:p>
        </p:txBody>
      </p:sp>
      <p:sp>
        <p:nvSpPr>
          <p:cNvPr id="6" name="!!OVAL_brands">
            <a:extLst>
              <a:ext uri="{FF2B5EF4-FFF2-40B4-BE49-F238E27FC236}">
                <a16:creationId xmlns:a16="http://schemas.microsoft.com/office/drawing/2014/main" id="{AF9FB2E5-6473-C246-41A1-8645AF84CE59}"/>
              </a:ext>
            </a:extLst>
          </p:cNvPr>
          <p:cNvSpPr>
            <a:spLocks noChangeAspect="1"/>
          </p:cNvSpPr>
          <p:nvPr/>
        </p:nvSpPr>
        <p:spPr>
          <a:xfrm>
            <a:off x="460375" y="389918"/>
            <a:ext cx="648000" cy="648000"/>
          </a:xfrm>
          <a:prstGeom prst="ellipse">
            <a:avLst/>
          </a:prstGeom>
          <a:gradFill flip="none" rotWithShape="1">
            <a:gsLst>
              <a:gs pos="0">
                <a:schemeClr val="bg1"/>
              </a:gs>
              <a:gs pos="100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13" name="Group 12">
            <a:extLst>
              <a:ext uri="{FF2B5EF4-FFF2-40B4-BE49-F238E27FC236}">
                <a16:creationId xmlns:a16="http://schemas.microsoft.com/office/drawing/2014/main" id="{74AFE4B8-C3A3-1D83-FA56-2A3CABCC780D}"/>
              </a:ext>
            </a:extLst>
          </p:cNvPr>
          <p:cNvGrpSpPr/>
          <p:nvPr/>
        </p:nvGrpSpPr>
        <p:grpSpPr>
          <a:xfrm>
            <a:off x="621677" y="544879"/>
            <a:ext cx="356745" cy="346886"/>
            <a:chOff x="4630102" y="215428"/>
            <a:chExt cx="356745" cy="346886"/>
          </a:xfrm>
          <a:solidFill>
            <a:srgbClr val="F3F4F9"/>
          </a:solidFill>
        </p:grpSpPr>
        <p:sp>
          <p:nvSpPr>
            <p:cNvPr id="14" name="Freeform 13">
              <a:extLst>
                <a:ext uri="{FF2B5EF4-FFF2-40B4-BE49-F238E27FC236}">
                  <a16:creationId xmlns:a16="http://schemas.microsoft.com/office/drawing/2014/main" id="{128AEB4C-5525-E2C2-A937-75B6E1F2BB96}"/>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15" name="Group 14">
              <a:extLst>
                <a:ext uri="{FF2B5EF4-FFF2-40B4-BE49-F238E27FC236}">
                  <a16:creationId xmlns:a16="http://schemas.microsoft.com/office/drawing/2014/main" id="{815A1206-6DB6-D566-0BE8-BCA449C47793}"/>
                </a:ext>
              </a:extLst>
            </p:cNvPr>
            <p:cNvGrpSpPr/>
            <p:nvPr/>
          </p:nvGrpSpPr>
          <p:grpSpPr>
            <a:xfrm flipH="1">
              <a:off x="4630102" y="215428"/>
              <a:ext cx="356745" cy="346886"/>
              <a:chOff x="4630102" y="215428"/>
              <a:chExt cx="356745" cy="346886"/>
            </a:xfrm>
            <a:grpFill/>
          </p:grpSpPr>
          <p:sp>
            <p:nvSpPr>
              <p:cNvPr id="16" name="Freeform 15">
                <a:extLst>
                  <a:ext uri="{FF2B5EF4-FFF2-40B4-BE49-F238E27FC236}">
                    <a16:creationId xmlns:a16="http://schemas.microsoft.com/office/drawing/2014/main" id="{70E907F7-E4CA-2E6B-239D-EF52AB89B9F6}"/>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17" name="Freeform 16">
                <a:extLst>
                  <a:ext uri="{FF2B5EF4-FFF2-40B4-BE49-F238E27FC236}">
                    <a16:creationId xmlns:a16="http://schemas.microsoft.com/office/drawing/2014/main" id="{8198BE2A-A078-33F1-C33C-43C00226C2C2}"/>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18" name="Freeform 17">
                <a:extLst>
                  <a:ext uri="{FF2B5EF4-FFF2-40B4-BE49-F238E27FC236}">
                    <a16:creationId xmlns:a16="http://schemas.microsoft.com/office/drawing/2014/main" id="{D532B64F-B7BA-7EAD-9F85-BFA9F02E6855}"/>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pic>
        <p:nvPicPr>
          <p:cNvPr id="5" name="Graphic 4">
            <a:extLst>
              <a:ext uri="{FF2B5EF4-FFF2-40B4-BE49-F238E27FC236}">
                <a16:creationId xmlns:a16="http://schemas.microsoft.com/office/drawing/2014/main" id="{154708BA-D0F6-750E-346E-A020A01696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3875" y="2123282"/>
            <a:ext cx="381000" cy="381000"/>
          </a:xfrm>
          <a:prstGeom prst="rect">
            <a:avLst/>
          </a:prstGeom>
        </p:spPr>
      </p:pic>
      <p:pic>
        <p:nvPicPr>
          <p:cNvPr id="7" name="Graphic 6">
            <a:extLst>
              <a:ext uri="{FF2B5EF4-FFF2-40B4-BE49-F238E27FC236}">
                <a16:creationId xmlns:a16="http://schemas.microsoft.com/office/drawing/2014/main" id="{4BF014CD-6C58-02B9-9CB7-E9705E7852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09380" y="2205832"/>
            <a:ext cx="419100" cy="215900"/>
          </a:xfrm>
          <a:prstGeom prst="rect">
            <a:avLst/>
          </a:prstGeom>
        </p:spPr>
      </p:pic>
      <p:pic>
        <p:nvPicPr>
          <p:cNvPr id="12" name="Graphic 11">
            <a:extLst>
              <a:ext uri="{FF2B5EF4-FFF2-40B4-BE49-F238E27FC236}">
                <a16:creationId xmlns:a16="http://schemas.microsoft.com/office/drawing/2014/main" id="{DB1F6957-FE0D-431B-B884-841175D474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70497" y="2104232"/>
            <a:ext cx="381000" cy="419100"/>
          </a:xfrm>
          <a:prstGeom prst="rect">
            <a:avLst/>
          </a:prstGeom>
        </p:spPr>
      </p:pic>
      <p:pic>
        <p:nvPicPr>
          <p:cNvPr id="19" name="Graphic 18">
            <a:extLst>
              <a:ext uri="{FF2B5EF4-FFF2-40B4-BE49-F238E27FC236}">
                <a16:creationId xmlns:a16="http://schemas.microsoft.com/office/drawing/2014/main" id="{A76F1495-0A75-42E6-D645-0AFF2F157F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35305" y="2123282"/>
            <a:ext cx="381000" cy="381000"/>
          </a:xfrm>
          <a:prstGeom prst="rect">
            <a:avLst/>
          </a:prstGeom>
        </p:spPr>
      </p:pic>
    </p:spTree>
    <p:extLst>
      <p:ext uri="{BB962C8B-B14F-4D97-AF65-F5344CB8AC3E}">
        <p14:creationId xmlns:p14="http://schemas.microsoft.com/office/powerpoint/2010/main" val="2400760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8E1648D4-7137-8211-2118-3C51FFAE82A8}"/>
            </a:ext>
          </a:extLst>
        </p:cNvPr>
        <p:cNvGrpSpPr/>
        <p:nvPr/>
      </p:nvGrpSpPr>
      <p:grpSpPr>
        <a:xfrm>
          <a:off x="0" y="0"/>
          <a:ext cx="0" cy="0"/>
          <a:chOff x="0" y="0"/>
          <a:chExt cx="0" cy="0"/>
        </a:xfrm>
      </p:grpSpPr>
      <p:pic>
        <p:nvPicPr>
          <p:cNvPr id="14" name="Graphic 13">
            <a:extLst>
              <a:ext uri="{FF2B5EF4-FFF2-40B4-BE49-F238E27FC236}">
                <a16:creationId xmlns:a16="http://schemas.microsoft.com/office/drawing/2014/main" id="{E013A193-01B8-DC34-1DE9-3463060B6D2A}"/>
              </a:ext>
            </a:extLst>
          </p:cNvPr>
          <p:cNvPicPr>
            <a:picLocks noChangeAspect="1"/>
          </p:cNvPicPr>
          <p:nvPr/>
        </p:nvPicPr>
        <p:blipFill>
          <a:blip r:embed="rId3">
            <a:extLst>
              <a:ext uri="{96DAC541-7B7A-43D3-8B79-37D633B846F1}">
                <asvg:svgBlip xmlns:asvg="http://schemas.microsoft.com/office/drawing/2016/SVG/main" r:embed="rId4"/>
              </a:ext>
            </a:extLst>
          </a:blip>
          <a:srcRect l="988" r="988"/>
          <a:stretch/>
        </p:blipFill>
        <p:spPr>
          <a:xfrm>
            <a:off x="3012573" y="2958785"/>
            <a:ext cx="3129113" cy="2157861"/>
          </a:xfrm>
          <a:prstGeom prst="roundRect">
            <a:avLst>
              <a:gd name="adj" fmla="val 6088"/>
            </a:avLst>
          </a:prstGeom>
          <a:scene3d>
            <a:camera prst="perspectiveAbove" fov="4800000">
              <a:rot lat="18000000" lon="0" rev="0"/>
            </a:camera>
            <a:lightRig rig="threePt" dir="t"/>
          </a:scene3d>
          <a:sp3d prstMaterial="matte"/>
        </p:spPr>
      </p:pic>
      <p:sp>
        <p:nvSpPr>
          <p:cNvPr id="23" name="TextBox 22">
            <a:extLst>
              <a:ext uri="{FF2B5EF4-FFF2-40B4-BE49-F238E27FC236}">
                <a16:creationId xmlns:a16="http://schemas.microsoft.com/office/drawing/2014/main" id="{E5637255-AA9C-6BCF-EA70-0C2A6DA57A99}"/>
              </a:ext>
            </a:extLst>
          </p:cNvPr>
          <p:cNvSpPr txBox="1"/>
          <p:nvPr/>
        </p:nvSpPr>
        <p:spPr>
          <a:xfrm>
            <a:off x="7017540" y="1241850"/>
            <a:ext cx="1548000" cy="503999"/>
          </a:xfrm>
          <a:prstGeom prst="rect">
            <a:avLst/>
          </a:prstGeom>
          <a:noFill/>
        </p:spPr>
        <p:txBody>
          <a:bodyPr wrap="none" lIns="0" tIns="0" rIns="0" bIns="0" rtlCol="0" anchor="ctr">
            <a:noAutofit/>
          </a:bodyPr>
          <a:lstStyle/>
          <a:p>
            <a:pPr marL="0" marR="0" lvl="0" indent="0" algn="l" defTabSz="914241" rtl="0" eaLnBrk="1" fontAlgn="auto" latinLnBrk="0" hangingPunct="1">
              <a:lnSpc>
                <a:spcPct val="100000"/>
              </a:lnSpc>
              <a:spcBef>
                <a:spcPts val="450"/>
              </a:spcBef>
              <a:spcAft>
                <a:spcPts val="0"/>
              </a:spcAft>
              <a:buClr>
                <a:srgbClr val="5C2D91"/>
              </a:buClr>
              <a:buSzTx/>
              <a:buFontTx/>
              <a:buNone/>
              <a:tabLst/>
              <a:defRPr/>
            </a:pPr>
            <a:r>
              <a:rPr kumimoji="0" lang="en-US" sz="1400" b="1" i="0" u="none" strike="noStrike" kern="1200" cap="none" spc="0" normalizeH="0" baseline="0" noProof="0">
                <a:ln>
                  <a:noFill/>
                </a:ln>
                <a:solidFill>
                  <a:srgbClr val="141C24"/>
                </a:solidFill>
                <a:effectLst/>
                <a:uLnTx/>
                <a:uFillTx/>
                <a:latin typeface="Proximus ExtraBold" pitchFamily="2" charset="77"/>
                <a:ea typeface="+mn-ea"/>
                <a:cs typeface="+mn-cs"/>
              </a:rPr>
              <a:t>Scale up</a:t>
            </a:r>
            <a:endParaRPr kumimoji="0" lang="en-US" sz="1400" b="0" i="0" u="none" strike="noStrike" kern="1200" cap="none" spc="0" normalizeH="0" baseline="0" noProof="0">
              <a:ln>
                <a:noFill/>
              </a:ln>
              <a:solidFill>
                <a:srgbClr val="141C24"/>
              </a:solidFill>
              <a:effectLst/>
              <a:uLnTx/>
              <a:uFillTx/>
              <a:latin typeface="Proximus Light" pitchFamily="2" charset="77"/>
              <a:ea typeface="+mn-ea"/>
              <a:cs typeface="+mn-cs"/>
            </a:endParaRPr>
          </a:p>
        </p:txBody>
      </p:sp>
      <p:sp>
        <p:nvSpPr>
          <p:cNvPr id="2" name="Title 1">
            <a:extLst>
              <a:ext uri="{FF2B5EF4-FFF2-40B4-BE49-F238E27FC236}">
                <a16:creationId xmlns:a16="http://schemas.microsoft.com/office/drawing/2014/main" id="{C7909207-6E9F-713F-821E-5AF0DEC55937}"/>
              </a:ext>
            </a:extLst>
          </p:cNvPr>
          <p:cNvSpPr>
            <a:spLocks noGrp="1"/>
          </p:cNvSpPr>
          <p:nvPr>
            <p:ph type="title"/>
          </p:nvPr>
        </p:nvSpPr>
        <p:spPr>
          <a:xfrm>
            <a:off x="1226989" y="377826"/>
            <a:ext cx="7455051" cy="660092"/>
          </a:xfrm>
        </p:spPr>
        <p:txBody>
          <a:bodyPr anchor="ctr"/>
          <a:lstStyle/>
          <a:p>
            <a:r>
              <a:rPr lang="en-GB" sz="2550">
                <a:solidFill>
                  <a:srgbClr val="2A2234"/>
                </a:solidFill>
                <a:latin typeface="Proximus Bold"/>
              </a:rPr>
              <a:t>Network foundations</a:t>
            </a:r>
            <a:endParaRPr lang="en-GB">
              <a:solidFill>
                <a:srgbClr val="2A2234"/>
              </a:solidFill>
            </a:endParaRPr>
          </a:p>
        </p:txBody>
      </p:sp>
      <p:sp>
        <p:nvSpPr>
          <p:cNvPr id="39" name="!!OVAL_network">
            <a:extLst>
              <a:ext uri="{FF2B5EF4-FFF2-40B4-BE49-F238E27FC236}">
                <a16:creationId xmlns:a16="http://schemas.microsoft.com/office/drawing/2014/main" id="{C60ECC56-62F2-AC78-64BF-2B68BDB4B040}"/>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8094" rtl="0" eaLnBrk="1" fontAlgn="auto" latinLnBrk="0" hangingPunct="1">
              <a:lnSpc>
                <a:spcPct val="100000"/>
              </a:lnSpc>
              <a:spcBef>
                <a:spcPts val="0"/>
              </a:spcBef>
              <a:spcAft>
                <a:spcPts val="0"/>
              </a:spcAft>
              <a:buClrTx/>
              <a:buSzTx/>
              <a:buFontTx/>
              <a:buNone/>
              <a:tabLst/>
              <a:defRPr/>
            </a:pPr>
            <a:endParaRPr kumimoji="0" lang="nl-BE" sz="2160" b="0" i="0" u="none" strike="noStrike" kern="1200" cap="none" spc="0" normalizeH="0" baseline="0" noProof="0">
              <a:ln>
                <a:noFill/>
              </a:ln>
              <a:solidFill>
                <a:srgbClr val="2A2234"/>
              </a:solidFill>
              <a:effectLst/>
              <a:uLnTx/>
              <a:uFillTx/>
              <a:latin typeface="Proximus Bold"/>
              <a:ea typeface="+mn-ea"/>
              <a:cs typeface="+mn-cs"/>
            </a:endParaRPr>
          </a:p>
        </p:txBody>
      </p:sp>
      <p:pic>
        <p:nvPicPr>
          <p:cNvPr id="4" name="Graphic 3">
            <a:extLst>
              <a:ext uri="{FF2B5EF4-FFF2-40B4-BE49-F238E27FC236}">
                <a16:creationId xmlns:a16="http://schemas.microsoft.com/office/drawing/2014/main" id="{3CA64CF4-DCEE-7202-FB77-6E8D6D6506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6182" y="517372"/>
            <a:ext cx="381000" cy="381000"/>
          </a:xfrm>
          <a:prstGeom prst="rect">
            <a:avLst/>
          </a:prstGeom>
        </p:spPr>
      </p:pic>
      <p:pic>
        <p:nvPicPr>
          <p:cNvPr id="18" name="Graphic 17">
            <a:extLst>
              <a:ext uri="{FF2B5EF4-FFF2-40B4-BE49-F238E27FC236}">
                <a16:creationId xmlns:a16="http://schemas.microsoft.com/office/drawing/2014/main" id="{FC4F758E-96CA-72A0-CB5B-723F4B8689C2}"/>
              </a:ext>
            </a:extLst>
          </p:cNvPr>
          <p:cNvPicPr>
            <a:picLocks noChangeAspect="1"/>
          </p:cNvPicPr>
          <p:nvPr/>
        </p:nvPicPr>
        <p:blipFill>
          <a:blip r:embed="rId7">
            <a:extLst>
              <a:ext uri="{96DAC541-7B7A-43D3-8B79-37D633B846F1}">
                <asvg:svgBlip xmlns:asvg="http://schemas.microsoft.com/office/drawing/2016/SVG/main" r:embed="rId8"/>
              </a:ext>
            </a:extLst>
          </a:blip>
          <a:srcRect l="988" r="988"/>
          <a:stretch/>
        </p:blipFill>
        <p:spPr>
          <a:xfrm>
            <a:off x="3012573" y="2068455"/>
            <a:ext cx="3129113" cy="2157861"/>
          </a:xfrm>
          <a:prstGeom prst="roundRect">
            <a:avLst>
              <a:gd name="adj" fmla="val 6088"/>
            </a:avLst>
          </a:prstGeom>
          <a:scene3d>
            <a:camera prst="perspectiveAbove" fov="5400000">
              <a:rot lat="18000000" lon="0" rev="0"/>
            </a:camera>
            <a:lightRig rig="threePt" dir="t"/>
          </a:scene3d>
          <a:sp3d prstMaterial="matte"/>
        </p:spPr>
      </p:pic>
      <p:pic>
        <p:nvPicPr>
          <p:cNvPr id="21" name="Graphic 20">
            <a:extLst>
              <a:ext uri="{FF2B5EF4-FFF2-40B4-BE49-F238E27FC236}">
                <a16:creationId xmlns:a16="http://schemas.microsoft.com/office/drawing/2014/main" id="{19F33846-B8B2-6C4F-3160-452FB28A7CD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981026" y="1152725"/>
            <a:ext cx="3192207" cy="2157860"/>
          </a:xfrm>
          <a:prstGeom prst="rect">
            <a:avLst/>
          </a:prstGeom>
          <a:scene3d>
            <a:camera prst="perspectiveAbove" fov="6000000">
              <a:rot lat="17700000" lon="0" rev="0"/>
            </a:camera>
            <a:lightRig rig="threePt" dir="t"/>
          </a:scene3d>
          <a:sp3d prstMaterial="matte"/>
        </p:spPr>
      </p:pic>
      <p:pic>
        <p:nvPicPr>
          <p:cNvPr id="22" name="Graphic 21">
            <a:extLst>
              <a:ext uri="{FF2B5EF4-FFF2-40B4-BE49-F238E27FC236}">
                <a16:creationId xmlns:a16="http://schemas.microsoft.com/office/drawing/2014/main" id="{C81429A3-A2CF-F555-F976-9D1CCA4E6689}"/>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81026" y="360246"/>
            <a:ext cx="3192207" cy="2157860"/>
          </a:xfrm>
          <a:prstGeom prst="rect">
            <a:avLst/>
          </a:prstGeom>
          <a:scene3d>
            <a:camera prst="perspectiveAbove" fov="6600000">
              <a:rot lat="17700000" lon="0" rev="0"/>
            </a:camera>
            <a:lightRig rig="threePt" dir="t"/>
          </a:scene3d>
          <a:sp3d prstMaterial="matte"/>
        </p:spPr>
      </p:pic>
      <p:sp>
        <p:nvSpPr>
          <p:cNvPr id="24" name="TextBox 23">
            <a:extLst>
              <a:ext uri="{FF2B5EF4-FFF2-40B4-BE49-F238E27FC236}">
                <a16:creationId xmlns:a16="http://schemas.microsoft.com/office/drawing/2014/main" id="{ACBABD6E-9C72-93CF-29F3-ACE9C0D3F157}"/>
              </a:ext>
            </a:extLst>
          </p:cNvPr>
          <p:cNvSpPr txBox="1"/>
          <p:nvPr/>
        </p:nvSpPr>
        <p:spPr>
          <a:xfrm>
            <a:off x="837010" y="1241850"/>
            <a:ext cx="1548000" cy="503999"/>
          </a:xfrm>
          <a:prstGeom prst="rect">
            <a:avLst/>
          </a:prstGeom>
          <a:noFill/>
        </p:spPr>
        <p:txBody>
          <a:bodyPr wrap="non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1C747">
                    <a:lumMod val="75000"/>
                  </a:srgbClr>
                </a:solidFill>
                <a:effectLst/>
                <a:uLnTx/>
                <a:uFillTx/>
                <a:latin typeface="Proximus Light" pitchFamily="2" charset="77"/>
                <a:ea typeface="+mn-ea"/>
                <a:cs typeface="+mn-cs"/>
              </a:rPr>
              <a:t>IP backbone </a:t>
            </a:r>
            <a:br>
              <a:rPr kumimoji="0" lang="en-US" sz="1400" b="1" i="0" u="none" strike="noStrike" kern="1200" cap="none" spc="0" normalizeH="0" baseline="0" noProof="0">
                <a:ln>
                  <a:noFill/>
                </a:ln>
                <a:solidFill>
                  <a:srgbClr val="81C747">
                    <a:lumMod val="75000"/>
                  </a:srgbClr>
                </a:solidFill>
                <a:effectLst/>
                <a:uLnTx/>
                <a:uFillTx/>
                <a:latin typeface="Proximus Light" pitchFamily="2" charset="77"/>
                <a:ea typeface="+mn-ea"/>
                <a:cs typeface="+mn-cs"/>
              </a:rPr>
            </a:br>
            <a:r>
              <a:rPr kumimoji="0" lang="en-US" sz="1000" b="1" i="0" u="none" strike="noStrike" kern="1200" cap="none" spc="0" normalizeH="0" baseline="0" noProof="0">
                <a:ln>
                  <a:noFill/>
                </a:ln>
                <a:solidFill>
                  <a:srgbClr val="000000"/>
                </a:solidFill>
                <a:effectLst/>
                <a:uLnTx/>
                <a:uFillTx/>
                <a:latin typeface="Proximus Light" pitchFamily="2" charset="77"/>
                <a:ea typeface="+mn-ea"/>
                <a:cs typeface="+mn-cs"/>
              </a:rPr>
              <a:t>Titan</a:t>
            </a:r>
            <a:endParaRPr kumimoji="0" lang="en-GB" sz="1400" b="1" i="0" u="none" strike="noStrike" kern="1200" cap="none" spc="0" normalizeH="0" baseline="0" noProof="0">
              <a:ln>
                <a:noFill/>
              </a:ln>
              <a:solidFill>
                <a:srgbClr val="000000"/>
              </a:solidFill>
              <a:effectLst/>
              <a:uLnTx/>
              <a:uFillTx/>
              <a:latin typeface="Proximus Light" pitchFamily="2" charset="77"/>
              <a:ea typeface="+mn-ea"/>
              <a:cs typeface="+mn-cs"/>
            </a:endParaRPr>
          </a:p>
        </p:txBody>
      </p:sp>
      <p:sp>
        <p:nvSpPr>
          <p:cNvPr id="25" name="TextBox 24">
            <a:extLst>
              <a:ext uri="{FF2B5EF4-FFF2-40B4-BE49-F238E27FC236}">
                <a16:creationId xmlns:a16="http://schemas.microsoft.com/office/drawing/2014/main" id="{9962086A-47FE-CF90-2A89-DD123F00B6E7}"/>
              </a:ext>
            </a:extLst>
          </p:cNvPr>
          <p:cNvSpPr txBox="1"/>
          <p:nvPr/>
        </p:nvSpPr>
        <p:spPr>
          <a:xfrm>
            <a:off x="837010" y="2120515"/>
            <a:ext cx="1548000" cy="503999"/>
          </a:xfrm>
          <a:prstGeom prst="rect">
            <a:avLst/>
          </a:prstGeom>
          <a:noFill/>
        </p:spPr>
        <p:txBody>
          <a:bodyPr wrap="non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Proximus Light" pitchFamily="2" charset="77"/>
                <a:ea typeface="+mn-ea"/>
                <a:cs typeface="+mn-cs"/>
              </a:rPr>
              <a:t>Optical backbone</a:t>
            </a:r>
            <a:br>
              <a:rPr kumimoji="0" lang="en-US" sz="1400" b="1" i="0" u="none" strike="noStrike" kern="1200" cap="none" spc="0" normalizeH="0" baseline="0" noProof="0">
                <a:ln>
                  <a:noFill/>
                </a:ln>
                <a:solidFill>
                  <a:srgbClr val="00B0F0"/>
                </a:solidFill>
                <a:effectLst/>
                <a:uLnTx/>
                <a:uFillTx/>
                <a:latin typeface="Proximus Light" pitchFamily="2" charset="77"/>
                <a:ea typeface="+mn-ea"/>
                <a:cs typeface="+mn-cs"/>
              </a:rPr>
            </a:br>
            <a:r>
              <a:rPr kumimoji="0" lang="en-US" sz="1000" b="1" i="0" u="none" strike="noStrike" kern="1200" cap="none" spc="0" normalizeH="0" baseline="0" noProof="0">
                <a:ln>
                  <a:noFill/>
                </a:ln>
                <a:solidFill>
                  <a:srgbClr val="000000"/>
                </a:solidFill>
                <a:effectLst/>
                <a:uLnTx/>
                <a:uFillTx/>
                <a:latin typeface="Proximus Light" pitchFamily="2" charset="77"/>
                <a:ea typeface="+mn-ea"/>
                <a:cs typeface="+mn-cs"/>
              </a:rPr>
              <a:t>Simba optical DWDM</a:t>
            </a:r>
            <a:endParaRPr kumimoji="0" lang="en-GB" sz="1400" b="1" i="0" u="none" strike="noStrike" kern="1200" cap="none" spc="0" normalizeH="0" baseline="0" noProof="0">
              <a:ln>
                <a:noFill/>
              </a:ln>
              <a:solidFill>
                <a:srgbClr val="000000"/>
              </a:solidFill>
              <a:effectLst/>
              <a:uLnTx/>
              <a:uFillTx/>
              <a:latin typeface="Proximus Light" pitchFamily="2" charset="77"/>
              <a:ea typeface="+mn-ea"/>
              <a:cs typeface="+mn-cs"/>
            </a:endParaRPr>
          </a:p>
        </p:txBody>
      </p:sp>
      <p:sp>
        <p:nvSpPr>
          <p:cNvPr id="26" name="TextBox 25">
            <a:extLst>
              <a:ext uri="{FF2B5EF4-FFF2-40B4-BE49-F238E27FC236}">
                <a16:creationId xmlns:a16="http://schemas.microsoft.com/office/drawing/2014/main" id="{C60624C8-3D39-E692-6B4B-06824FCA3714}"/>
              </a:ext>
            </a:extLst>
          </p:cNvPr>
          <p:cNvSpPr txBox="1"/>
          <p:nvPr/>
        </p:nvSpPr>
        <p:spPr>
          <a:xfrm>
            <a:off x="837010" y="3904623"/>
            <a:ext cx="1548000" cy="503999"/>
          </a:xfrm>
          <a:prstGeom prst="rect">
            <a:avLst/>
          </a:prstGeom>
          <a:noFill/>
        </p:spPr>
        <p:txBody>
          <a:bodyPr wrap="non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418C"/>
                </a:solidFill>
                <a:effectLst/>
                <a:uLnTx/>
                <a:uFillTx/>
                <a:latin typeface="Proximus Light" pitchFamily="2" charset="77"/>
                <a:ea typeface="+mn-ea"/>
                <a:cs typeface="+mn-cs"/>
              </a:rPr>
              <a:t>Fiber access</a:t>
            </a:r>
            <a:endParaRPr kumimoji="0" lang="en-GB" sz="1400" b="1" i="0" u="none" strike="noStrike" kern="1200" cap="none" spc="0" normalizeH="0" baseline="0" noProof="0">
              <a:ln>
                <a:noFill/>
              </a:ln>
              <a:solidFill>
                <a:srgbClr val="FF418C"/>
              </a:solidFill>
              <a:effectLst/>
              <a:uLnTx/>
              <a:uFillTx/>
              <a:latin typeface="Proximus Light" pitchFamily="2" charset="77"/>
              <a:ea typeface="+mn-ea"/>
              <a:cs typeface="+mn-cs"/>
            </a:endParaRPr>
          </a:p>
        </p:txBody>
      </p:sp>
      <p:sp>
        <p:nvSpPr>
          <p:cNvPr id="33" name="TextBox 32">
            <a:extLst>
              <a:ext uri="{FF2B5EF4-FFF2-40B4-BE49-F238E27FC236}">
                <a16:creationId xmlns:a16="http://schemas.microsoft.com/office/drawing/2014/main" id="{08FE288A-6DDD-BBC6-11CE-FC9A45097DFA}"/>
              </a:ext>
            </a:extLst>
          </p:cNvPr>
          <p:cNvSpPr txBox="1"/>
          <p:nvPr/>
        </p:nvSpPr>
        <p:spPr>
          <a:xfrm>
            <a:off x="837010" y="3110514"/>
            <a:ext cx="1548000" cy="503999"/>
          </a:xfrm>
          <a:prstGeom prst="rect">
            <a:avLst/>
          </a:prstGeom>
          <a:noFill/>
        </p:spPr>
        <p:txBody>
          <a:bodyPr wrap="non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C2D91">
                    <a:lumMod val="75000"/>
                  </a:srgbClr>
                </a:solidFill>
                <a:effectLst/>
                <a:uLnTx/>
                <a:uFillTx/>
                <a:latin typeface="Proximus Light" pitchFamily="2" charset="77"/>
                <a:ea typeface="+mn-ea"/>
                <a:cs typeface="+mn-cs"/>
              </a:rPr>
              <a:t>Buildings &amp; nodes</a:t>
            </a:r>
            <a:endParaRPr kumimoji="0" lang="en-GB" sz="1400" b="1" i="0" u="none" strike="noStrike" kern="1200" cap="none" spc="0" normalizeH="0" baseline="0" noProof="0">
              <a:ln>
                <a:noFill/>
              </a:ln>
              <a:solidFill>
                <a:srgbClr val="000000"/>
              </a:solidFill>
              <a:effectLst/>
              <a:uLnTx/>
              <a:uFillTx/>
              <a:latin typeface="Proximus Light" pitchFamily="2" charset="77"/>
              <a:ea typeface="+mn-ea"/>
              <a:cs typeface="+mn-cs"/>
            </a:endParaRPr>
          </a:p>
        </p:txBody>
      </p:sp>
      <p:sp>
        <p:nvSpPr>
          <p:cNvPr id="20" name="Freeform 19">
            <a:extLst>
              <a:ext uri="{FF2B5EF4-FFF2-40B4-BE49-F238E27FC236}">
                <a16:creationId xmlns:a16="http://schemas.microsoft.com/office/drawing/2014/main" id="{3DA9E804-0C5A-CEF2-9FBE-5FA6E4B3B3B1}"/>
              </a:ext>
            </a:extLst>
          </p:cNvPr>
          <p:cNvSpPr/>
          <p:nvPr/>
        </p:nvSpPr>
        <p:spPr>
          <a:xfrm rot="18900000">
            <a:off x="7867797" y="1384080"/>
            <a:ext cx="186761" cy="209026"/>
          </a:xfrm>
          <a:custGeom>
            <a:avLst/>
            <a:gdLst>
              <a:gd name="connsiteX0" fmla="*/ 180404 w 186761"/>
              <a:gd name="connsiteY0" fmla="*/ 89130 h 209026"/>
              <a:gd name="connsiteX1" fmla="*/ 97631 w 186761"/>
              <a:gd name="connsiteY1" fmla="*/ 6358 h 209026"/>
              <a:gd name="connsiteX2" fmla="*/ 67056 w 186761"/>
              <a:gd name="connsiteY2" fmla="*/ 6358 h 209026"/>
              <a:gd name="connsiteX3" fmla="*/ 67056 w 186761"/>
              <a:gd name="connsiteY3" fmla="*/ 36933 h 209026"/>
              <a:gd name="connsiteX4" fmla="*/ 112871 w 186761"/>
              <a:gd name="connsiteY4" fmla="*/ 82748 h 209026"/>
              <a:gd name="connsiteX5" fmla="*/ 112871 w 186761"/>
              <a:gd name="connsiteY5" fmla="*/ 82748 h 209026"/>
              <a:gd name="connsiteX6" fmla="*/ 17240 w 186761"/>
              <a:gd name="connsiteY6" fmla="*/ 82844 h 209026"/>
              <a:gd name="connsiteX7" fmla="*/ 0 w 186761"/>
              <a:gd name="connsiteY7" fmla="*/ 100084 h 209026"/>
              <a:gd name="connsiteX8" fmla="*/ 0 w 186761"/>
              <a:gd name="connsiteY8" fmla="*/ 108942 h 209026"/>
              <a:gd name="connsiteX9" fmla="*/ 17240 w 186761"/>
              <a:gd name="connsiteY9" fmla="*/ 126182 h 209026"/>
              <a:gd name="connsiteX10" fmla="*/ 112871 w 186761"/>
              <a:gd name="connsiteY10" fmla="*/ 126182 h 209026"/>
              <a:gd name="connsiteX11" fmla="*/ 67056 w 186761"/>
              <a:gd name="connsiteY11" fmla="*/ 172093 h 209026"/>
              <a:gd name="connsiteX12" fmla="*/ 67056 w 186761"/>
              <a:gd name="connsiteY12" fmla="*/ 202668 h 209026"/>
              <a:gd name="connsiteX13" fmla="*/ 97631 w 186761"/>
              <a:gd name="connsiteY13" fmla="*/ 202668 h 209026"/>
              <a:gd name="connsiteX14" fmla="*/ 180404 w 186761"/>
              <a:gd name="connsiteY14" fmla="*/ 119896 h 209026"/>
              <a:gd name="connsiteX15" fmla="*/ 180404 w 186761"/>
              <a:gd name="connsiteY15" fmla="*/ 119896 h 209026"/>
              <a:gd name="connsiteX16" fmla="*/ 180404 w 186761"/>
              <a:gd name="connsiteY16" fmla="*/ 119896 h 209026"/>
              <a:gd name="connsiteX17" fmla="*/ 180404 w 186761"/>
              <a:gd name="connsiteY17" fmla="*/ 89321 h 20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761" h="209026">
                <a:moveTo>
                  <a:pt x="180404" y="89130"/>
                </a:moveTo>
                <a:lnTo>
                  <a:pt x="97631" y="6358"/>
                </a:lnTo>
                <a:cubicBezTo>
                  <a:pt x="89154" y="-2119"/>
                  <a:pt x="75438" y="-2119"/>
                  <a:pt x="67056" y="6358"/>
                </a:cubicBezTo>
                <a:cubicBezTo>
                  <a:pt x="58579" y="14835"/>
                  <a:pt x="58579" y="28551"/>
                  <a:pt x="67056" y="36933"/>
                </a:cubicBezTo>
                <a:lnTo>
                  <a:pt x="112871" y="82748"/>
                </a:lnTo>
                <a:lnTo>
                  <a:pt x="112871" y="82748"/>
                </a:lnTo>
                <a:cubicBezTo>
                  <a:pt x="112871" y="82748"/>
                  <a:pt x="17240" y="82844"/>
                  <a:pt x="17240" y="82844"/>
                </a:cubicBezTo>
                <a:cubicBezTo>
                  <a:pt x="7715" y="82844"/>
                  <a:pt x="0" y="90559"/>
                  <a:pt x="0" y="100084"/>
                </a:cubicBezTo>
                <a:lnTo>
                  <a:pt x="0" y="108942"/>
                </a:lnTo>
                <a:cubicBezTo>
                  <a:pt x="0" y="118467"/>
                  <a:pt x="7715" y="126182"/>
                  <a:pt x="17240" y="126182"/>
                </a:cubicBezTo>
                <a:lnTo>
                  <a:pt x="112871" y="126182"/>
                </a:lnTo>
                <a:cubicBezTo>
                  <a:pt x="112871" y="126182"/>
                  <a:pt x="67056" y="172093"/>
                  <a:pt x="67056" y="172093"/>
                </a:cubicBezTo>
                <a:cubicBezTo>
                  <a:pt x="58579" y="180570"/>
                  <a:pt x="58579" y="194286"/>
                  <a:pt x="67056" y="202668"/>
                </a:cubicBezTo>
                <a:cubicBezTo>
                  <a:pt x="75533" y="211145"/>
                  <a:pt x="89249" y="211145"/>
                  <a:pt x="97631" y="202668"/>
                </a:cubicBezTo>
                <a:lnTo>
                  <a:pt x="180404" y="119896"/>
                </a:lnTo>
                <a:cubicBezTo>
                  <a:pt x="180404" y="119896"/>
                  <a:pt x="180404" y="119896"/>
                  <a:pt x="180404" y="119896"/>
                </a:cubicBezTo>
                <a:lnTo>
                  <a:pt x="180404" y="119896"/>
                </a:lnTo>
                <a:cubicBezTo>
                  <a:pt x="188881" y="111419"/>
                  <a:pt x="188881" y="97703"/>
                  <a:pt x="180404" y="89321"/>
                </a:cubicBezTo>
                <a:close/>
              </a:path>
            </a:pathLst>
          </a:custGeom>
          <a:solidFill>
            <a:schemeClr val="accent4"/>
          </a:solidFill>
          <a:ln w="9525" cap="flat">
            <a:noFill/>
            <a:prstDash val="solid"/>
            <a:miter/>
          </a:ln>
        </p:spPr>
        <p:txBody>
          <a:bodyPr rtlCol="0" anchor="ctr"/>
          <a:lstStyle/>
          <a:p>
            <a:pPr marL="0" marR="0" lvl="0" indent="0" algn="l" defTabSz="408104" rtl="0" eaLnBrk="1" fontAlgn="auto" latinLnBrk="0" hangingPunct="1">
              <a:lnSpc>
                <a:spcPct val="100000"/>
              </a:lnSpc>
              <a:spcBef>
                <a:spcPts val="0"/>
              </a:spcBef>
              <a:spcAft>
                <a:spcPts val="0"/>
              </a:spcAft>
              <a:buClrTx/>
              <a:buSzTx/>
              <a:buFontTx/>
              <a:buNone/>
              <a:tabLst/>
              <a:defRPr/>
            </a:pPr>
            <a:endParaRPr kumimoji="0" lang="en-BE" sz="1620" b="0" i="0" u="none" strike="noStrike" kern="1200" cap="none" spc="0" normalizeH="0" baseline="0" noProof="0">
              <a:ln>
                <a:noFill/>
              </a:ln>
              <a:solidFill>
                <a:srgbClr val="FFFFFF"/>
              </a:solidFill>
              <a:effectLst/>
              <a:uLnTx/>
              <a:uFillTx/>
              <a:latin typeface="Proximus"/>
              <a:ea typeface="+mn-ea"/>
              <a:cs typeface="+mn-cs"/>
            </a:endParaRPr>
          </a:p>
        </p:txBody>
      </p:sp>
      <p:sp>
        <p:nvSpPr>
          <p:cNvPr id="34" name="TextBox 33">
            <a:extLst>
              <a:ext uri="{FF2B5EF4-FFF2-40B4-BE49-F238E27FC236}">
                <a16:creationId xmlns:a16="http://schemas.microsoft.com/office/drawing/2014/main" id="{4C45A52C-3B9C-EB90-3F39-009FFEF09533}"/>
              </a:ext>
            </a:extLst>
          </p:cNvPr>
          <p:cNvSpPr txBox="1"/>
          <p:nvPr/>
        </p:nvSpPr>
        <p:spPr>
          <a:xfrm>
            <a:off x="7017540" y="2054108"/>
            <a:ext cx="1548000" cy="503999"/>
          </a:xfrm>
          <a:prstGeom prst="rect">
            <a:avLst/>
          </a:prstGeom>
          <a:noFill/>
        </p:spPr>
        <p:txBody>
          <a:bodyPr wrap="none" lIns="0" tIns="0" rIns="0" bIns="0" rtlCol="0" anchor="ctr">
            <a:noAutofit/>
          </a:bodyPr>
          <a:lstStyle/>
          <a:p>
            <a:pPr marL="0" marR="0" lvl="0" indent="0" algn="l" defTabSz="914241" rtl="0" eaLnBrk="1" fontAlgn="auto" latinLnBrk="0" hangingPunct="1">
              <a:lnSpc>
                <a:spcPct val="100000"/>
              </a:lnSpc>
              <a:spcBef>
                <a:spcPts val="450"/>
              </a:spcBef>
              <a:spcAft>
                <a:spcPts val="0"/>
              </a:spcAft>
              <a:buClr>
                <a:srgbClr val="5C2D91"/>
              </a:buClr>
              <a:buSzTx/>
              <a:buFontTx/>
              <a:buNone/>
              <a:tabLst/>
              <a:defRPr/>
            </a:pPr>
            <a:r>
              <a:rPr kumimoji="0" lang="en-US" sz="1400" b="1" i="0" u="none" strike="noStrike" kern="1200" cap="none" spc="0" normalizeH="0" baseline="0" noProof="0">
                <a:ln>
                  <a:noFill/>
                </a:ln>
                <a:solidFill>
                  <a:srgbClr val="141C24"/>
                </a:solidFill>
                <a:effectLst/>
                <a:uLnTx/>
                <a:uFillTx/>
                <a:latin typeface="Proximus ExtraBold" pitchFamily="2" charset="77"/>
                <a:ea typeface="+mn-ea"/>
                <a:cs typeface="+mn-cs"/>
              </a:rPr>
              <a:t>EU regulation </a:t>
            </a:r>
            <a:br>
              <a:rPr kumimoji="0" lang="en-US" sz="1400" b="1" i="0" u="none" strike="noStrike" kern="1200" cap="none" spc="0" normalizeH="0" baseline="0" noProof="0">
                <a:ln>
                  <a:noFill/>
                </a:ln>
                <a:solidFill>
                  <a:srgbClr val="141C24"/>
                </a:solidFill>
                <a:effectLst/>
                <a:uLnTx/>
                <a:uFillTx/>
                <a:latin typeface="Proximus ExtraBold" pitchFamily="2" charset="77"/>
                <a:ea typeface="+mn-ea"/>
                <a:cs typeface="+mn-cs"/>
              </a:rPr>
            </a:br>
            <a:r>
              <a:rPr kumimoji="0" lang="en-US" sz="1400" b="0" i="0" u="none" strike="noStrike" kern="1200" cap="none" spc="0" normalizeH="0" baseline="0" noProof="0">
                <a:ln>
                  <a:noFill/>
                </a:ln>
                <a:solidFill>
                  <a:srgbClr val="141C24"/>
                </a:solidFill>
                <a:effectLst/>
                <a:uLnTx/>
                <a:uFillTx/>
                <a:latin typeface="Proximus Light" pitchFamily="2" charset="77"/>
                <a:ea typeface="+mn-ea"/>
                <a:cs typeface="+mn-cs"/>
              </a:rPr>
              <a:t>No HRV by 2030</a:t>
            </a:r>
          </a:p>
        </p:txBody>
      </p:sp>
      <p:sp>
        <p:nvSpPr>
          <p:cNvPr id="35" name="TextBox 34">
            <a:extLst>
              <a:ext uri="{FF2B5EF4-FFF2-40B4-BE49-F238E27FC236}">
                <a16:creationId xmlns:a16="http://schemas.microsoft.com/office/drawing/2014/main" id="{50BB6D01-D88C-1A06-B43F-DFE20EB876A7}"/>
              </a:ext>
            </a:extLst>
          </p:cNvPr>
          <p:cNvSpPr txBox="1"/>
          <p:nvPr/>
        </p:nvSpPr>
        <p:spPr>
          <a:xfrm>
            <a:off x="7017540" y="2493439"/>
            <a:ext cx="1548000" cy="503999"/>
          </a:xfrm>
          <a:prstGeom prst="rect">
            <a:avLst/>
          </a:prstGeom>
          <a:noFill/>
        </p:spPr>
        <p:txBody>
          <a:bodyPr wrap="none" lIns="0" tIns="0" rIns="0" bIns="0" rtlCol="0" anchor="ctr">
            <a:noAutofit/>
          </a:bodyPr>
          <a:lstStyle/>
          <a:p>
            <a:pPr marL="0" marR="0" lvl="0" indent="0" algn="l" defTabSz="914241" rtl="0" eaLnBrk="1" fontAlgn="auto" latinLnBrk="0" hangingPunct="1">
              <a:lnSpc>
                <a:spcPct val="100000"/>
              </a:lnSpc>
              <a:spcBef>
                <a:spcPts val="450"/>
              </a:spcBef>
              <a:spcAft>
                <a:spcPts val="0"/>
              </a:spcAft>
              <a:buClr>
                <a:srgbClr val="5C2D91"/>
              </a:buClr>
              <a:buSzTx/>
              <a:buFontTx/>
              <a:buNone/>
              <a:tabLst/>
              <a:defRPr/>
            </a:pPr>
            <a:r>
              <a:rPr kumimoji="0" lang="en-US" sz="1400" b="1" i="0" u="none" strike="noStrike" kern="1200" cap="none" spc="0" normalizeH="0" baseline="0" noProof="0">
                <a:ln>
                  <a:noFill/>
                </a:ln>
                <a:solidFill>
                  <a:srgbClr val="141C24"/>
                </a:solidFill>
                <a:effectLst/>
                <a:uLnTx/>
                <a:uFillTx/>
                <a:latin typeface="Proximus ExtraBold" pitchFamily="2" charset="77"/>
                <a:ea typeface="+mn-ea"/>
                <a:cs typeface="+mn-cs"/>
              </a:rPr>
              <a:t>Quantum-proof</a:t>
            </a:r>
            <a:endParaRPr kumimoji="0" lang="en-US" sz="1400" b="0" i="0" u="none" strike="noStrike" kern="1200" cap="none" spc="0" normalizeH="0" baseline="0" noProof="0">
              <a:ln>
                <a:noFill/>
              </a:ln>
              <a:solidFill>
                <a:srgbClr val="141C24"/>
              </a:solidFill>
              <a:effectLst/>
              <a:uLnTx/>
              <a:uFillTx/>
              <a:latin typeface="Proximus Light" pitchFamily="2" charset="77"/>
              <a:ea typeface="+mn-ea"/>
              <a:cs typeface="+mn-cs"/>
            </a:endParaRPr>
          </a:p>
        </p:txBody>
      </p:sp>
      <p:sp>
        <p:nvSpPr>
          <p:cNvPr id="36" name="TextBox 35">
            <a:extLst>
              <a:ext uri="{FF2B5EF4-FFF2-40B4-BE49-F238E27FC236}">
                <a16:creationId xmlns:a16="http://schemas.microsoft.com/office/drawing/2014/main" id="{94343DE9-9F4B-28EE-4BB5-F5A3EC1FEF0C}"/>
              </a:ext>
            </a:extLst>
          </p:cNvPr>
          <p:cNvSpPr txBox="1"/>
          <p:nvPr/>
        </p:nvSpPr>
        <p:spPr>
          <a:xfrm>
            <a:off x="7017540" y="3041170"/>
            <a:ext cx="1548000" cy="503999"/>
          </a:xfrm>
          <a:prstGeom prst="rect">
            <a:avLst/>
          </a:prstGeom>
          <a:noFill/>
        </p:spPr>
        <p:txBody>
          <a:bodyPr wrap="none" lIns="0" tIns="0" rIns="0" bIns="0" rtlCol="0" anchor="ctr">
            <a:noAutofit/>
          </a:bodyPr>
          <a:lstStyle/>
          <a:p>
            <a:pPr marL="0" marR="0" lvl="0" indent="0" algn="l" defTabSz="914241" rtl="0" eaLnBrk="1" fontAlgn="auto" latinLnBrk="0" hangingPunct="1">
              <a:lnSpc>
                <a:spcPct val="100000"/>
              </a:lnSpc>
              <a:spcBef>
                <a:spcPts val="450"/>
              </a:spcBef>
              <a:spcAft>
                <a:spcPts val="0"/>
              </a:spcAft>
              <a:buClr>
                <a:srgbClr val="5C2D91"/>
              </a:buClr>
              <a:buSzTx/>
              <a:buFontTx/>
              <a:buNone/>
              <a:tabLst/>
              <a:defRPr/>
            </a:pPr>
            <a:r>
              <a:rPr kumimoji="0" lang="en-US" sz="1400" b="0" i="0" u="none" strike="noStrike" kern="1200" cap="none" spc="0" normalizeH="0" baseline="0" noProof="0">
                <a:ln>
                  <a:noFill/>
                </a:ln>
                <a:solidFill>
                  <a:srgbClr val="141C24"/>
                </a:solidFill>
                <a:effectLst/>
                <a:uLnTx/>
                <a:uFillTx/>
                <a:latin typeface="Proximus Light" pitchFamily="2" charset="77"/>
                <a:ea typeface="+mn-ea"/>
                <a:cs typeface="+mn-cs"/>
              </a:rPr>
              <a:t>Further </a:t>
            </a:r>
            <a:r>
              <a:rPr kumimoji="0" lang="en-US" sz="1400" b="1" i="0" u="none" strike="noStrike" kern="1200" cap="none" spc="0" normalizeH="0" baseline="0" noProof="0">
                <a:ln>
                  <a:noFill/>
                </a:ln>
                <a:solidFill>
                  <a:srgbClr val="141C24"/>
                </a:solidFill>
                <a:effectLst/>
                <a:uLnTx/>
                <a:uFillTx/>
                <a:latin typeface="Proximus ExtraBold" pitchFamily="2" charset="77"/>
                <a:ea typeface="+mn-ea"/>
                <a:cs typeface="+mn-cs"/>
              </a:rPr>
              <a:t>simplify</a:t>
            </a:r>
            <a:endParaRPr kumimoji="0" lang="en-US" sz="1400" b="0" i="0" u="none" strike="noStrike" kern="1200" cap="none" spc="0" normalizeH="0" baseline="0" noProof="0">
              <a:ln>
                <a:noFill/>
              </a:ln>
              <a:solidFill>
                <a:srgbClr val="141C24"/>
              </a:solidFill>
              <a:effectLst/>
              <a:uLnTx/>
              <a:uFillTx/>
              <a:latin typeface="Proximus Light" pitchFamily="2" charset="77"/>
              <a:ea typeface="+mn-ea"/>
              <a:cs typeface="+mn-cs"/>
            </a:endParaRPr>
          </a:p>
        </p:txBody>
      </p:sp>
      <p:sp>
        <p:nvSpPr>
          <p:cNvPr id="37" name="TextBox 36">
            <a:extLst>
              <a:ext uri="{FF2B5EF4-FFF2-40B4-BE49-F238E27FC236}">
                <a16:creationId xmlns:a16="http://schemas.microsoft.com/office/drawing/2014/main" id="{03F9A9E8-9ED9-3830-6A08-05559CF41823}"/>
              </a:ext>
            </a:extLst>
          </p:cNvPr>
          <p:cNvSpPr txBox="1"/>
          <p:nvPr/>
        </p:nvSpPr>
        <p:spPr>
          <a:xfrm>
            <a:off x="7017540" y="3877846"/>
            <a:ext cx="1548000" cy="503999"/>
          </a:xfrm>
          <a:prstGeom prst="rect">
            <a:avLst/>
          </a:prstGeom>
          <a:noFill/>
        </p:spPr>
        <p:txBody>
          <a:bodyPr wrap="none" lIns="0" tIns="0" rIns="0" bIns="0" rtlCol="0" anchor="ctr">
            <a:noAutofit/>
          </a:bodyPr>
          <a:lstStyle/>
          <a:p>
            <a:pPr marL="0" marR="0" lvl="0" indent="0" algn="l" defTabSz="914241" rtl="0" eaLnBrk="1" fontAlgn="auto" latinLnBrk="0" hangingPunct="1">
              <a:lnSpc>
                <a:spcPct val="100000"/>
              </a:lnSpc>
              <a:spcBef>
                <a:spcPts val="450"/>
              </a:spcBef>
              <a:spcAft>
                <a:spcPts val="0"/>
              </a:spcAft>
              <a:buClr>
                <a:srgbClr val="5C2D91"/>
              </a:buClr>
              <a:buSzTx/>
              <a:buFontTx/>
              <a:buNone/>
              <a:tabLst/>
              <a:defRPr/>
            </a:pPr>
            <a:r>
              <a:rPr kumimoji="0" lang="en-US" sz="1400" b="1" i="0" u="none" strike="noStrike" kern="1200" cap="none" spc="0" normalizeH="0" baseline="0" noProof="0">
                <a:ln>
                  <a:noFill/>
                </a:ln>
                <a:solidFill>
                  <a:srgbClr val="141C24"/>
                </a:solidFill>
                <a:effectLst/>
                <a:uLnTx/>
                <a:uFillTx/>
                <a:latin typeface="Proximus ExtraBold" pitchFamily="2" charset="77"/>
                <a:ea typeface="+mn-ea"/>
                <a:cs typeface="+mn-cs"/>
              </a:rPr>
              <a:t>Scale up</a:t>
            </a:r>
            <a:endParaRPr kumimoji="0" lang="en-US" sz="1400" b="0" i="0" u="none" strike="noStrike" kern="1200" cap="none" spc="0" normalizeH="0" baseline="0" noProof="0">
              <a:ln>
                <a:noFill/>
              </a:ln>
              <a:solidFill>
                <a:srgbClr val="141C24"/>
              </a:solidFill>
              <a:effectLst/>
              <a:uLnTx/>
              <a:uFillTx/>
              <a:latin typeface="Proximus Light" pitchFamily="2" charset="77"/>
              <a:ea typeface="+mn-ea"/>
              <a:cs typeface="+mn-cs"/>
            </a:endParaRPr>
          </a:p>
        </p:txBody>
      </p:sp>
      <p:sp>
        <p:nvSpPr>
          <p:cNvPr id="38" name="Freeform 37">
            <a:extLst>
              <a:ext uri="{FF2B5EF4-FFF2-40B4-BE49-F238E27FC236}">
                <a16:creationId xmlns:a16="http://schemas.microsoft.com/office/drawing/2014/main" id="{08E257BC-A251-A3CD-C3E3-DF196CC69E2E}"/>
              </a:ext>
            </a:extLst>
          </p:cNvPr>
          <p:cNvSpPr/>
          <p:nvPr/>
        </p:nvSpPr>
        <p:spPr>
          <a:xfrm rot="18900000">
            <a:off x="7867797" y="4029395"/>
            <a:ext cx="186761" cy="209026"/>
          </a:xfrm>
          <a:custGeom>
            <a:avLst/>
            <a:gdLst>
              <a:gd name="connsiteX0" fmla="*/ 180404 w 186761"/>
              <a:gd name="connsiteY0" fmla="*/ 89130 h 209026"/>
              <a:gd name="connsiteX1" fmla="*/ 97631 w 186761"/>
              <a:gd name="connsiteY1" fmla="*/ 6358 h 209026"/>
              <a:gd name="connsiteX2" fmla="*/ 67056 w 186761"/>
              <a:gd name="connsiteY2" fmla="*/ 6358 h 209026"/>
              <a:gd name="connsiteX3" fmla="*/ 67056 w 186761"/>
              <a:gd name="connsiteY3" fmla="*/ 36933 h 209026"/>
              <a:gd name="connsiteX4" fmla="*/ 112871 w 186761"/>
              <a:gd name="connsiteY4" fmla="*/ 82748 h 209026"/>
              <a:gd name="connsiteX5" fmla="*/ 112871 w 186761"/>
              <a:gd name="connsiteY5" fmla="*/ 82748 h 209026"/>
              <a:gd name="connsiteX6" fmla="*/ 17240 w 186761"/>
              <a:gd name="connsiteY6" fmla="*/ 82844 h 209026"/>
              <a:gd name="connsiteX7" fmla="*/ 0 w 186761"/>
              <a:gd name="connsiteY7" fmla="*/ 100084 h 209026"/>
              <a:gd name="connsiteX8" fmla="*/ 0 w 186761"/>
              <a:gd name="connsiteY8" fmla="*/ 108942 h 209026"/>
              <a:gd name="connsiteX9" fmla="*/ 17240 w 186761"/>
              <a:gd name="connsiteY9" fmla="*/ 126182 h 209026"/>
              <a:gd name="connsiteX10" fmla="*/ 112871 w 186761"/>
              <a:gd name="connsiteY10" fmla="*/ 126182 h 209026"/>
              <a:gd name="connsiteX11" fmla="*/ 67056 w 186761"/>
              <a:gd name="connsiteY11" fmla="*/ 172093 h 209026"/>
              <a:gd name="connsiteX12" fmla="*/ 67056 w 186761"/>
              <a:gd name="connsiteY12" fmla="*/ 202668 h 209026"/>
              <a:gd name="connsiteX13" fmla="*/ 97631 w 186761"/>
              <a:gd name="connsiteY13" fmla="*/ 202668 h 209026"/>
              <a:gd name="connsiteX14" fmla="*/ 180404 w 186761"/>
              <a:gd name="connsiteY14" fmla="*/ 119896 h 209026"/>
              <a:gd name="connsiteX15" fmla="*/ 180404 w 186761"/>
              <a:gd name="connsiteY15" fmla="*/ 119896 h 209026"/>
              <a:gd name="connsiteX16" fmla="*/ 180404 w 186761"/>
              <a:gd name="connsiteY16" fmla="*/ 119896 h 209026"/>
              <a:gd name="connsiteX17" fmla="*/ 180404 w 186761"/>
              <a:gd name="connsiteY17" fmla="*/ 89321 h 20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761" h="209026">
                <a:moveTo>
                  <a:pt x="180404" y="89130"/>
                </a:moveTo>
                <a:lnTo>
                  <a:pt x="97631" y="6358"/>
                </a:lnTo>
                <a:cubicBezTo>
                  <a:pt x="89154" y="-2119"/>
                  <a:pt x="75438" y="-2119"/>
                  <a:pt x="67056" y="6358"/>
                </a:cubicBezTo>
                <a:cubicBezTo>
                  <a:pt x="58579" y="14835"/>
                  <a:pt x="58579" y="28551"/>
                  <a:pt x="67056" y="36933"/>
                </a:cubicBezTo>
                <a:lnTo>
                  <a:pt x="112871" y="82748"/>
                </a:lnTo>
                <a:lnTo>
                  <a:pt x="112871" y="82748"/>
                </a:lnTo>
                <a:cubicBezTo>
                  <a:pt x="112871" y="82748"/>
                  <a:pt x="17240" y="82844"/>
                  <a:pt x="17240" y="82844"/>
                </a:cubicBezTo>
                <a:cubicBezTo>
                  <a:pt x="7715" y="82844"/>
                  <a:pt x="0" y="90559"/>
                  <a:pt x="0" y="100084"/>
                </a:cubicBezTo>
                <a:lnTo>
                  <a:pt x="0" y="108942"/>
                </a:lnTo>
                <a:cubicBezTo>
                  <a:pt x="0" y="118467"/>
                  <a:pt x="7715" y="126182"/>
                  <a:pt x="17240" y="126182"/>
                </a:cubicBezTo>
                <a:lnTo>
                  <a:pt x="112871" y="126182"/>
                </a:lnTo>
                <a:cubicBezTo>
                  <a:pt x="112871" y="126182"/>
                  <a:pt x="67056" y="172093"/>
                  <a:pt x="67056" y="172093"/>
                </a:cubicBezTo>
                <a:cubicBezTo>
                  <a:pt x="58579" y="180570"/>
                  <a:pt x="58579" y="194286"/>
                  <a:pt x="67056" y="202668"/>
                </a:cubicBezTo>
                <a:cubicBezTo>
                  <a:pt x="75533" y="211145"/>
                  <a:pt x="89249" y="211145"/>
                  <a:pt x="97631" y="202668"/>
                </a:cubicBezTo>
                <a:lnTo>
                  <a:pt x="180404" y="119896"/>
                </a:lnTo>
                <a:cubicBezTo>
                  <a:pt x="180404" y="119896"/>
                  <a:pt x="180404" y="119896"/>
                  <a:pt x="180404" y="119896"/>
                </a:cubicBezTo>
                <a:lnTo>
                  <a:pt x="180404" y="119896"/>
                </a:lnTo>
                <a:cubicBezTo>
                  <a:pt x="188881" y="111419"/>
                  <a:pt x="188881" y="97703"/>
                  <a:pt x="180404" y="89321"/>
                </a:cubicBezTo>
                <a:close/>
              </a:path>
            </a:pathLst>
          </a:custGeom>
          <a:solidFill>
            <a:schemeClr val="accent1"/>
          </a:solidFill>
          <a:ln w="9525" cap="flat">
            <a:noFill/>
            <a:prstDash val="solid"/>
            <a:miter/>
          </a:ln>
        </p:spPr>
        <p:txBody>
          <a:bodyPr rtlCol="0" anchor="ctr"/>
          <a:lstStyle/>
          <a:p>
            <a:pPr marL="0" marR="0" lvl="0" indent="0" algn="l" defTabSz="408104" rtl="0" eaLnBrk="1" fontAlgn="auto" latinLnBrk="0" hangingPunct="1">
              <a:lnSpc>
                <a:spcPct val="100000"/>
              </a:lnSpc>
              <a:spcBef>
                <a:spcPts val="0"/>
              </a:spcBef>
              <a:spcAft>
                <a:spcPts val="0"/>
              </a:spcAft>
              <a:buClrTx/>
              <a:buSzTx/>
              <a:buFontTx/>
              <a:buNone/>
              <a:tabLst/>
              <a:defRPr/>
            </a:pPr>
            <a:endParaRPr kumimoji="0" lang="en-BE" sz="1620" b="0" i="0" u="none" strike="noStrike" kern="1200" cap="none" spc="0" normalizeH="0" baseline="0" noProof="0">
              <a:ln>
                <a:noFill/>
              </a:ln>
              <a:solidFill>
                <a:srgbClr val="FFFFFF"/>
              </a:solidFill>
              <a:effectLst/>
              <a:uLnTx/>
              <a:uFillTx/>
              <a:latin typeface="Proximus"/>
              <a:ea typeface="+mn-ea"/>
              <a:cs typeface="+mn-cs"/>
            </a:endParaRPr>
          </a:p>
        </p:txBody>
      </p:sp>
      <p:sp>
        <p:nvSpPr>
          <p:cNvPr id="40" name="Right Brace 39">
            <a:extLst>
              <a:ext uri="{FF2B5EF4-FFF2-40B4-BE49-F238E27FC236}">
                <a16:creationId xmlns:a16="http://schemas.microsoft.com/office/drawing/2014/main" id="{08AAF624-8395-1C85-97DD-D122D643CFC7}"/>
              </a:ext>
            </a:extLst>
          </p:cNvPr>
          <p:cNvSpPr/>
          <p:nvPr/>
        </p:nvSpPr>
        <p:spPr>
          <a:xfrm>
            <a:off x="6751608" y="3841845"/>
            <a:ext cx="92990" cy="576000"/>
          </a:xfrm>
          <a:prstGeom prst="rightBrace">
            <a:avLst/>
          </a:prstGeom>
          <a:ln w="25400" cap="rnd">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41" name="Right Brace 40">
            <a:extLst>
              <a:ext uri="{FF2B5EF4-FFF2-40B4-BE49-F238E27FC236}">
                <a16:creationId xmlns:a16="http://schemas.microsoft.com/office/drawing/2014/main" id="{430746B0-7F73-EF5B-1B4E-7D7DC1AAB307}"/>
              </a:ext>
            </a:extLst>
          </p:cNvPr>
          <p:cNvSpPr/>
          <p:nvPr/>
        </p:nvSpPr>
        <p:spPr>
          <a:xfrm>
            <a:off x="6751608" y="3023169"/>
            <a:ext cx="92990" cy="540000"/>
          </a:xfrm>
          <a:prstGeom prst="rightBrace">
            <a:avLst/>
          </a:prstGeom>
          <a:ln w="25400" cap="rnd">
            <a:gradFill>
              <a:gsLst>
                <a:gs pos="0">
                  <a:srgbClr val="4396D6"/>
                </a:gs>
                <a:gs pos="100000">
                  <a:schemeClr val="bg1"/>
                </a:gs>
              </a:gsLst>
              <a:lin ang="5400000" scaled="1"/>
            </a:gra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42" name="Right Brace 41">
            <a:extLst>
              <a:ext uri="{FF2B5EF4-FFF2-40B4-BE49-F238E27FC236}">
                <a16:creationId xmlns:a16="http://schemas.microsoft.com/office/drawing/2014/main" id="{B0D0221F-FF33-72AA-A823-61738AD02D1E}"/>
              </a:ext>
            </a:extLst>
          </p:cNvPr>
          <p:cNvSpPr/>
          <p:nvPr/>
        </p:nvSpPr>
        <p:spPr>
          <a:xfrm>
            <a:off x="6751608" y="2075186"/>
            <a:ext cx="92990" cy="900000"/>
          </a:xfrm>
          <a:prstGeom prst="rightBrace">
            <a:avLst/>
          </a:prstGeom>
          <a:ln w="25400" cap="rnd">
            <a:gradFill>
              <a:gsLst>
                <a:gs pos="0">
                  <a:schemeClr val="bg2"/>
                </a:gs>
                <a:gs pos="100000">
                  <a:srgbClr val="4396D6"/>
                </a:gs>
              </a:gsLst>
              <a:lin ang="5400000" scaled="1"/>
            </a:gra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43" name="Right Brace 42">
            <a:extLst>
              <a:ext uri="{FF2B5EF4-FFF2-40B4-BE49-F238E27FC236}">
                <a16:creationId xmlns:a16="http://schemas.microsoft.com/office/drawing/2014/main" id="{4E24C14C-C4E7-EE75-F5D7-F0ECE887D5D8}"/>
              </a:ext>
            </a:extLst>
          </p:cNvPr>
          <p:cNvSpPr/>
          <p:nvPr/>
        </p:nvSpPr>
        <p:spPr>
          <a:xfrm>
            <a:off x="6748037" y="1205849"/>
            <a:ext cx="92990" cy="576000"/>
          </a:xfrm>
          <a:prstGeom prst="rightBrace">
            <a:avLst/>
          </a:prstGeom>
          <a:ln w="25400" cap="rnd">
            <a:solidFill>
              <a:schemeClr val="accent4"/>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08104"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srgbClr val="FFFFFF"/>
              </a:solidFill>
              <a:effectLst/>
              <a:uLnTx/>
              <a:uFillTx/>
              <a:latin typeface="Proximus"/>
              <a:ea typeface="+mn-ea"/>
              <a:cs typeface="+mn-cs"/>
            </a:endParaRPr>
          </a:p>
        </p:txBody>
      </p:sp>
      <p:sp>
        <p:nvSpPr>
          <p:cNvPr id="15" name="TextBox 2">
            <a:extLst>
              <a:ext uri="{FF2B5EF4-FFF2-40B4-BE49-F238E27FC236}">
                <a16:creationId xmlns:a16="http://schemas.microsoft.com/office/drawing/2014/main" id="{CDE188D6-C8B9-8FC3-F516-2ED34036DDB3}"/>
              </a:ext>
            </a:extLst>
          </p:cNvPr>
          <p:cNvSpPr txBox="1"/>
          <p:nvPr/>
        </p:nvSpPr>
        <p:spPr>
          <a:xfrm>
            <a:off x="3689040" y="3832536"/>
            <a:ext cx="1776178" cy="603040"/>
          </a:xfrm>
          <a:prstGeom prst="rect">
            <a:avLst/>
          </a:prstGeom>
          <a:noFill/>
        </p:spPr>
        <p:txBody>
          <a:bodyPr wrap="non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C2D91"/>
                </a:solidFill>
                <a:effectLst/>
                <a:uLnTx/>
                <a:uFillTx/>
                <a:latin typeface="Proximus Light" pitchFamily="2" charset="77"/>
                <a:ea typeface="+mn-ea"/>
                <a:cs typeface="+mn-cs"/>
              </a:rPr>
              <a:t>OLT  Optical Line Terminal</a:t>
            </a:r>
            <a:br>
              <a:rPr kumimoji="0" lang="en-US" sz="1100" b="0" i="0" u="none" strike="noStrike" kern="1200" cap="none" spc="0" normalizeH="0" baseline="0" noProof="0">
                <a:ln>
                  <a:noFill/>
                </a:ln>
                <a:solidFill>
                  <a:srgbClr val="5C2D91"/>
                </a:solidFill>
                <a:effectLst/>
                <a:uLnTx/>
                <a:uFillTx/>
                <a:latin typeface="Proximus Light" pitchFamily="2" charset="77"/>
                <a:ea typeface="+mn-ea"/>
                <a:cs typeface="+mn-cs"/>
              </a:rPr>
            </a:br>
            <a:r>
              <a:rPr kumimoji="0" lang="en-US" sz="1100" b="0" i="0" u="none" strike="noStrike" kern="1200" cap="none" spc="0" normalizeH="0" baseline="0" noProof="0">
                <a:ln>
                  <a:noFill/>
                </a:ln>
                <a:solidFill>
                  <a:srgbClr val="5C2D91"/>
                </a:solidFill>
                <a:effectLst/>
                <a:uLnTx/>
                <a:uFillTx/>
                <a:latin typeface="Proximus Light" pitchFamily="2" charset="77"/>
                <a:ea typeface="+mn-ea"/>
                <a:cs typeface="+mn-cs"/>
              </a:rPr>
              <a:t>OSS  Altiplano</a:t>
            </a:r>
            <a:endParaRPr kumimoji="0" lang="en-GB" sz="1400" b="0" i="0" u="none" strike="noStrike" kern="1200" cap="none" spc="0" normalizeH="0" baseline="0" noProof="0">
              <a:ln>
                <a:noFill/>
              </a:ln>
              <a:solidFill>
                <a:srgbClr val="5C2D91"/>
              </a:solidFill>
              <a:effectLst/>
              <a:uLnTx/>
              <a:uFillTx/>
              <a:latin typeface="Proximus Light" pitchFamily="2" charset="77"/>
              <a:ea typeface="+mn-ea"/>
              <a:cs typeface="+mn-cs"/>
            </a:endParaRPr>
          </a:p>
        </p:txBody>
      </p:sp>
    </p:spTree>
    <p:extLst>
      <p:ext uri="{BB962C8B-B14F-4D97-AF65-F5344CB8AC3E}">
        <p14:creationId xmlns:p14="http://schemas.microsoft.com/office/powerpoint/2010/main" val="40730068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68547C-BD21-631B-AEF4-2123893272DA}"/>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43B8CDA9-50C9-AB0A-9F69-21422D5D5521}"/>
              </a:ext>
            </a:extLst>
          </p:cNvPr>
          <p:cNvSpPr/>
          <p:nvPr/>
        </p:nvSpPr>
        <p:spPr>
          <a:xfrm>
            <a:off x="460375" y="450850"/>
            <a:ext cx="8221665" cy="4244975"/>
          </a:xfrm>
          <a:prstGeom prst="roundRect">
            <a:avLst>
              <a:gd name="adj" fmla="val 2317"/>
            </a:avLst>
          </a:prstGeom>
          <a:gradFill flip="none" rotWithShape="1">
            <a:gsLst>
              <a:gs pos="20000">
                <a:schemeClr val="bg1"/>
              </a:gs>
              <a:gs pos="99000">
                <a:schemeClr val="accent4"/>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dirty="0">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132BC0C2-C86C-3FE8-3261-03640F9538E2}"/>
              </a:ext>
            </a:extLst>
          </p:cNvPr>
          <p:cNvSpPr>
            <a:spLocks noGrp="1"/>
          </p:cNvSpPr>
          <p:nvPr>
            <p:ph type="title"/>
          </p:nvPr>
        </p:nvSpPr>
        <p:spPr>
          <a:xfrm>
            <a:off x="3982151" y="1516604"/>
            <a:ext cx="4361518" cy="332486"/>
          </a:xfrm>
        </p:spPr>
        <p:txBody>
          <a:bodyPr/>
          <a:lstStyle/>
          <a:p>
            <a:pPr algn="ctr"/>
            <a:r>
              <a:rPr lang="en-GB" sz="2550" dirty="0">
                <a:solidFill>
                  <a:schemeClr val="tx1"/>
                </a:solidFill>
                <a:latin typeface="Proximus Bold"/>
              </a:rPr>
              <a:t>What does OSS stand for?</a:t>
            </a:r>
            <a:endParaRPr lang="en-BE" sz="2550" dirty="0">
              <a:solidFill>
                <a:schemeClr val="tx1"/>
              </a:solidFill>
              <a:latin typeface="Proximus Bold"/>
            </a:endParaRPr>
          </a:p>
        </p:txBody>
      </p:sp>
      <p:sp>
        <p:nvSpPr>
          <p:cNvPr id="4" name="Title 1">
            <a:extLst>
              <a:ext uri="{FF2B5EF4-FFF2-40B4-BE49-F238E27FC236}">
                <a16:creationId xmlns:a16="http://schemas.microsoft.com/office/drawing/2014/main" id="{DC688045-0E00-F86A-3679-051A66C2BBCC}"/>
              </a:ext>
            </a:extLst>
          </p:cNvPr>
          <p:cNvSpPr txBox="1">
            <a:spLocks/>
          </p:cNvSpPr>
          <p:nvPr/>
        </p:nvSpPr>
        <p:spPr>
          <a:xfrm>
            <a:off x="4005746" y="2045800"/>
            <a:ext cx="4267766" cy="1922070"/>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nSpc>
                <a:spcPct val="107000"/>
              </a:lnSpc>
              <a:spcAft>
                <a:spcPts val="800"/>
              </a:spcAft>
              <a:buAutoNum type="arabicPeriod"/>
            </a:pPr>
            <a:r>
              <a:rPr lang="en-US" sz="1800" b="0" kern="100" dirty="0">
                <a:solidFill>
                  <a:schemeClr val="tx1"/>
                </a:solidFill>
                <a:latin typeface="Proximus Light"/>
                <a:ea typeface="Aptos" panose="020B0004020202020204" pitchFamily="34" charset="0"/>
                <a:cs typeface="Arial"/>
              </a:rPr>
              <a:t>A movie : OSS 117</a:t>
            </a:r>
            <a:endParaRPr lang="en-US" sz="1800" b="0" kern="100" dirty="0">
              <a:solidFill>
                <a:schemeClr val="tx1"/>
              </a:solidFill>
              <a:effectLst/>
              <a:latin typeface="Proximus Light" pitchFamily="2" charset="77"/>
              <a:ea typeface="Aptos" panose="020B0004020202020204" pitchFamily="34" charset="0"/>
              <a:cs typeface="Arial" panose="020B0604020202020204" pitchFamily="34" charset="0"/>
            </a:endParaRPr>
          </a:p>
          <a:p>
            <a:pPr marL="342900" indent="-342900">
              <a:lnSpc>
                <a:spcPct val="107000"/>
              </a:lnSpc>
              <a:spcAft>
                <a:spcPts val="800"/>
              </a:spcAft>
              <a:buFont typeface="+mj-lt"/>
              <a:buAutoNum type="arabicPeriod"/>
            </a:pPr>
            <a:r>
              <a:rPr lang="en-US" sz="1800" b="0" kern="100" dirty="0">
                <a:solidFill>
                  <a:schemeClr val="tx1"/>
                </a:solidFill>
                <a:effectLst/>
                <a:latin typeface="Proximus Light"/>
                <a:ea typeface="Aptos" panose="020B0004020202020204" pitchFamily="34" charset="0"/>
                <a:cs typeface="Arial"/>
              </a:rPr>
              <a:t>Operate Sustain &amp; Stabilize</a:t>
            </a:r>
          </a:p>
          <a:p>
            <a:pPr marL="342900" indent="-342900">
              <a:lnSpc>
                <a:spcPct val="107000"/>
              </a:lnSpc>
              <a:spcAft>
                <a:spcPts val="800"/>
              </a:spcAft>
              <a:buFont typeface="+mj-lt"/>
              <a:buAutoNum type="arabicPeriod"/>
            </a:pPr>
            <a:r>
              <a:rPr lang="en-US" sz="1800" b="0" kern="100" dirty="0">
                <a:solidFill>
                  <a:schemeClr val="tx1"/>
                </a:solidFill>
                <a:effectLst/>
                <a:latin typeface="Proximus Light"/>
                <a:ea typeface="Aptos" panose="020B0004020202020204" pitchFamily="34" charset="0"/>
                <a:cs typeface="Arial"/>
              </a:rPr>
              <a:t>Operating Support System</a:t>
            </a:r>
          </a:p>
          <a:p>
            <a:pPr marL="342900" indent="-342900">
              <a:lnSpc>
                <a:spcPct val="107000"/>
              </a:lnSpc>
              <a:spcAft>
                <a:spcPts val="800"/>
              </a:spcAft>
              <a:buFont typeface="+mj-lt"/>
              <a:buAutoNum type="arabicPeriod"/>
            </a:pPr>
            <a:r>
              <a:rPr lang="en-US" sz="1800" b="0" kern="100" dirty="0">
                <a:solidFill>
                  <a:schemeClr val="tx1"/>
                </a:solidFill>
                <a:effectLst/>
                <a:latin typeface="Proximus Light" pitchFamily="2" charset="77"/>
                <a:ea typeface="Aptos" panose="020B0004020202020204" pitchFamily="34" charset="0"/>
                <a:cs typeface="Arial" panose="020B0604020202020204" pitchFamily="34" charset="0"/>
              </a:rPr>
              <a:t>Onion Salsa &amp; Sausages</a:t>
            </a:r>
          </a:p>
        </p:txBody>
      </p:sp>
      <p:grpSp>
        <p:nvGrpSpPr>
          <p:cNvPr id="5" name="Group 4">
            <a:extLst>
              <a:ext uri="{FF2B5EF4-FFF2-40B4-BE49-F238E27FC236}">
                <a16:creationId xmlns:a16="http://schemas.microsoft.com/office/drawing/2014/main" id="{3BFF413E-2C29-50E8-8265-81C4784EF388}"/>
              </a:ext>
            </a:extLst>
          </p:cNvPr>
          <p:cNvGrpSpPr/>
          <p:nvPr/>
        </p:nvGrpSpPr>
        <p:grpSpPr>
          <a:xfrm>
            <a:off x="1034715" y="1330467"/>
            <a:ext cx="2376000" cy="2850482"/>
            <a:chOff x="1034715" y="1437623"/>
            <a:chExt cx="2376000" cy="2850482"/>
          </a:xfrm>
        </p:grpSpPr>
        <p:sp>
          <p:nvSpPr>
            <p:cNvPr id="7" name="Rounded Rectangle 6">
              <a:extLst>
                <a:ext uri="{FF2B5EF4-FFF2-40B4-BE49-F238E27FC236}">
                  <a16:creationId xmlns:a16="http://schemas.microsoft.com/office/drawing/2014/main" id="{5597ED4C-DB4D-F4E0-F130-FE8357207929}"/>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8" name="Group 7">
              <a:extLst>
                <a:ext uri="{FF2B5EF4-FFF2-40B4-BE49-F238E27FC236}">
                  <a16:creationId xmlns:a16="http://schemas.microsoft.com/office/drawing/2014/main" id="{2DD9F953-B28F-32CC-5217-760FD6CBBA96}"/>
                </a:ext>
              </a:extLst>
            </p:cNvPr>
            <p:cNvGrpSpPr/>
            <p:nvPr/>
          </p:nvGrpSpPr>
          <p:grpSpPr>
            <a:xfrm>
              <a:off x="1758834" y="3919743"/>
              <a:ext cx="948471" cy="263470"/>
              <a:chOff x="5411538" y="379361"/>
              <a:chExt cx="613934" cy="170541"/>
            </a:xfrm>
            <a:solidFill>
              <a:srgbClr val="000000"/>
            </a:solidFill>
          </p:grpSpPr>
          <p:sp>
            <p:nvSpPr>
              <p:cNvPr id="10" name="Freeform 9">
                <a:extLst>
                  <a:ext uri="{FF2B5EF4-FFF2-40B4-BE49-F238E27FC236}">
                    <a16:creationId xmlns:a16="http://schemas.microsoft.com/office/drawing/2014/main" id="{AB362F1F-E450-4774-7726-5591BC671675}"/>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1" name="Freeform 10">
                <a:extLst>
                  <a:ext uri="{FF2B5EF4-FFF2-40B4-BE49-F238E27FC236}">
                    <a16:creationId xmlns:a16="http://schemas.microsoft.com/office/drawing/2014/main" id="{AD5158CB-0F10-F1A7-92F2-DFA6AC501AB0}"/>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8" name="Freeform 17">
                <a:extLst>
                  <a:ext uri="{FF2B5EF4-FFF2-40B4-BE49-F238E27FC236}">
                    <a16:creationId xmlns:a16="http://schemas.microsoft.com/office/drawing/2014/main" id="{919741BE-9946-009C-32DD-F9CC7A1C2043}"/>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9" name="Afbeelding 4">
              <a:extLst>
                <a:ext uri="{FF2B5EF4-FFF2-40B4-BE49-F238E27FC236}">
                  <a16:creationId xmlns:a16="http://schemas.microsoft.com/office/drawing/2014/main" id="{9FECC095-C6A2-4415-AF35-29487620F701}"/>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9127194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5D597-F0CD-6AE6-EF15-BEAF50EF5204}"/>
            </a:ext>
          </a:extLst>
        </p:cNvPr>
        <p:cNvGrpSpPr/>
        <p:nvPr/>
      </p:nvGrpSpPr>
      <p:grpSpPr>
        <a:xfrm>
          <a:off x="0" y="0"/>
          <a:ext cx="0" cy="0"/>
          <a:chOff x="0" y="0"/>
          <a:chExt cx="0" cy="0"/>
        </a:xfrm>
      </p:grpSpPr>
      <p:sp>
        <p:nvSpPr>
          <p:cNvPr id="11" name="Rounded Rectangle 10">
            <a:extLst>
              <a:ext uri="{FF2B5EF4-FFF2-40B4-BE49-F238E27FC236}">
                <a16:creationId xmlns:a16="http://schemas.microsoft.com/office/drawing/2014/main" id="{8470AC94-C5AE-8C61-6D66-9734D204FE95}"/>
              </a:ext>
            </a:extLst>
          </p:cNvPr>
          <p:cNvSpPr/>
          <p:nvPr/>
        </p:nvSpPr>
        <p:spPr>
          <a:xfrm>
            <a:off x="6797800" y="1198218"/>
            <a:ext cx="1884240" cy="3367529"/>
          </a:xfrm>
          <a:prstGeom prst="roundRect">
            <a:avLst>
              <a:gd name="adj" fmla="val 10110"/>
            </a:avLst>
          </a:prstGeom>
          <a:blipFill>
            <a:blip r:embed="rId3"/>
            <a:srcRect/>
            <a:stretch>
              <a:fillRect l="-265" t="-6952" r="-24517" b="-1717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121838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2" name="Title 1">
            <a:extLst>
              <a:ext uri="{FF2B5EF4-FFF2-40B4-BE49-F238E27FC236}">
                <a16:creationId xmlns:a16="http://schemas.microsoft.com/office/drawing/2014/main" id="{DA79C71D-8D55-5C1C-325B-D170540512B8}"/>
              </a:ext>
            </a:extLst>
          </p:cNvPr>
          <p:cNvSpPr>
            <a:spLocks noGrp="1"/>
          </p:cNvSpPr>
          <p:nvPr>
            <p:ph type="title"/>
          </p:nvPr>
        </p:nvSpPr>
        <p:spPr>
          <a:xfrm>
            <a:off x="1226989" y="377826"/>
            <a:ext cx="7455051" cy="660092"/>
          </a:xfrm>
        </p:spPr>
        <p:txBody>
          <a:bodyPr anchor="ctr"/>
          <a:lstStyle/>
          <a:p>
            <a:r>
              <a:rPr lang="en-GB" sz="2550">
                <a:solidFill>
                  <a:srgbClr val="2A2234"/>
                </a:solidFill>
                <a:latin typeface="Proximus Bold"/>
              </a:rPr>
              <a:t>Network foundations </a:t>
            </a:r>
            <a:r>
              <a:rPr lang="en-BE" sz="2550" b="0">
                <a:solidFill>
                  <a:srgbClr val="2A2234"/>
                </a:solidFill>
                <a:latin typeface="Proximus Light"/>
              </a:rPr>
              <a:t>in 2025</a:t>
            </a:r>
            <a:endParaRPr lang="en-GB" sz="2550">
              <a:solidFill>
                <a:srgbClr val="2A2234"/>
              </a:solidFill>
              <a:latin typeface="Proximus Light"/>
            </a:endParaRPr>
          </a:p>
        </p:txBody>
      </p:sp>
      <p:sp>
        <p:nvSpPr>
          <p:cNvPr id="39" name="!!OVAL_network">
            <a:extLst>
              <a:ext uri="{FF2B5EF4-FFF2-40B4-BE49-F238E27FC236}">
                <a16:creationId xmlns:a16="http://schemas.microsoft.com/office/drawing/2014/main" id="{7ED9FC23-06B2-4EBA-7414-B598815AD12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8094" rtl="0" eaLnBrk="1" fontAlgn="auto" latinLnBrk="0" hangingPunct="1">
              <a:lnSpc>
                <a:spcPct val="100000"/>
              </a:lnSpc>
              <a:spcBef>
                <a:spcPts val="0"/>
              </a:spcBef>
              <a:spcAft>
                <a:spcPts val="0"/>
              </a:spcAft>
              <a:buClrTx/>
              <a:buSzTx/>
              <a:buFontTx/>
              <a:buNone/>
              <a:tabLst/>
              <a:defRPr/>
            </a:pPr>
            <a:endParaRPr kumimoji="0" lang="nl-BE" sz="2160" b="0" i="0" u="none" strike="noStrike" kern="1200" cap="none" spc="0" normalizeH="0" baseline="0" noProof="0">
              <a:ln>
                <a:noFill/>
              </a:ln>
              <a:solidFill>
                <a:srgbClr val="2A2234"/>
              </a:solidFill>
              <a:effectLst/>
              <a:uLnTx/>
              <a:uFillTx/>
              <a:latin typeface="Proximus Bold"/>
              <a:ea typeface="+mn-ea"/>
              <a:cs typeface="+mn-cs"/>
            </a:endParaRPr>
          </a:p>
        </p:txBody>
      </p:sp>
      <p:sp>
        <p:nvSpPr>
          <p:cNvPr id="3" name="Text Placeholder 4">
            <a:extLst>
              <a:ext uri="{FF2B5EF4-FFF2-40B4-BE49-F238E27FC236}">
                <a16:creationId xmlns:a16="http://schemas.microsoft.com/office/drawing/2014/main" id="{5EFC1DAF-14B0-0946-A9E9-E528A24582C3}"/>
              </a:ext>
            </a:extLst>
          </p:cNvPr>
          <p:cNvSpPr txBox="1">
            <a:spLocks/>
          </p:cNvSpPr>
          <p:nvPr/>
        </p:nvSpPr>
        <p:spPr>
          <a:xfrm>
            <a:off x="474058" y="1205635"/>
            <a:ext cx="1882800" cy="2736973"/>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3200" b="1" i="0" u="none" strike="noStrike" kern="1200" cap="none" spc="0" normalizeH="0" baseline="0" noProof="0">
                <a:ln>
                  <a:noFill/>
                </a:ln>
                <a:gradFill>
                  <a:gsLst>
                    <a:gs pos="0">
                      <a:srgbClr val="5C2D91"/>
                    </a:gs>
                    <a:gs pos="100000">
                      <a:srgbClr val="81C747"/>
                    </a:gs>
                  </a:gsLst>
                  <a:lin ang="3000000" scaled="0"/>
                </a:gradFill>
                <a:effectLst/>
                <a:uLnTx/>
                <a:uFillTx/>
                <a:latin typeface="Proximus ExtraBold" pitchFamily="2" charset="77"/>
                <a:ea typeface="+mn-ea"/>
                <a:cs typeface="+mn-cs"/>
              </a:rPr>
              <a:t>1</a:t>
            </a:r>
          </a:p>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Finalize the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Backbone Architecture </a:t>
            </a:r>
            <a:endPar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endParaRPr>
          </a:p>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Supplier selection of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NEURON</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 our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Next Generation Optical Backbone </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and start the technical field trial in 1H2026</a:t>
            </a:r>
          </a:p>
        </p:txBody>
      </p:sp>
      <p:sp>
        <p:nvSpPr>
          <p:cNvPr id="6" name="Text Placeholder 4">
            <a:extLst>
              <a:ext uri="{FF2B5EF4-FFF2-40B4-BE49-F238E27FC236}">
                <a16:creationId xmlns:a16="http://schemas.microsoft.com/office/drawing/2014/main" id="{E76F8FF5-BD94-4FB4-2FD1-26DC1D5B837F}"/>
              </a:ext>
            </a:extLst>
          </p:cNvPr>
          <p:cNvSpPr txBox="1">
            <a:spLocks/>
          </p:cNvSpPr>
          <p:nvPr/>
        </p:nvSpPr>
        <p:spPr>
          <a:xfrm>
            <a:off x="4689886" y="1198218"/>
            <a:ext cx="1882800" cy="3367529"/>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3200" b="1" i="0" u="none" strike="noStrike" kern="1200" cap="none" spc="0" normalizeH="0" baseline="0" noProof="0">
                <a:ln>
                  <a:noFill/>
                </a:ln>
                <a:gradFill>
                  <a:gsLst>
                    <a:gs pos="0">
                      <a:srgbClr val="5C2D91"/>
                    </a:gs>
                    <a:gs pos="100000">
                      <a:srgbClr val="81C747"/>
                    </a:gs>
                  </a:gsLst>
                  <a:lin ang="3000000" scaled="0"/>
                </a:gradFill>
                <a:effectLst/>
                <a:uLnTx/>
                <a:uFillTx/>
                <a:latin typeface="Proximus ExtraBold" pitchFamily="2" charset="77"/>
                <a:ea typeface="+mn-ea"/>
                <a:cs typeface="+mn-cs"/>
              </a:rPr>
              <a:t>3</a:t>
            </a:r>
          </a:p>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Implement a first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Fiber Ultra Speed </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service on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25G PON OLT</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 live and semi-automated. </a:t>
            </a:r>
          </a:p>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Implement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OSS Altiplano </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live and deliver the pre-study for the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IT OSS</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 development stack in 2026</a:t>
            </a:r>
          </a:p>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endPar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endParaRPr>
          </a:p>
        </p:txBody>
      </p:sp>
      <p:sp>
        <p:nvSpPr>
          <p:cNvPr id="7" name="Text Placeholder 4">
            <a:extLst>
              <a:ext uri="{FF2B5EF4-FFF2-40B4-BE49-F238E27FC236}">
                <a16:creationId xmlns:a16="http://schemas.microsoft.com/office/drawing/2014/main" id="{398C7588-5789-8FF3-D32B-FD89D1C76E83}"/>
              </a:ext>
            </a:extLst>
          </p:cNvPr>
          <p:cNvSpPr txBox="1">
            <a:spLocks/>
          </p:cNvSpPr>
          <p:nvPr/>
        </p:nvSpPr>
        <p:spPr>
          <a:xfrm>
            <a:off x="2581972" y="1198218"/>
            <a:ext cx="1882800" cy="1736894"/>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3200" b="1" i="0" u="none" strike="noStrike" kern="1200" cap="none" spc="0" normalizeH="0" baseline="0" noProof="0">
                <a:ln>
                  <a:noFill/>
                </a:ln>
                <a:gradFill>
                  <a:gsLst>
                    <a:gs pos="0">
                      <a:srgbClr val="5C2D91"/>
                    </a:gs>
                    <a:gs pos="100000">
                      <a:srgbClr val="81C747"/>
                    </a:gs>
                  </a:gsLst>
                  <a:lin ang="3000000" scaled="0"/>
                </a:gradFill>
                <a:effectLst/>
                <a:uLnTx/>
                <a:uFillTx/>
                <a:latin typeface="Proximus ExtraBold" pitchFamily="2" charset="77"/>
                <a:ea typeface="+mn-ea"/>
                <a:cs typeface="+mn-cs"/>
              </a:rPr>
              <a:t>2</a:t>
            </a:r>
          </a:p>
          <a:p>
            <a:pPr marL="0" marR="0" lvl="0" indent="0" algn="l" defTabSz="914241" rtl="0" eaLnBrk="1" fontAlgn="auto" latinLnBrk="0" hangingPunct="1">
              <a:lnSpc>
                <a:spcPct val="110000"/>
              </a:lnSpc>
              <a:spcBef>
                <a:spcPts val="0"/>
              </a:spcBef>
              <a:spcAft>
                <a:spcPts val="1200"/>
              </a:spcAft>
              <a:buClr>
                <a:srgbClr val="5C2D91"/>
              </a:buClr>
              <a:buSzPct val="100000"/>
              <a:buFont typeface="Arial" panose="020B0604020202020204" pitchFamily="34" charset="0"/>
              <a:buNone/>
              <a:tabLst/>
              <a:defRPr/>
            </a:pP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Strengthen the </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DRS </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disaster recovery plans &amp;</a:t>
            </a:r>
            <a:r>
              <a:rPr kumimoji="0" lang="en-US" sz="1100" b="1" i="0" u="none" strike="noStrike" kern="1200" cap="none" spc="0" normalizeH="0" baseline="0" noProof="0">
                <a:ln>
                  <a:noFill/>
                </a:ln>
                <a:solidFill>
                  <a:srgbClr val="141C24"/>
                </a:solidFill>
                <a:effectLst/>
                <a:uLnTx/>
                <a:uFillTx/>
                <a:latin typeface="Proximus ExtraBold" pitchFamily="2" charset="77"/>
                <a:ea typeface="+mn-ea"/>
                <a:cs typeface="+mn-cs"/>
              </a:rPr>
              <a:t> resilience</a:t>
            </a:r>
            <a:r>
              <a:rPr kumimoji="0" lang="en-US" sz="1100" b="0" i="0" u="none" strike="noStrike" kern="1200" cap="none" spc="0" normalizeH="0" baseline="0" noProof="0">
                <a:ln>
                  <a:noFill/>
                </a:ln>
                <a:solidFill>
                  <a:srgbClr val="141C24"/>
                </a:solidFill>
                <a:effectLst/>
                <a:uLnTx/>
                <a:uFillTx/>
                <a:latin typeface="Proximus Light" pitchFamily="2" charset="77"/>
                <a:ea typeface="+mn-ea"/>
                <a:cs typeface="+mn-cs"/>
              </a:rPr>
              <a:t> programs</a:t>
            </a:r>
          </a:p>
        </p:txBody>
      </p:sp>
      <p:pic>
        <p:nvPicPr>
          <p:cNvPr id="10" name="Graphic 9">
            <a:extLst>
              <a:ext uri="{FF2B5EF4-FFF2-40B4-BE49-F238E27FC236}">
                <a16:creationId xmlns:a16="http://schemas.microsoft.com/office/drawing/2014/main" id="{E263B226-94D8-33F0-18AD-94B1C0AC1A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6182" y="517372"/>
            <a:ext cx="381000" cy="381000"/>
          </a:xfrm>
          <a:prstGeom prst="rect">
            <a:avLst/>
          </a:prstGeom>
        </p:spPr>
      </p:pic>
      <p:sp>
        <p:nvSpPr>
          <p:cNvPr id="5" name="Rounded Rectangle 4">
            <a:extLst>
              <a:ext uri="{FF2B5EF4-FFF2-40B4-BE49-F238E27FC236}">
                <a16:creationId xmlns:a16="http://schemas.microsoft.com/office/drawing/2014/main" id="{A0349D72-3442-0F2B-5DE0-615C9253FC38}"/>
              </a:ext>
            </a:extLst>
          </p:cNvPr>
          <p:cNvSpPr/>
          <p:nvPr/>
        </p:nvSpPr>
        <p:spPr>
          <a:xfrm>
            <a:off x="460375" y="4135835"/>
            <a:ext cx="1884240" cy="2015329"/>
          </a:xfrm>
          <a:prstGeom prst="roundRect">
            <a:avLst>
              <a:gd name="adj" fmla="val 10110"/>
            </a:avLst>
          </a:prstGeom>
          <a:blipFill>
            <a:blip r:embed="rId6"/>
            <a:srcRect/>
            <a:stretch>
              <a:fillRect l="-8290" t="-19095" r="-7160" b="4759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121838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9" name="Rounded Rectangle 8">
            <a:extLst>
              <a:ext uri="{FF2B5EF4-FFF2-40B4-BE49-F238E27FC236}">
                <a16:creationId xmlns:a16="http://schemas.microsoft.com/office/drawing/2014/main" id="{4C87E731-1B4A-04D0-E017-9BA1CB982BBE}"/>
              </a:ext>
            </a:extLst>
          </p:cNvPr>
          <p:cNvSpPr/>
          <p:nvPr/>
        </p:nvSpPr>
        <p:spPr>
          <a:xfrm>
            <a:off x="2580532" y="3154021"/>
            <a:ext cx="1884240" cy="2332379"/>
          </a:xfrm>
          <a:prstGeom prst="roundRect">
            <a:avLst>
              <a:gd name="adj" fmla="val 10110"/>
            </a:avLst>
          </a:prstGeom>
          <a:blipFill>
            <a:blip r:embed="rId7"/>
            <a:srcRect/>
            <a:stretch>
              <a:fillRect l="-11892" r="-11892"/>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121838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15" name="Rectangle: Rounded Corners 14">
            <a:extLst>
              <a:ext uri="{FF2B5EF4-FFF2-40B4-BE49-F238E27FC236}">
                <a16:creationId xmlns:a16="http://schemas.microsoft.com/office/drawing/2014/main" id="{5966E373-E79A-7799-D043-88A569B38447}"/>
              </a:ext>
            </a:extLst>
          </p:cNvPr>
          <p:cNvSpPr/>
          <p:nvPr/>
        </p:nvSpPr>
        <p:spPr>
          <a:xfrm>
            <a:off x="7005445" y="2168199"/>
            <a:ext cx="926469" cy="807101"/>
          </a:xfrm>
          <a:prstGeom prst="roundRect">
            <a:avLst>
              <a:gd name="adj" fmla="val 20562"/>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t" anchorCtr="0"/>
          <a:lstStyle/>
          <a:p>
            <a:pPr marL="0" marR="0" lvl="0" indent="0" algn="l" defTabSz="12184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Proximus Bold" panose="00000500000000000000" pitchFamily="2" charset="0"/>
                <a:ea typeface="+mn-ea"/>
                <a:cs typeface="Proximus Bold"/>
              </a:rPr>
              <a:t>Speed, fiber</a:t>
            </a:r>
            <a:endParaRPr kumimoji="0" lang="en-BE" sz="1400" b="0" i="0" u="none" strike="noStrike" kern="1200" cap="none" spc="0" normalizeH="0" baseline="0" noProof="0" dirty="0">
              <a:ln>
                <a:noFill/>
              </a:ln>
              <a:solidFill>
                <a:srgbClr val="000000">
                  <a:lumMod val="50000"/>
                  <a:lumOff val="50000"/>
                </a:srgbClr>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1104926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4A0FA-AB3B-E0D3-9B13-511C53C65DED}"/>
            </a:ext>
          </a:extLst>
        </p:cNvPr>
        <p:cNvGrpSpPr/>
        <p:nvPr/>
      </p:nvGrpSpPr>
      <p:grpSpPr>
        <a:xfrm>
          <a:off x="0" y="0"/>
          <a:ext cx="0" cy="0"/>
          <a:chOff x="0" y="0"/>
          <a:chExt cx="0" cy="0"/>
        </a:xfrm>
      </p:grpSpPr>
      <p:sp>
        <p:nvSpPr>
          <p:cNvPr id="32" name="Text Placeholder 4">
            <a:extLst>
              <a:ext uri="{FF2B5EF4-FFF2-40B4-BE49-F238E27FC236}">
                <a16:creationId xmlns:a16="http://schemas.microsoft.com/office/drawing/2014/main" id="{D2119BEC-F525-86CD-1996-EF214164F662}"/>
              </a:ext>
            </a:extLst>
          </p:cNvPr>
          <p:cNvSpPr txBox="1">
            <a:spLocks/>
          </p:cNvSpPr>
          <p:nvPr/>
        </p:nvSpPr>
        <p:spPr>
          <a:xfrm>
            <a:off x="460375" y="3718172"/>
            <a:ext cx="8221666" cy="711135"/>
          </a:xfrm>
          <a:prstGeom prst="roundRect">
            <a:avLst>
              <a:gd name="adj" fmla="val 2317"/>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450"/>
              </a:spcBef>
              <a:spcAft>
                <a:spcPts val="0"/>
              </a:spcAft>
              <a:buClr>
                <a:srgbClr val="5C2D91"/>
              </a:buClr>
              <a:buNone/>
              <a:defRPr/>
            </a:pPr>
            <a:endParaRPr lang="en-GB" sz="1100">
              <a:solidFill>
                <a:srgbClr val="242424"/>
              </a:solidFill>
              <a:latin typeface="Proximus Light" pitchFamily="2" charset="77"/>
              <a:ea typeface="Times New Roman" panose="02020603050405020304" pitchFamily="18" charset="0"/>
            </a:endParaRPr>
          </a:p>
        </p:txBody>
      </p:sp>
      <p:sp>
        <p:nvSpPr>
          <p:cNvPr id="2" name="Title 1">
            <a:extLst>
              <a:ext uri="{FF2B5EF4-FFF2-40B4-BE49-F238E27FC236}">
                <a16:creationId xmlns:a16="http://schemas.microsoft.com/office/drawing/2014/main" id="{BBA6F449-15EA-B95F-7468-425566319497}"/>
              </a:ext>
            </a:extLst>
          </p:cNvPr>
          <p:cNvSpPr>
            <a:spLocks noGrp="1"/>
          </p:cNvSpPr>
          <p:nvPr>
            <p:ph type="title"/>
          </p:nvPr>
        </p:nvSpPr>
        <p:spPr>
          <a:xfrm>
            <a:off x="1226990" y="377827"/>
            <a:ext cx="7455051" cy="660092"/>
          </a:xfrm>
        </p:spPr>
        <p:txBody>
          <a:bodyPr anchor="ctr"/>
          <a:lstStyle/>
          <a:p>
            <a:r>
              <a:rPr lang="en-GB">
                <a:solidFill>
                  <a:srgbClr val="2A2234"/>
                </a:solidFill>
              </a:rPr>
              <a:t>Platforms</a:t>
            </a:r>
          </a:p>
        </p:txBody>
      </p:sp>
      <p:sp>
        <p:nvSpPr>
          <p:cNvPr id="39" name="!!OVAL_network">
            <a:extLst>
              <a:ext uri="{FF2B5EF4-FFF2-40B4-BE49-F238E27FC236}">
                <a16:creationId xmlns:a16="http://schemas.microsoft.com/office/drawing/2014/main" id="{4A56C11B-E330-BF1A-A937-C66D386B3179}"/>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pic>
        <p:nvPicPr>
          <p:cNvPr id="11" name="Graphic 10">
            <a:extLst>
              <a:ext uri="{FF2B5EF4-FFF2-40B4-BE49-F238E27FC236}">
                <a16:creationId xmlns:a16="http://schemas.microsoft.com/office/drawing/2014/main" id="{F1F98CA8-A713-568E-D9CE-98E8C351B5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825" y="599923"/>
            <a:ext cx="419100" cy="215900"/>
          </a:xfrm>
          <a:prstGeom prst="rect">
            <a:avLst/>
          </a:prstGeom>
        </p:spPr>
      </p:pic>
      <p:sp>
        <p:nvSpPr>
          <p:cNvPr id="9" name="TextBox 10">
            <a:extLst>
              <a:ext uri="{FF2B5EF4-FFF2-40B4-BE49-F238E27FC236}">
                <a16:creationId xmlns:a16="http://schemas.microsoft.com/office/drawing/2014/main" id="{54B9B8E8-2EBA-5B66-D8D1-9E2E25BBC208}"/>
              </a:ext>
            </a:extLst>
          </p:cNvPr>
          <p:cNvSpPr txBox="1"/>
          <p:nvPr/>
        </p:nvSpPr>
        <p:spPr>
          <a:xfrm>
            <a:off x="3906987" y="2170565"/>
            <a:ext cx="1330025" cy="271236"/>
          </a:xfrm>
          <a:prstGeom prst="roundRect">
            <a:avLst>
              <a:gd name="adj" fmla="val 14323"/>
            </a:avLst>
          </a:prstGeom>
          <a:no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pPr algn="ctr" defTabSz="685800"/>
            <a:r>
              <a:rPr lang="en-US" sz="1050" b="0">
                <a:solidFill>
                  <a:schemeClr val="accent6"/>
                </a:solidFill>
                <a:latin typeface="Proximus Light" pitchFamily="2" charset="77"/>
              </a:rPr>
              <a:t>Cloud everywhere</a:t>
            </a:r>
          </a:p>
        </p:txBody>
      </p:sp>
      <p:pic>
        <p:nvPicPr>
          <p:cNvPr id="10" name="Graphic 9">
            <a:extLst>
              <a:ext uri="{FF2B5EF4-FFF2-40B4-BE49-F238E27FC236}">
                <a16:creationId xmlns:a16="http://schemas.microsoft.com/office/drawing/2014/main" id="{AB22B5E2-35D0-0248-7AF3-A18CBC3F32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8120386" y="2198442"/>
            <a:ext cx="126784" cy="205744"/>
          </a:xfrm>
          <a:prstGeom prst="rect">
            <a:avLst/>
          </a:prstGeom>
        </p:spPr>
      </p:pic>
      <p:cxnSp>
        <p:nvCxnSpPr>
          <p:cNvPr id="13" name="Rechte verbindingslijn 12">
            <a:extLst>
              <a:ext uri="{FF2B5EF4-FFF2-40B4-BE49-F238E27FC236}">
                <a16:creationId xmlns:a16="http://schemas.microsoft.com/office/drawing/2014/main" id="{53F6AEDB-2059-72E5-785D-9F6F7D16B059}"/>
              </a:ext>
            </a:extLst>
          </p:cNvPr>
          <p:cNvCxnSpPr>
            <a:cxnSpLocks/>
            <a:stCxn id="9" idx="3"/>
          </p:cNvCxnSpPr>
          <p:nvPr/>
        </p:nvCxnSpPr>
        <p:spPr>
          <a:xfrm>
            <a:off x="5237012" y="2306183"/>
            <a:ext cx="2375731" cy="0"/>
          </a:xfrm>
          <a:prstGeom prst="line">
            <a:avLst/>
          </a:prstGeom>
          <a:ln w="2222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19204F32-5C00-6F6A-8DDA-DD5150E746C7}"/>
              </a:ext>
            </a:extLst>
          </p:cNvPr>
          <p:cNvCxnSpPr>
            <a:cxnSpLocks/>
          </p:cNvCxnSpPr>
          <p:nvPr/>
        </p:nvCxnSpPr>
        <p:spPr>
          <a:xfrm>
            <a:off x="1543126" y="2306183"/>
            <a:ext cx="2375731" cy="0"/>
          </a:xfrm>
          <a:prstGeom prst="line">
            <a:avLst/>
          </a:prstGeom>
          <a:ln w="2222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6" name="TextBox 10">
            <a:extLst>
              <a:ext uri="{FF2B5EF4-FFF2-40B4-BE49-F238E27FC236}">
                <a16:creationId xmlns:a16="http://schemas.microsoft.com/office/drawing/2014/main" id="{B310B407-AF12-379E-4CA7-538DE5DE32B5}"/>
              </a:ext>
            </a:extLst>
          </p:cNvPr>
          <p:cNvSpPr txBox="1"/>
          <p:nvPr/>
        </p:nvSpPr>
        <p:spPr>
          <a:xfrm>
            <a:off x="896830" y="2148762"/>
            <a:ext cx="791029" cy="271236"/>
          </a:xfrm>
          <a:prstGeom prst="roundRect">
            <a:avLst>
              <a:gd name="adj" fmla="val 24083"/>
            </a:avLst>
          </a:prstGeom>
          <a:no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pPr algn="ctr" defTabSz="685800"/>
            <a:r>
              <a:rPr lang="en-US" sz="1050" b="0" dirty="0">
                <a:solidFill>
                  <a:schemeClr val="accent6"/>
                </a:solidFill>
                <a:latin typeface="Proximus Light" pitchFamily="2" charset="77"/>
              </a:rPr>
              <a:t>Today</a:t>
            </a:r>
          </a:p>
        </p:txBody>
      </p:sp>
      <p:sp>
        <p:nvSpPr>
          <p:cNvPr id="17" name="TextBox 10">
            <a:extLst>
              <a:ext uri="{FF2B5EF4-FFF2-40B4-BE49-F238E27FC236}">
                <a16:creationId xmlns:a16="http://schemas.microsoft.com/office/drawing/2014/main" id="{F6B1F038-D9E7-1DD1-C469-1468F6F2DB80}"/>
              </a:ext>
            </a:extLst>
          </p:cNvPr>
          <p:cNvSpPr txBox="1"/>
          <p:nvPr/>
        </p:nvSpPr>
        <p:spPr>
          <a:xfrm>
            <a:off x="7464608" y="2147975"/>
            <a:ext cx="791029" cy="271236"/>
          </a:xfrm>
          <a:prstGeom prst="roundRect">
            <a:avLst>
              <a:gd name="adj" fmla="val 24083"/>
            </a:avLst>
          </a:prstGeom>
          <a:no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pPr algn="ctr" defTabSz="685800"/>
            <a:r>
              <a:rPr lang="en-US" sz="1050" b="0">
                <a:solidFill>
                  <a:schemeClr val="accent6"/>
                </a:solidFill>
                <a:latin typeface="Proximus Light" pitchFamily="2" charset="77"/>
              </a:rPr>
              <a:t>Future</a:t>
            </a:r>
          </a:p>
        </p:txBody>
      </p:sp>
      <p:sp>
        <p:nvSpPr>
          <p:cNvPr id="18" name="TextBox 12">
            <a:extLst>
              <a:ext uri="{FF2B5EF4-FFF2-40B4-BE49-F238E27FC236}">
                <a16:creationId xmlns:a16="http://schemas.microsoft.com/office/drawing/2014/main" id="{08B13E72-DF4D-D141-62F0-045D7D8479BC}"/>
              </a:ext>
            </a:extLst>
          </p:cNvPr>
          <p:cNvSpPr txBox="1"/>
          <p:nvPr/>
        </p:nvSpPr>
        <p:spPr>
          <a:xfrm>
            <a:off x="2278884" y="3024274"/>
            <a:ext cx="1127882" cy="307777"/>
          </a:xfrm>
          <a:prstGeom prst="rect">
            <a:avLst/>
          </a:prstGeom>
          <a:noFill/>
        </p:spPr>
        <p:txBody>
          <a:bodyPr wrap="square" lIns="0" tIns="0" rIns="0" bIns="0">
            <a:spAutoFit/>
          </a:bodyPr>
          <a:lstStyle/>
          <a:p>
            <a:pPr algn="ctr" defTabSz="685800"/>
            <a:r>
              <a:rPr lang="en-US" sz="1000">
                <a:solidFill>
                  <a:schemeClr val="accent6"/>
                </a:solidFill>
                <a:latin typeface="Proximus Light" pitchFamily="2" charset="77"/>
              </a:rPr>
              <a:t>Virtual machine </a:t>
            </a:r>
          </a:p>
          <a:p>
            <a:pPr algn="ctr" defTabSz="685800"/>
            <a:r>
              <a:rPr lang="en-US" sz="1000">
                <a:solidFill>
                  <a:schemeClr val="accent6"/>
                </a:solidFill>
                <a:latin typeface="Proximus Light" pitchFamily="2" charset="77"/>
              </a:rPr>
              <a:t>on private cloud</a:t>
            </a:r>
            <a:endParaRPr lang="en-BE" sz="1000">
              <a:solidFill>
                <a:schemeClr val="accent6"/>
              </a:solidFill>
              <a:latin typeface="Proximus"/>
            </a:endParaRPr>
          </a:p>
        </p:txBody>
      </p:sp>
      <p:sp>
        <p:nvSpPr>
          <p:cNvPr id="19" name="TextBox 1">
            <a:extLst>
              <a:ext uri="{FF2B5EF4-FFF2-40B4-BE49-F238E27FC236}">
                <a16:creationId xmlns:a16="http://schemas.microsoft.com/office/drawing/2014/main" id="{A115A3A7-84C1-F354-79F9-6C151C65231A}"/>
              </a:ext>
            </a:extLst>
          </p:cNvPr>
          <p:cNvSpPr txBox="1"/>
          <p:nvPr/>
        </p:nvSpPr>
        <p:spPr>
          <a:xfrm>
            <a:off x="4264520" y="2924276"/>
            <a:ext cx="2272182" cy="507831"/>
          </a:xfrm>
          <a:prstGeom prst="rect">
            <a:avLst/>
          </a:prstGeom>
          <a:noFill/>
        </p:spPr>
        <p:txBody>
          <a:bodyPr wrap="square">
            <a:spAutoFit/>
          </a:bodyPr>
          <a:lstStyle/>
          <a:p>
            <a:pPr algn="ctr" defTabSz="685800"/>
            <a:r>
              <a:rPr lang="en-US" sz="1350">
                <a:solidFill>
                  <a:schemeClr val="accent6"/>
                </a:solidFill>
                <a:latin typeface="Proximus Light" pitchFamily="2" charset="77"/>
              </a:rPr>
              <a:t>Cloud-native</a:t>
            </a:r>
          </a:p>
          <a:p>
            <a:pPr algn="ctr" defTabSz="685800"/>
            <a:r>
              <a:rPr lang="en-US" sz="1350">
                <a:solidFill>
                  <a:schemeClr val="accent6"/>
                </a:solidFill>
                <a:latin typeface="Proximus Light" pitchFamily="2" charset="77"/>
              </a:rPr>
              <a:t>on public &amp; </a:t>
            </a:r>
            <a:r>
              <a:rPr lang="en-US" sz="1000">
                <a:solidFill>
                  <a:schemeClr val="accent6"/>
                </a:solidFill>
                <a:latin typeface="Proximus Light" pitchFamily="2" charset="77"/>
              </a:rPr>
              <a:t>private</a:t>
            </a:r>
            <a:r>
              <a:rPr lang="en-US" sz="1350">
                <a:solidFill>
                  <a:schemeClr val="accent6"/>
                </a:solidFill>
                <a:latin typeface="Proximus Light" pitchFamily="2" charset="77"/>
              </a:rPr>
              <a:t> cloud</a:t>
            </a:r>
            <a:endParaRPr lang="en-BE" sz="1350">
              <a:solidFill>
                <a:schemeClr val="accent6"/>
              </a:solidFill>
              <a:latin typeface="Proximus"/>
            </a:endParaRPr>
          </a:p>
        </p:txBody>
      </p:sp>
      <p:pic>
        <p:nvPicPr>
          <p:cNvPr id="21" name="Picture 2" descr="Icon - windows server">
            <a:extLst>
              <a:ext uri="{FF2B5EF4-FFF2-40B4-BE49-F238E27FC236}">
                <a16:creationId xmlns:a16="http://schemas.microsoft.com/office/drawing/2014/main" id="{7A984752-CAD8-24E1-FD61-91080587C1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69977" y="1657485"/>
            <a:ext cx="545696" cy="54569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Icon - Internet box">
            <a:extLst>
              <a:ext uri="{FF2B5EF4-FFF2-40B4-BE49-F238E27FC236}">
                <a16:creationId xmlns:a16="http://schemas.microsoft.com/office/drawing/2014/main" id="{C4A9C367-AEDF-CF5E-E429-A92BD574EC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9592" y="2318597"/>
            <a:ext cx="484748" cy="48474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Icon - Internet box">
            <a:extLst>
              <a:ext uri="{FF2B5EF4-FFF2-40B4-BE49-F238E27FC236}">
                <a16:creationId xmlns:a16="http://schemas.microsoft.com/office/drawing/2014/main" id="{EB0FC681-3F80-86B6-834E-05183DB5B5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63867" y="1536723"/>
            <a:ext cx="495069" cy="49506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
            <a:extLst>
              <a:ext uri="{FF2B5EF4-FFF2-40B4-BE49-F238E27FC236}">
                <a16:creationId xmlns:a16="http://schemas.microsoft.com/office/drawing/2014/main" id="{E89296CD-BA11-9149-09F3-865A4CBFC78E}"/>
              </a:ext>
            </a:extLst>
          </p:cNvPr>
          <p:cNvSpPr txBox="1"/>
          <p:nvPr/>
        </p:nvSpPr>
        <p:spPr>
          <a:xfrm>
            <a:off x="5363780" y="2010790"/>
            <a:ext cx="505590" cy="230832"/>
          </a:xfrm>
          <a:prstGeom prst="rect">
            <a:avLst/>
          </a:prstGeom>
          <a:noFill/>
        </p:spPr>
        <p:txBody>
          <a:bodyPr wrap="square">
            <a:spAutoFit/>
          </a:bodyPr>
          <a:lstStyle/>
          <a:p>
            <a:pPr defTabSz="685800"/>
            <a:r>
              <a:rPr lang="en-US" sz="900" err="1">
                <a:solidFill>
                  <a:schemeClr val="accent6"/>
                </a:solidFill>
                <a:latin typeface="Proximus Light" pitchFamily="2" charset="77"/>
              </a:rPr>
              <a:t>uCPE</a:t>
            </a:r>
            <a:endParaRPr lang="en-BE" sz="900">
              <a:solidFill>
                <a:schemeClr val="accent6"/>
              </a:solidFill>
              <a:latin typeface="Proximus Light" pitchFamily="2" charset="77"/>
            </a:endParaRPr>
          </a:p>
        </p:txBody>
      </p:sp>
      <p:sp>
        <p:nvSpPr>
          <p:cNvPr id="26" name="TextBox 3">
            <a:extLst>
              <a:ext uri="{FF2B5EF4-FFF2-40B4-BE49-F238E27FC236}">
                <a16:creationId xmlns:a16="http://schemas.microsoft.com/office/drawing/2014/main" id="{60E1AB2E-87BF-87A5-D72C-B0979CE25E5E}"/>
              </a:ext>
            </a:extLst>
          </p:cNvPr>
          <p:cNvSpPr txBox="1"/>
          <p:nvPr/>
        </p:nvSpPr>
        <p:spPr>
          <a:xfrm>
            <a:off x="1663089" y="2770730"/>
            <a:ext cx="441252" cy="230832"/>
          </a:xfrm>
          <a:prstGeom prst="rect">
            <a:avLst/>
          </a:prstGeom>
          <a:noFill/>
        </p:spPr>
        <p:txBody>
          <a:bodyPr wrap="square">
            <a:spAutoFit/>
          </a:bodyPr>
          <a:lstStyle/>
          <a:p>
            <a:pPr defTabSz="685800"/>
            <a:r>
              <a:rPr lang="en-US" sz="900">
                <a:solidFill>
                  <a:schemeClr val="accent6"/>
                </a:solidFill>
                <a:latin typeface="Proximus Light" pitchFamily="2" charset="77"/>
              </a:rPr>
              <a:t>CPE</a:t>
            </a:r>
            <a:endParaRPr lang="en-BE" sz="900">
              <a:solidFill>
                <a:schemeClr val="accent6"/>
              </a:solidFill>
              <a:latin typeface="Proximus Light" pitchFamily="2" charset="77"/>
            </a:endParaRPr>
          </a:p>
        </p:txBody>
      </p:sp>
      <p:pic>
        <p:nvPicPr>
          <p:cNvPr id="27" name="Picture 2">
            <a:extLst>
              <a:ext uri="{FF2B5EF4-FFF2-40B4-BE49-F238E27FC236}">
                <a16:creationId xmlns:a16="http://schemas.microsoft.com/office/drawing/2014/main" id="{E3A83BC0-EE64-AF5A-B82F-5B340A90B4E2}"/>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2434652" y="2419998"/>
            <a:ext cx="526878" cy="54569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B4EACD0E-F4E5-E67D-7840-6691D472480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5152070" y="2419998"/>
            <a:ext cx="526878" cy="54569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Icon - expanded International">
            <a:extLst>
              <a:ext uri="{FF2B5EF4-FFF2-40B4-BE49-F238E27FC236}">
                <a16:creationId xmlns:a16="http://schemas.microsoft.com/office/drawing/2014/main" id="{6DAC34A9-FAC0-6352-FA3A-7336576178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12634" y="2538963"/>
            <a:ext cx="441862" cy="441862"/>
          </a:xfrm>
          <a:prstGeom prst="rect">
            <a:avLst/>
          </a:prstGeom>
          <a:noFill/>
          <a:extLst>
            <a:ext uri="{909E8E84-426E-40DD-AFC4-6F175D3DCCD1}">
              <a14:hiddenFill xmlns:a14="http://schemas.microsoft.com/office/drawing/2010/main">
                <a:solidFill>
                  <a:srgbClr val="FFFFFF"/>
                </a:solidFill>
              </a14:hiddenFill>
            </a:ext>
          </a:extLst>
        </p:spPr>
      </p:pic>
      <p:sp>
        <p:nvSpPr>
          <p:cNvPr id="31" name="Tekstvak 30">
            <a:extLst>
              <a:ext uri="{FF2B5EF4-FFF2-40B4-BE49-F238E27FC236}">
                <a16:creationId xmlns:a16="http://schemas.microsoft.com/office/drawing/2014/main" id="{E6D95E95-5D83-9FEF-9919-4B94AFC322A4}"/>
              </a:ext>
            </a:extLst>
          </p:cNvPr>
          <p:cNvSpPr txBox="1"/>
          <p:nvPr/>
        </p:nvSpPr>
        <p:spPr>
          <a:xfrm>
            <a:off x="1178975" y="3959061"/>
            <a:ext cx="6994028" cy="218038"/>
          </a:xfrm>
          <a:prstGeom prst="rect">
            <a:avLst/>
          </a:prstGeom>
          <a:noFill/>
        </p:spPr>
        <p:txBody>
          <a:bodyPr wrap="square" lIns="0" tIns="0" rIns="0" bIns="0" rtlCol="0">
            <a:noAutofit/>
          </a:bodyPr>
          <a:lstStyle/>
          <a:p>
            <a:pPr defTabSz="685800"/>
            <a:r>
              <a:rPr lang="en-GB" sz="1400" dirty="0">
                <a:solidFill>
                  <a:srgbClr val="242424"/>
                </a:solidFill>
                <a:latin typeface="Proximus Light" pitchFamily="2" charset="77"/>
                <a:ea typeface="Times New Roman" panose="02020603050405020304" pitchFamily="18" charset="0"/>
              </a:rPr>
              <a:t>Containerizing          Resilience          Network exposure          High risk vendors regulation</a:t>
            </a:r>
          </a:p>
          <a:p>
            <a:pPr algn="l" defTabSz="685800"/>
            <a:endParaRPr lang="nl-BE" sz="1400" dirty="0">
              <a:solidFill>
                <a:srgbClr val="01112B"/>
              </a:solidFill>
              <a:latin typeface="Proximus Light" pitchFamily="2" charset="77"/>
            </a:endParaRPr>
          </a:p>
        </p:txBody>
      </p:sp>
      <p:cxnSp>
        <p:nvCxnSpPr>
          <p:cNvPr id="34" name="Rechte verbindingslijn 33">
            <a:extLst>
              <a:ext uri="{FF2B5EF4-FFF2-40B4-BE49-F238E27FC236}">
                <a16:creationId xmlns:a16="http://schemas.microsoft.com/office/drawing/2014/main" id="{290FB9FC-A651-D83D-05CE-86C3ADAFCB25}"/>
              </a:ext>
            </a:extLst>
          </p:cNvPr>
          <p:cNvCxnSpPr/>
          <p:nvPr/>
        </p:nvCxnSpPr>
        <p:spPr>
          <a:xfrm>
            <a:off x="2515584" y="3927018"/>
            <a:ext cx="0" cy="290285"/>
          </a:xfrm>
          <a:prstGeom prst="line">
            <a:avLst/>
          </a:prstGeom>
          <a:ln w="19050"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24D3E9CD-F370-E128-98B5-4EA4E015D4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112328" y="1771564"/>
            <a:ext cx="399001" cy="399001"/>
          </a:xfrm>
          <a:prstGeom prst="rect">
            <a:avLst/>
          </a:prstGeom>
        </p:spPr>
      </p:pic>
      <p:pic>
        <p:nvPicPr>
          <p:cNvPr id="12" name="Graphic 11">
            <a:extLst>
              <a:ext uri="{FF2B5EF4-FFF2-40B4-BE49-F238E27FC236}">
                <a16:creationId xmlns:a16="http://schemas.microsoft.com/office/drawing/2014/main" id="{F9F9810B-3421-3EAF-632E-43B379C2CF39}"/>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3586461" y="1771564"/>
            <a:ext cx="399001" cy="399001"/>
          </a:xfrm>
          <a:prstGeom prst="rect">
            <a:avLst/>
          </a:prstGeom>
        </p:spPr>
      </p:pic>
      <p:pic>
        <p:nvPicPr>
          <p:cNvPr id="14" name="Graphic 13">
            <a:extLst>
              <a:ext uri="{FF2B5EF4-FFF2-40B4-BE49-F238E27FC236}">
                <a16:creationId xmlns:a16="http://schemas.microsoft.com/office/drawing/2014/main" id="{1B7C95DF-71BF-5748-64A2-FC5F4B3B3ED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48950" y="1771564"/>
            <a:ext cx="399001" cy="399001"/>
          </a:xfrm>
          <a:prstGeom prst="rect">
            <a:avLst/>
          </a:prstGeom>
        </p:spPr>
      </p:pic>
      <p:cxnSp>
        <p:nvCxnSpPr>
          <p:cNvPr id="20" name="Rechte verbindingslijn 19">
            <a:extLst>
              <a:ext uri="{FF2B5EF4-FFF2-40B4-BE49-F238E27FC236}">
                <a16:creationId xmlns:a16="http://schemas.microsoft.com/office/drawing/2014/main" id="{F87AE5A8-238E-0610-B602-A8B70C5AA655}"/>
              </a:ext>
            </a:extLst>
          </p:cNvPr>
          <p:cNvCxnSpPr/>
          <p:nvPr/>
        </p:nvCxnSpPr>
        <p:spPr>
          <a:xfrm>
            <a:off x="3701989" y="3927018"/>
            <a:ext cx="0" cy="290285"/>
          </a:xfrm>
          <a:prstGeom prst="line">
            <a:avLst/>
          </a:prstGeom>
          <a:ln w="19050"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B581184-6C80-212F-87B1-8CF63F66B00E}"/>
              </a:ext>
            </a:extLst>
          </p:cNvPr>
          <p:cNvCxnSpPr/>
          <p:nvPr/>
        </p:nvCxnSpPr>
        <p:spPr>
          <a:xfrm>
            <a:off x="5496065" y="3927018"/>
            <a:ext cx="0" cy="290285"/>
          </a:xfrm>
          <a:prstGeom prst="line">
            <a:avLst/>
          </a:prstGeom>
          <a:ln w="19050"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6" name="Picture 6" descr="Icon - cost centre managment">
            <a:extLst>
              <a:ext uri="{FF2B5EF4-FFF2-40B4-BE49-F238E27FC236}">
                <a16:creationId xmlns:a16="http://schemas.microsoft.com/office/drawing/2014/main" id="{58B17A60-01A6-DEEF-F9CB-CDB57A3BCC9D}"/>
              </a:ext>
            </a:extLst>
          </p:cNvPr>
          <p:cNvPicPr>
            <a:picLocks noChangeAspect="1" noChangeArrowheads="1"/>
          </p:cNvPicPr>
          <p:nvPr/>
        </p:nvPicPr>
        <p:blipFill>
          <a:blip r:embed="rId16">
            <a:alphaModFix/>
            <a:extLst>
              <a:ext uri="{28A0092B-C50C-407E-A947-70E740481C1C}">
                <a14:useLocalDpi xmlns:a14="http://schemas.microsoft.com/office/drawing/2010/main" val="0"/>
              </a:ext>
            </a:extLst>
          </a:blip>
          <a:srcRect/>
          <a:stretch>
            <a:fillRect/>
          </a:stretch>
        </p:blipFill>
        <p:spPr bwMode="auto">
          <a:xfrm>
            <a:off x="6033141" y="1708074"/>
            <a:ext cx="533801" cy="49506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ack and grey logo&#10;&#10;Description automatically generated">
            <a:extLst>
              <a:ext uri="{FF2B5EF4-FFF2-40B4-BE49-F238E27FC236}">
                <a16:creationId xmlns:a16="http://schemas.microsoft.com/office/drawing/2014/main" id="{0A6718D1-3576-3C6D-D991-B43684C9108F}"/>
              </a:ext>
            </a:extLst>
          </p:cNvPr>
          <p:cNvPicPr>
            <a:picLocks noChangeAspect="1"/>
          </p:cNvPicPr>
          <p:nvPr/>
        </p:nvPicPr>
        <p:blipFill>
          <a:blip r:embed="rId17"/>
          <a:stretch>
            <a:fillRect/>
          </a:stretch>
        </p:blipFill>
        <p:spPr>
          <a:xfrm>
            <a:off x="5887601" y="1448096"/>
            <a:ext cx="824881" cy="152517"/>
          </a:xfrm>
          <a:prstGeom prst="rect">
            <a:avLst/>
          </a:prstGeom>
        </p:spPr>
      </p:pic>
    </p:spTree>
    <p:extLst>
      <p:ext uri="{BB962C8B-B14F-4D97-AF65-F5344CB8AC3E}">
        <p14:creationId xmlns:p14="http://schemas.microsoft.com/office/powerpoint/2010/main" val="12873579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5850A-CB0C-57AE-8884-38251E6AF343}"/>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1473C962-3943-1260-51C8-D8E46B8C9142}"/>
              </a:ext>
            </a:extLst>
          </p:cNvPr>
          <p:cNvSpPr/>
          <p:nvPr/>
        </p:nvSpPr>
        <p:spPr>
          <a:xfrm>
            <a:off x="460375" y="450850"/>
            <a:ext cx="8221665" cy="4244975"/>
          </a:xfrm>
          <a:prstGeom prst="roundRect">
            <a:avLst>
              <a:gd name="adj" fmla="val 2317"/>
            </a:avLst>
          </a:prstGeom>
          <a:gradFill flip="none" rotWithShape="1">
            <a:gsLst>
              <a:gs pos="0">
                <a:schemeClr val="bg1"/>
              </a:gs>
              <a:gs pos="99000">
                <a:schemeClr val="accent4"/>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2" name="Title 1">
            <a:extLst>
              <a:ext uri="{FF2B5EF4-FFF2-40B4-BE49-F238E27FC236}">
                <a16:creationId xmlns:a16="http://schemas.microsoft.com/office/drawing/2014/main" id="{9211A7D1-A60E-DB10-61DA-7B507E7C577B}"/>
              </a:ext>
            </a:extLst>
          </p:cNvPr>
          <p:cNvSpPr>
            <a:spLocks noGrp="1"/>
          </p:cNvSpPr>
          <p:nvPr>
            <p:ph type="title"/>
          </p:nvPr>
        </p:nvSpPr>
        <p:spPr>
          <a:xfrm>
            <a:off x="3878398" y="1316482"/>
            <a:ext cx="4385069" cy="338088"/>
          </a:xfrm>
        </p:spPr>
        <p:txBody>
          <a:bodyPr/>
          <a:lstStyle/>
          <a:p>
            <a:r>
              <a:rPr lang="en-US" dirty="0">
                <a:solidFill>
                  <a:schemeClr val="tx1"/>
                </a:solidFill>
              </a:rPr>
              <a:t>What does CNF stand for?</a:t>
            </a:r>
            <a:endParaRPr lang="en-BE" dirty="0">
              <a:solidFill>
                <a:schemeClr val="tx1"/>
              </a:solidFill>
            </a:endParaRPr>
          </a:p>
        </p:txBody>
      </p:sp>
      <p:sp>
        <p:nvSpPr>
          <p:cNvPr id="4" name="Title 1">
            <a:extLst>
              <a:ext uri="{FF2B5EF4-FFF2-40B4-BE49-F238E27FC236}">
                <a16:creationId xmlns:a16="http://schemas.microsoft.com/office/drawing/2014/main" id="{1B0D7E06-4FE3-5A26-B12A-4515BD145DF4}"/>
              </a:ext>
            </a:extLst>
          </p:cNvPr>
          <p:cNvSpPr txBox="1">
            <a:spLocks/>
          </p:cNvSpPr>
          <p:nvPr/>
        </p:nvSpPr>
        <p:spPr>
          <a:xfrm>
            <a:off x="3814763" y="1854081"/>
            <a:ext cx="4320246" cy="2133457"/>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nSpc>
                <a:spcPct val="107000"/>
              </a:lnSpc>
              <a:spcAft>
                <a:spcPts val="800"/>
              </a:spcAft>
              <a:buFont typeface="+mj-lt"/>
              <a:buAutoNum type="arabicPeriod"/>
            </a:pPr>
            <a:r>
              <a:rPr lang="en-US" sz="1100" kern="100" dirty="0">
                <a:solidFill>
                  <a:schemeClr val="tx1"/>
                </a:solidFill>
                <a:latin typeface="Proximus Light" pitchFamily="2" charset="77"/>
                <a:ea typeface="Aptos" panose="020B0004020202020204" pitchFamily="34" charset="0"/>
                <a:cs typeface="Arial" panose="020B0604020202020204" pitchFamily="34" charset="0"/>
              </a:rPr>
              <a:t>Cost and Freight</a:t>
            </a:r>
            <a:r>
              <a:rPr lang="en-US" sz="1100" b="0" kern="100" dirty="0">
                <a:solidFill>
                  <a:schemeClr val="tx1"/>
                </a:solidFill>
                <a:latin typeface="Proximus Light" pitchFamily="2" charset="77"/>
                <a:ea typeface="Aptos" panose="020B0004020202020204" pitchFamily="34" charset="0"/>
                <a:cs typeface="Arial" panose="020B0604020202020204" pitchFamily="34" charset="0"/>
              </a:rPr>
              <a:t>: A shipping term used in international trade where the seller pays for the cost and freight to bring the goods to the port of destination.</a:t>
            </a:r>
          </a:p>
          <a:p>
            <a:pPr marL="342900" indent="-342900">
              <a:lnSpc>
                <a:spcPct val="107000"/>
              </a:lnSpc>
              <a:spcAft>
                <a:spcPts val="800"/>
              </a:spcAft>
              <a:buFont typeface="+mj-lt"/>
              <a:buAutoNum type="arabicPeriod"/>
            </a:pPr>
            <a:r>
              <a:rPr lang="en-US" sz="1100" kern="100" dirty="0">
                <a:solidFill>
                  <a:schemeClr val="tx1"/>
                </a:solidFill>
                <a:latin typeface="Proximus Light" pitchFamily="2" charset="77"/>
                <a:ea typeface="Aptos" panose="020B0004020202020204" pitchFamily="34" charset="0"/>
                <a:cs typeface="Arial" panose="020B0604020202020204" pitchFamily="34" charset="0"/>
              </a:rPr>
              <a:t>Container Network Function</a:t>
            </a:r>
            <a:r>
              <a:rPr lang="en-US" sz="1100" b="0" kern="100" dirty="0">
                <a:solidFill>
                  <a:schemeClr val="tx1"/>
                </a:solidFill>
                <a:latin typeface="Proximus Light" pitchFamily="2" charset="77"/>
                <a:ea typeface="Aptos" panose="020B0004020202020204" pitchFamily="34" charset="0"/>
                <a:cs typeface="Arial" panose="020B0604020202020204" pitchFamily="34" charset="0"/>
              </a:rPr>
              <a:t>: A network function implemented as a containerized microservice, typically orchestrated by Kubernetes on a cloud infrastructure.</a:t>
            </a:r>
          </a:p>
          <a:p>
            <a:pPr marL="342900" indent="-342900">
              <a:lnSpc>
                <a:spcPct val="107000"/>
              </a:lnSpc>
              <a:spcAft>
                <a:spcPts val="800"/>
              </a:spcAft>
              <a:buFont typeface="+mj-lt"/>
              <a:buAutoNum type="arabicPeriod"/>
            </a:pPr>
            <a:r>
              <a:rPr lang="en-US" sz="1100" kern="100" dirty="0">
                <a:solidFill>
                  <a:schemeClr val="tx1"/>
                </a:solidFill>
                <a:latin typeface="Proximus Light" pitchFamily="2" charset="77"/>
                <a:ea typeface="Aptos" panose="020B0004020202020204" pitchFamily="34" charset="0"/>
                <a:cs typeface="Arial" panose="020B0604020202020204" pitchFamily="34" charset="0"/>
              </a:rPr>
              <a:t>Conjunctive Normal Form</a:t>
            </a:r>
            <a:r>
              <a:rPr lang="en-US" sz="1100" b="0" kern="100" dirty="0">
                <a:solidFill>
                  <a:schemeClr val="tx1"/>
                </a:solidFill>
                <a:latin typeface="Proximus Light" pitchFamily="2" charset="77"/>
                <a:ea typeface="Aptos" panose="020B0004020202020204" pitchFamily="34" charset="0"/>
                <a:cs typeface="Arial" panose="020B0604020202020204" pitchFamily="34" charset="0"/>
              </a:rPr>
              <a:t>: A standard form in Boolean logic where a formula is expressed as an AND of ORs.</a:t>
            </a:r>
          </a:p>
          <a:p>
            <a:pPr marL="342900" indent="-342900">
              <a:lnSpc>
                <a:spcPct val="107000"/>
              </a:lnSpc>
              <a:spcAft>
                <a:spcPts val="800"/>
              </a:spcAft>
              <a:buFont typeface="+mj-lt"/>
              <a:buAutoNum type="arabicPeriod"/>
            </a:pPr>
            <a:r>
              <a:rPr lang="en-US" sz="1100" kern="100" dirty="0">
                <a:solidFill>
                  <a:schemeClr val="tx1"/>
                </a:solidFill>
                <a:latin typeface="Proximus Light" pitchFamily="2" charset="77"/>
                <a:ea typeface="Aptos" panose="020B0004020202020204" pitchFamily="34" charset="0"/>
                <a:cs typeface="Arial" panose="020B0604020202020204" pitchFamily="34" charset="0"/>
              </a:rPr>
              <a:t>Carbon Nanofiber</a:t>
            </a:r>
            <a:r>
              <a:rPr lang="en-US" sz="1100" b="0" kern="100" dirty="0">
                <a:solidFill>
                  <a:schemeClr val="tx1"/>
                </a:solidFill>
                <a:latin typeface="Proximus Light" pitchFamily="2" charset="77"/>
                <a:ea typeface="Aptos" panose="020B0004020202020204" pitchFamily="34" charset="0"/>
                <a:cs typeface="Arial" panose="020B0604020202020204" pitchFamily="34" charset="0"/>
              </a:rPr>
              <a:t>: A material composed of carbon atoms arranged in a fiber-like structure, used in various applications including composites and electronics.</a:t>
            </a:r>
          </a:p>
        </p:txBody>
      </p:sp>
      <p:grpSp>
        <p:nvGrpSpPr>
          <p:cNvPr id="6" name="Group 5">
            <a:extLst>
              <a:ext uri="{FF2B5EF4-FFF2-40B4-BE49-F238E27FC236}">
                <a16:creationId xmlns:a16="http://schemas.microsoft.com/office/drawing/2014/main" id="{859B5914-6B23-39D2-1F53-162B85D90A36}"/>
              </a:ext>
            </a:extLst>
          </p:cNvPr>
          <p:cNvGrpSpPr/>
          <p:nvPr/>
        </p:nvGrpSpPr>
        <p:grpSpPr>
          <a:xfrm>
            <a:off x="1034715" y="1330467"/>
            <a:ext cx="2376000" cy="2850482"/>
            <a:chOff x="1034715" y="1437623"/>
            <a:chExt cx="2376000" cy="2850482"/>
          </a:xfrm>
        </p:grpSpPr>
        <p:sp>
          <p:nvSpPr>
            <p:cNvPr id="7" name="Rounded Rectangle 6">
              <a:extLst>
                <a:ext uri="{FF2B5EF4-FFF2-40B4-BE49-F238E27FC236}">
                  <a16:creationId xmlns:a16="http://schemas.microsoft.com/office/drawing/2014/main" id="{DD1523CC-0446-4022-B38E-EABBEA5B306A}"/>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8" name="Group 7">
              <a:extLst>
                <a:ext uri="{FF2B5EF4-FFF2-40B4-BE49-F238E27FC236}">
                  <a16:creationId xmlns:a16="http://schemas.microsoft.com/office/drawing/2014/main" id="{89E65D2F-2FF4-B80E-9800-D32B68A435F8}"/>
                </a:ext>
              </a:extLst>
            </p:cNvPr>
            <p:cNvGrpSpPr/>
            <p:nvPr/>
          </p:nvGrpSpPr>
          <p:grpSpPr>
            <a:xfrm>
              <a:off x="1758834" y="3919743"/>
              <a:ext cx="948471" cy="263470"/>
              <a:chOff x="5411538" y="379361"/>
              <a:chExt cx="613934" cy="170541"/>
            </a:xfrm>
            <a:solidFill>
              <a:srgbClr val="000000"/>
            </a:solidFill>
          </p:grpSpPr>
          <p:sp>
            <p:nvSpPr>
              <p:cNvPr id="10" name="Freeform 9">
                <a:extLst>
                  <a:ext uri="{FF2B5EF4-FFF2-40B4-BE49-F238E27FC236}">
                    <a16:creationId xmlns:a16="http://schemas.microsoft.com/office/drawing/2014/main" id="{359298A2-8DE7-65EF-6347-B72FB4019FDC}"/>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11" name="Freeform 10">
                <a:extLst>
                  <a:ext uri="{FF2B5EF4-FFF2-40B4-BE49-F238E27FC236}">
                    <a16:creationId xmlns:a16="http://schemas.microsoft.com/office/drawing/2014/main" id="{0AFEC4F5-7BBE-11C0-4C66-68D793A90BE6}"/>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2" name="Freeform 11">
                <a:extLst>
                  <a:ext uri="{FF2B5EF4-FFF2-40B4-BE49-F238E27FC236}">
                    <a16:creationId xmlns:a16="http://schemas.microsoft.com/office/drawing/2014/main" id="{2859ED4E-2B5F-4534-8478-B01A18A56A15}"/>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9" name="Afbeelding 4">
              <a:extLst>
                <a:ext uri="{FF2B5EF4-FFF2-40B4-BE49-F238E27FC236}">
                  <a16:creationId xmlns:a16="http://schemas.microsoft.com/office/drawing/2014/main" id="{141C58AE-5E91-A3D0-39DC-123D78DB2458}"/>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23137406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5326C-9B1A-7FFB-6DD9-AFE54426AB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62D912-C4EF-A517-CAAA-97F2C8A74C7D}"/>
              </a:ext>
            </a:extLst>
          </p:cNvPr>
          <p:cNvSpPr>
            <a:spLocks noGrp="1"/>
          </p:cNvSpPr>
          <p:nvPr>
            <p:ph type="title"/>
          </p:nvPr>
        </p:nvSpPr>
        <p:spPr>
          <a:xfrm>
            <a:off x="1226990" y="377827"/>
            <a:ext cx="7455051" cy="660092"/>
          </a:xfrm>
        </p:spPr>
        <p:txBody>
          <a:bodyPr anchor="ctr"/>
          <a:lstStyle/>
          <a:p>
            <a:r>
              <a:rPr lang="en-GB">
                <a:solidFill>
                  <a:srgbClr val="2A2234"/>
                </a:solidFill>
              </a:rPr>
              <a:t>Platforms</a:t>
            </a:r>
            <a:r>
              <a:rPr lang="en-BE" b="0">
                <a:solidFill>
                  <a:srgbClr val="2A2234"/>
                </a:solidFill>
                <a:latin typeface="Proximus Light" pitchFamily="2" charset="77"/>
              </a:rPr>
              <a:t> in 2025</a:t>
            </a:r>
            <a:endParaRPr lang="en-GB">
              <a:solidFill>
                <a:srgbClr val="2A2234"/>
              </a:solidFill>
            </a:endParaRPr>
          </a:p>
        </p:txBody>
      </p:sp>
      <p:sp>
        <p:nvSpPr>
          <p:cNvPr id="39" name="!!OVAL_network">
            <a:extLst>
              <a:ext uri="{FF2B5EF4-FFF2-40B4-BE49-F238E27FC236}">
                <a16:creationId xmlns:a16="http://schemas.microsoft.com/office/drawing/2014/main" id="{845A469B-0F6D-5231-E25C-2403C213FBE8}"/>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84">
              <a:defRPr/>
            </a:pPr>
            <a:endParaRPr lang="nl-BE" sz="2160">
              <a:solidFill>
                <a:srgbClr val="2A2234"/>
              </a:solidFill>
              <a:latin typeface="Proximus Bold"/>
            </a:endParaRPr>
          </a:p>
        </p:txBody>
      </p:sp>
      <p:sp>
        <p:nvSpPr>
          <p:cNvPr id="3" name="Text Placeholder 4">
            <a:extLst>
              <a:ext uri="{FF2B5EF4-FFF2-40B4-BE49-F238E27FC236}">
                <a16:creationId xmlns:a16="http://schemas.microsoft.com/office/drawing/2014/main" id="{D8D0C6FF-1133-D6C7-DE8A-FEDBF0F3FBB3}"/>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a:gradFill>
                  <a:gsLst>
                    <a:gs pos="0">
                      <a:srgbClr val="5C2D91"/>
                    </a:gs>
                    <a:gs pos="100000">
                      <a:srgbClr val="81C747"/>
                    </a:gs>
                  </a:gsLst>
                  <a:lin ang="3000000" scaled="0"/>
                </a:gradFill>
                <a:latin typeface="Proximus ExtraBold" pitchFamily="2" charset="77"/>
              </a:rPr>
              <a:t>1</a:t>
            </a:r>
          </a:p>
          <a:p>
            <a:pPr marL="0" indent="0" defTabSz="914219">
              <a:lnSpc>
                <a:spcPct val="110000"/>
              </a:lnSpc>
              <a:spcBef>
                <a:spcPts val="0"/>
              </a:spcBef>
              <a:spcAft>
                <a:spcPts val="1200"/>
              </a:spcAft>
              <a:buClr>
                <a:srgbClr val="5C2D91"/>
              </a:buClr>
              <a:buNone/>
              <a:defRPr/>
            </a:pPr>
            <a:r>
              <a:rPr lang="en-US" sz="1100">
                <a:solidFill>
                  <a:srgbClr val="141C24"/>
                </a:solidFill>
                <a:latin typeface="Proximus Light" pitchFamily="2" charset="77"/>
              </a:rPr>
              <a:t>Transform &amp; simplify our billing infrastructure by </a:t>
            </a:r>
            <a:r>
              <a:rPr lang="en-US" sz="1100" b="1">
                <a:solidFill>
                  <a:srgbClr val="141C24"/>
                </a:solidFill>
                <a:latin typeface="Proximus ExtraBold" pitchFamily="2" charset="77"/>
              </a:rPr>
              <a:t>replacing the </a:t>
            </a:r>
            <a:br>
              <a:rPr lang="en-US" sz="1100" b="1">
                <a:solidFill>
                  <a:srgbClr val="141C24"/>
                </a:solidFill>
                <a:latin typeface="Proximus ExtraBold" pitchFamily="2" charset="77"/>
              </a:rPr>
            </a:br>
            <a:r>
              <a:rPr lang="en-US" sz="1100" b="1">
                <a:solidFill>
                  <a:srgbClr val="141C24"/>
                </a:solidFill>
                <a:latin typeface="Proximus ExtraBold" pitchFamily="2" charset="77"/>
              </a:rPr>
              <a:t>On-line Charging System </a:t>
            </a:r>
            <a:r>
              <a:rPr lang="en-US" sz="1100">
                <a:solidFill>
                  <a:srgbClr val="141C24"/>
                </a:solidFill>
                <a:latin typeface="Proximus Light" pitchFamily="2" charset="77"/>
              </a:rPr>
              <a:t>for enhanced efficiency and accuracy</a:t>
            </a:r>
            <a:endParaRPr lang="en-US" sz="1100" b="1">
              <a:solidFill>
                <a:srgbClr val="141C24"/>
              </a:solidFill>
              <a:latin typeface="Proximus ExtraBold" pitchFamily="2" charset="77"/>
            </a:endParaRPr>
          </a:p>
        </p:txBody>
      </p:sp>
      <p:sp>
        <p:nvSpPr>
          <p:cNvPr id="4" name="Text Placeholder 4">
            <a:extLst>
              <a:ext uri="{FF2B5EF4-FFF2-40B4-BE49-F238E27FC236}">
                <a16:creationId xmlns:a16="http://schemas.microsoft.com/office/drawing/2014/main" id="{AB5552E8-F976-8F89-C145-D6E2B4C2DA94}"/>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a:gradFill>
                  <a:gsLst>
                    <a:gs pos="0">
                      <a:srgbClr val="5C2D91"/>
                    </a:gs>
                    <a:gs pos="100000">
                      <a:srgbClr val="81C747"/>
                    </a:gs>
                  </a:gsLst>
                  <a:lin ang="3000000" scaled="0"/>
                </a:gradFill>
                <a:latin typeface="Proximus ExtraBold" pitchFamily="2" charset="77"/>
              </a:rPr>
              <a:t>2</a:t>
            </a:r>
            <a:endParaRPr lang="en-US" sz="1200" b="1">
              <a:gradFill>
                <a:gsLst>
                  <a:gs pos="0">
                    <a:srgbClr val="5C2D91"/>
                  </a:gs>
                  <a:gs pos="100000">
                    <a:srgbClr val="81C747"/>
                  </a:gs>
                </a:gsLst>
                <a:lin ang="3000000" scaled="0"/>
              </a:gradFill>
              <a:latin typeface="Proximus ExtraBold" pitchFamily="2" charset="77"/>
            </a:endParaRPr>
          </a:p>
          <a:p>
            <a:pPr marL="0" indent="0" defTabSz="914219">
              <a:lnSpc>
                <a:spcPct val="110000"/>
              </a:lnSpc>
              <a:spcBef>
                <a:spcPts val="0"/>
              </a:spcBef>
              <a:spcAft>
                <a:spcPts val="1200"/>
              </a:spcAft>
              <a:buClr>
                <a:srgbClr val="5C2D91"/>
              </a:buClr>
              <a:buNone/>
              <a:defRPr/>
            </a:pPr>
            <a:r>
              <a:rPr lang="en-US" sz="1100">
                <a:solidFill>
                  <a:srgbClr val="141C24"/>
                </a:solidFill>
                <a:latin typeface="Proximus Light" pitchFamily="2" charset="77"/>
              </a:rPr>
              <a:t>Transform our communication capabilities with a </a:t>
            </a:r>
            <a:r>
              <a:rPr lang="en-US" sz="1100" b="1">
                <a:solidFill>
                  <a:srgbClr val="141C24"/>
                </a:solidFill>
                <a:latin typeface="Proximus ExtraBold" pitchFamily="2" charset="77"/>
              </a:rPr>
              <a:t>modernized voice platform &amp; subscriber databases </a:t>
            </a:r>
            <a:r>
              <a:rPr lang="en-US" sz="1100">
                <a:solidFill>
                  <a:srgbClr val="141C24"/>
                </a:solidFill>
                <a:latin typeface="Proximus Light" pitchFamily="2" charset="77"/>
              </a:rPr>
              <a:t>for superior performance and reliability</a:t>
            </a:r>
          </a:p>
        </p:txBody>
      </p:sp>
      <p:sp>
        <p:nvSpPr>
          <p:cNvPr id="6" name="Text Placeholder 4">
            <a:extLst>
              <a:ext uri="{FF2B5EF4-FFF2-40B4-BE49-F238E27FC236}">
                <a16:creationId xmlns:a16="http://schemas.microsoft.com/office/drawing/2014/main" id="{C39D1268-6DF6-5B80-DF19-FB49587E96AE}"/>
              </a:ext>
            </a:extLst>
          </p:cNvPr>
          <p:cNvSpPr txBox="1">
            <a:spLocks/>
          </p:cNvSpPr>
          <p:nvPr/>
        </p:nvSpPr>
        <p:spPr>
          <a:xfrm>
            <a:off x="4684265"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a:gradFill>
                  <a:gsLst>
                    <a:gs pos="0">
                      <a:srgbClr val="5C2D91"/>
                    </a:gs>
                    <a:gs pos="100000">
                      <a:srgbClr val="81C747"/>
                    </a:gs>
                  </a:gsLst>
                  <a:lin ang="3000000" scaled="0"/>
                </a:gradFill>
                <a:latin typeface="Proximus ExtraBold" pitchFamily="2" charset="77"/>
              </a:rPr>
              <a:t>3</a:t>
            </a:r>
          </a:p>
          <a:p>
            <a:pPr marL="0" indent="0" defTabSz="914219">
              <a:lnSpc>
                <a:spcPct val="110000"/>
              </a:lnSpc>
              <a:spcBef>
                <a:spcPts val="0"/>
              </a:spcBef>
              <a:spcAft>
                <a:spcPts val="1200"/>
              </a:spcAft>
              <a:buClr>
                <a:srgbClr val="5C2D91"/>
              </a:buClr>
              <a:buNone/>
              <a:defRPr/>
            </a:pPr>
            <a:r>
              <a:rPr lang="en-US" sz="1100">
                <a:solidFill>
                  <a:srgbClr val="141C24"/>
                </a:solidFill>
                <a:latin typeface="Proximus Light" pitchFamily="2" charset="77"/>
              </a:rPr>
              <a:t>Drastically stabilize &amp; optimize our </a:t>
            </a:r>
            <a:r>
              <a:rPr lang="en-US" sz="1100" b="1">
                <a:solidFill>
                  <a:srgbClr val="141C24"/>
                </a:solidFill>
                <a:latin typeface="Proximus ExtraBold" pitchFamily="2" charset="77"/>
              </a:rPr>
              <a:t>mobile data core </a:t>
            </a:r>
            <a:r>
              <a:rPr lang="en-US" sz="1100">
                <a:solidFill>
                  <a:srgbClr val="141C24"/>
                </a:solidFill>
                <a:latin typeface="Proximus Light" pitchFamily="2" charset="77"/>
              </a:rPr>
              <a:t>with a comprehensive </a:t>
            </a:r>
            <a:br>
              <a:rPr lang="en-US" sz="1100">
                <a:solidFill>
                  <a:srgbClr val="141C24"/>
                </a:solidFill>
                <a:latin typeface="Proximus Light" pitchFamily="2" charset="77"/>
              </a:rPr>
            </a:br>
            <a:r>
              <a:rPr lang="en-US" sz="1100" b="1">
                <a:solidFill>
                  <a:srgbClr val="141C24"/>
                </a:solidFill>
                <a:latin typeface="Proximus ExtraBold" pitchFamily="2" charset="77"/>
              </a:rPr>
              <a:t>full vendor stack solution</a:t>
            </a:r>
            <a:endParaRPr lang="en-US" sz="1100">
              <a:solidFill>
                <a:srgbClr val="141C24"/>
              </a:solidFill>
              <a:latin typeface="Proximus Light" pitchFamily="2" charset="77"/>
            </a:endParaRPr>
          </a:p>
          <a:p>
            <a:pPr marL="0" indent="0" defTabSz="914219">
              <a:lnSpc>
                <a:spcPct val="110000"/>
              </a:lnSpc>
              <a:spcBef>
                <a:spcPts val="0"/>
              </a:spcBef>
              <a:spcAft>
                <a:spcPts val="1200"/>
              </a:spcAft>
              <a:buClr>
                <a:srgbClr val="5C2D91"/>
              </a:buClr>
              <a:buNone/>
              <a:defRPr/>
            </a:pPr>
            <a:r>
              <a:rPr lang="en-US" sz="1100">
                <a:solidFill>
                  <a:srgbClr val="141C24"/>
                </a:solidFill>
                <a:latin typeface="Proximus Light" pitchFamily="2" charset="77"/>
              </a:rPr>
              <a:t>Lead the market with </a:t>
            </a:r>
            <a:r>
              <a:rPr lang="en-US" sz="1100" b="1">
                <a:solidFill>
                  <a:srgbClr val="141C24"/>
                </a:solidFill>
                <a:latin typeface="Proximus ExtraBold" panose="00000900000000000000" pitchFamily="2" charset="0"/>
              </a:rPr>
              <a:t>cutting edge 5G services</a:t>
            </a:r>
            <a:r>
              <a:rPr lang="en-US" sz="1100">
                <a:solidFill>
                  <a:srgbClr val="141C24"/>
                </a:solidFill>
                <a:latin typeface="Proximus ExtraBold" panose="00000900000000000000" pitchFamily="2" charset="0"/>
              </a:rPr>
              <a:t> </a:t>
            </a:r>
            <a:r>
              <a:rPr lang="en-US" sz="1100">
                <a:solidFill>
                  <a:srgbClr val="141C24"/>
                </a:solidFill>
                <a:latin typeface="Proximus Light" pitchFamily="2" charset="77"/>
              </a:rPr>
              <a:t>such as IoT slicing, </a:t>
            </a:r>
            <a:r>
              <a:rPr lang="en-US" sz="1100" err="1">
                <a:solidFill>
                  <a:srgbClr val="141C24"/>
                </a:solidFill>
                <a:latin typeface="Proximus Light" pitchFamily="2" charset="77"/>
              </a:rPr>
              <a:t>VoNR</a:t>
            </a:r>
            <a:r>
              <a:rPr lang="en-US" sz="1100">
                <a:solidFill>
                  <a:srgbClr val="141C24"/>
                </a:solidFill>
                <a:latin typeface="Proximus Light" pitchFamily="2" charset="77"/>
              </a:rPr>
              <a:t> &amp; 5G SIM</a:t>
            </a:r>
          </a:p>
        </p:txBody>
      </p:sp>
      <p:sp>
        <p:nvSpPr>
          <p:cNvPr id="8" name="Text Placeholder 4">
            <a:extLst>
              <a:ext uri="{FF2B5EF4-FFF2-40B4-BE49-F238E27FC236}">
                <a16:creationId xmlns:a16="http://schemas.microsoft.com/office/drawing/2014/main" id="{3EA1E69F-9358-9D92-C5E7-F0A8D4AFA334}"/>
              </a:ext>
            </a:extLst>
          </p:cNvPr>
          <p:cNvSpPr txBox="1">
            <a:spLocks/>
          </p:cNvSpPr>
          <p:nvPr/>
        </p:nvSpPr>
        <p:spPr>
          <a:xfrm>
            <a:off x="6796210" y="2571750"/>
            <a:ext cx="1884240" cy="2864645"/>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19">
              <a:lnSpc>
                <a:spcPct val="110000"/>
              </a:lnSpc>
              <a:spcBef>
                <a:spcPts val="0"/>
              </a:spcBef>
              <a:spcAft>
                <a:spcPts val="1200"/>
              </a:spcAft>
              <a:buClr>
                <a:srgbClr val="5C2D91"/>
              </a:buClr>
              <a:buNone/>
              <a:defRPr/>
            </a:pPr>
            <a:r>
              <a:rPr lang="en-US" sz="3200" b="1">
                <a:gradFill>
                  <a:gsLst>
                    <a:gs pos="0">
                      <a:srgbClr val="5C2D91"/>
                    </a:gs>
                    <a:gs pos="100000">
                      <a:srgbClr val="81C747"/>
                    </a:gs>
                  </a:gsLst>
                  <a:lin ang="3000000" scaled="0"/>
                </a:gradFill>
                <a:latin typeface="Proximus ExtraBold" pitchFamily="2" charset="77"/>
              </a:rPr>
              <a:t>4</a:t>
            </a:r>
          </a:p>
          <a:p>
            <a:pPr marL="0" indent="0" defTabSz="914219">
              <a:lnSpc>
                <a:spcPct val="110000"/>
              </a:lnSpc>
              <a:spcBef>
                <a:spcPts val="0"/>
              </a:spcBef>
              <a:spcAft>
                <a:spcPts val="1200"/>
              </a:spcAft>
              <a:buClr>
                <a:srgbClr val="5C2D91"/>
              </a:buClr>
              <a:buNone/>
              <a:defRPr/>
            </a:pPr>
            <a:r>
              <a:rPr lang="en-US" sz="1100">
                <a:solidFill>
                  <a:srgbClr val="141C24"/>
                </a:solidFill>
                <a:latin typeface="Proximus Light" pitchFamily="2" charset="77"/>
              </a:rPr>
              <a:t>Enhance home connectivity with the latest </a:t>
            </a:r>
            <a:r>
              <a:rPr lang="en-US" sz="1100" b="1">
                <a:solidFill>
                  <a:srgbClr val="141C24"/>
                </a:solidFill>
                <a:latin typeface="Proximus ExtraBold" pitchFamily="2" charset="77"/>
              </a:rPr>
              <a:t>WiFi7 in-home solutions &amp; cable modem</a:t>
            </a:r>
            <a:r>
              <a:rPr lang="en-US" sz="1100">
                <a:solidFill>
                  <a:srgbClr val="141C24"/>
                </a:solidFill>
                <a:latin typeface="Proximus Light" pitchFamily="2" charset="77"/>
              </a:rPr>
              <a:t> for superior internet experience</a:t>
            </a:r>
          </a:p>
        </p:txBody>
      </p:sp>
      <p:pic>
        <p:nvPicPr>
          <p:cNvPr id="11" name="Graphic 10">
            <a:extLst>
              <a:ext uri="{FF2B5EF4-FFF2-40B4-BE49-F238E27FC236}">
                <a16:creationId xmlns:a16="http://schemas.microsoft.com/office/drawing/2014/main" id="{03FD28A7-9733-F682-5C52-7A7068927A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825" y="599923"/>
            <a:ext cx="419100" cy="215900"/>
          </a:xfrm>
          <a:prstGeom prst="rect">
            <a:avLst/>
          </a:prstGeom>
        </p:spPr>
      </p:pic>
      <p:sp>
        <p:nvSpPr>
          <p:cNvPr id="5" name="Rounded Rectangle 4">
            <a:extLst>
              <a:ext uri="{FF2B5EF4-FFF2-40B4-BE49-F238E27FC236}">
                <a16:creationId xmlns:a16="http://schemas.microsoft.com/office/drawing/2014/main" id="{8F738587-65CA-CAA7-6C34-36B626056B28}"/>
              </a:ext>
            </a:extLst>
          </p:cNvPr>
          <p:cNvSpPr/>
          <p:nvPr/>
        </p:nvSpPr>
        <p:spPr>
          <a:xfrm>
            <a:off x="6805615" y="377827"/>
            <a:ext cx="1884240" cy="2015329"/>
          </a:xfrm>
          <a:prstGeom prst="roundRect">
            <a:avLst>
              <a:gd name="adj" fmla="val 10110"/>
            </a:avLst>
          </a:prstGeom>
          <a:blipFill>
            <a:blip r:embed="rId5"/>
            <a:srcRect/>
            <a:stretch>
              <a:fillRect l="-37374" r="-24102"/>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3069867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A02F9D1-9D51-3ABD-039E-FF5243A1BE2E}"/>
            </a:ext>
          </a:extLst>
        </p:cNvPr>
        <p:cNvGrpSpPr/>
        <p:nvPr/>
      </p:nvGrpSpPr>
      <p:grpSpPr>
        <a:xfrm>
          <a:off x="0" y="0"/>
          <a:ext cx="0" cy="0"/>
          <a:chOff x="0" y="0"/>
          <a:chExt cx="0" cy="0"/>
        </a:xfrm>
      </p:grpSpPr>
      <p:sp>
        <p:nvSpPr>
          <p:cNvPr id="35" name="Rounded Rectangle 34">
            <a:extLst>
              <a:ext uri="{FF2B5EF4-FFF2-40B4-BE49-F238E27FC236}">
                <a16:creationId xmlns:a16="http://schemas.microsoft.com/office/drawing/2014/main" id="{32F54917-5EAA-C800-4981-725D76A8D3A9}"/>
              </a:ext>
            </a:extLst>
          </p:cNvPr>
          <p:cNvSpPr/>
          <p:nvPr/>
        </p:nvSpPr>
        <p:spPr>
          <a:xfrm>
            <a:off x="0" y="0"/>
            <a:ext cx="1946341" cy="1181323"/>
          </a:xfrm>
          <a:prstGeom prst="roundRect">
            <a:avLst>
              <a:gd name="adj" fmla="val 9788"/>
            </a:avLst>
          </a:prstGeom>
          <a:blipFill>
            <a:blip r:embed="rId3"/>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36" name="Rounded Rectangle 35">
            <a:extLst>
              <a:ext uri="{FF2B5EF4-FFF2-40B4-BE49-F238E27FC236}">
                <a16:creationId xmlns:a16="http://schemas.microsoft.com/office/drawing/2014/main" id="{95D21A94-B386-A73F-439F-1E4765DA768E}"/>
              </a:ext>
            </a:extLst>
          </p:cNvPr>
          <p:cNvSpPr/>
          <p:nvPr/>
        </p:nvSpPr>
        <p:spPr>
          <a:xfrm>
            <a:off x="2123372" y="0"/>
            <a:ext cx="1946341" cy="1181323"/>
          </a:xfrm>
          <a:prstGeom prst="roundRect">
            <a:avLst>
              <a:gd name="adj" fmla="val 9788"/>
            </a:avLst>
          </a:prstGeom>
          <a:blipFill>
            <a:blip r:embed="rId4"/>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37" name="Rounded Rectangle 36">
            <a:extLst>
              <a:ext uri="{FF2B5EF4-FFF2-40B4-BE49-F238E27FC236}">
                <a16:creationId xmlns:a16="http://schemas.microsoft.com/office/drawing/2014/main" id="{601D592D-9359-A695-85E1-9482D5BCE06A}"/>
              </a:ext>
            </a:extLst>
          </p:cNvPr>
          <p:cNvSpPr/>
          <p:nvPr/>
        </p:nvSpPr>
        <p:spPr>
          <a:xfrm>
            <a:off x="4246744" y="0"/>
            <a:ext cx="1946341" cy="1181323"/>
          </a:xfrm>
          <a:prstGeom prst="roundRect">
            <a:avLst>
              <a:gd name="adj" fmla="val 9788"/>
            </a:avLst>
          </a:prstGeom>
          <a:blipFill>
            <a:blip r:embed="rId5"/>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38" name="Rounded Rectangle 37">
            <a:extLst>
              <a:ext uri="{FF2B5EF4-FFF2-40B4-BE49-F238E27FC236}">
                <a16:creationId xmlns:a16="http://schemas.microsoft.com/office/drawing/2014/main" id="{DBE8E80B-DB70-79DE-9399-49196073E9E7}"/>
              </a:ext>
            </a:extLst>
          </p:cNvPr>
          <p:cNvSpPr/>
          <p:nvPr/>
        </p:nvSpPr>
        <p:spPr>
          <a:xfrm>
            <a:off x="6370117" y="0"/>
            <a:ext cx="1946341" cy="1181323"/>
          </a:xfrm>
          <a:prstGeom prst="roundRect">
            <a:avLst>
              <a:gd name="adj" fmla="val 9788"/>
            </a:avLst>
          </a:prstGeom>
          <a:blipFill>
            <a:blip r:embed="rId6"/>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3" name="Rounded Rectangle 42">
            <a:extLst>
              <a:ext uri="{FF2B5EF4-FFF2-40B4-BE49-F238E27FC236}">
                <a16:creationId xmlns:a16="http://schemas.microsoft.com/office/drawing/2014/main" id="{D84C25CF-645B-1E69-ADFA-9615D3C141C4}"/>
              </a:ext>
            </a:extLst>
          </p:cNvPr>
          <p:cNvSpPr/>
          <p:nvPr/>
        </p:nvSpPr>
        <p:spPr>
          <a:xfrm>
            <a:off x="0" y="2641451"/>
            <a:ext cx="1946341" cy="1181323"/>
          </a:xfrm>
          <a:prstGeom prst="roundRect">
            <a:avLst>
              <a:gd name="adj" fmla="val 9788"/>
            </a:avLst>
          </a:prstGeom>
          <a:blipFill>
            <a:blip r:embed="rId7"/>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4" name="Rounded Rectangle 43">
            <a:extLst>
              <a:ext uri="{FF2B5EF4-FFF2-40B4-BE49-F238E27FC236}">
                <a16:creationId xmlns:a16="http://schemas.microsoft.com/office/drawing/2014/main" id="{7ADEE1F3-3D5F-F25C-E89B-25C68328C719}"/>
              </a:ext>
            </a:extLst>
          </p:cNvPr>
          <p:cNvSpPr/>
          <p:nvPr/>
        </p:nvSpPr>
        <p:spPr>
          <a:xfrm>
            <a:off x="2123372" y="2641451"/>
            <a:ext cx="1946341" cy="1181323"/>
          </a:xfrm>
          <a:prstGeom prst="roundRect">
            <a:avLst>
              <a:gd name="adj" fmla="val 9788"/>
            </a:avLst>
          </a:prstGeom>
          <a:blipFill>
            <a:blip r:embed="rId8"/>
            <a:srcRect/>
            <a:stretch>
              <a:fillRect t="-8953" b="-895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5" name="Rounded Rectangle 44">
            <a:extLst>
              <a:ext uri="{FF2B5EF4-FFF2-40B4-BE49-F238E27FC236}">
                <a16:creationId xmlns:a16="http://schemas.microsoft.com/office/drawing/2014/main" id="{5466EB42-22BD-B2BB-56E3-DA9DF6DF772B}"/>
              </a:ext>
            </a:extLst>
          </p:cNvPr>
          <p:cNvSpPr/>
          <p:nvPr/>
        </p:nvSpPr>
        <p:spPr>
          <a:xfrm>
            <a:off x="4246744" y="2641451"/>
            <a:ext cx="1946341" cy="1181323"/>
          </a:xfrm>
          <a:prstGeom prst="roundRect">
            <a:avLst>
              <a:gd name="adj" fmla="val 9788"/>
            </a:avLst>
          </a:prstGeom>
          <a:blipFill>
            <a:blip r:embed="rId9"/>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6" name="Rounded Rectangle 45">
            <a:extLst>
              <a:ext uri="{FF2B5EF4-FFF2-40B4-BE49-F238E27FC236}">
                <a16:creationId xmlns:a16="http://schemas.microsoft.com/office/drawing/2014/main" id="{2E4A59D7-6E7F-FB92-B6F0-187CFE9B5300}"/>
              </a:ext>
            </a:extLst>
          </p:cNvPr>
          <p:cNvSpPr/>
          <p:nvPr/>
        </p:nvSpPr>
        <p:spPr>
          <a:xfrm>
            <a:off x="6370117" y="2641451"/>
            <a:ext cx="1946341" cy="1181323"/>
          </a:xfrm>
          <a:prstGeom prst="roundRect">
            <a:avLst>
              <a:gd name="adj" fmla="val 9788"/>
            </a:avLst>
          </a:prstGeom>
          <a:blipFill>
            <a:blip r:embed="rId10"/>
            <a:srcRect/>
            <a:stretch>
              <a:fillRect t="-11785" b="-11785"/>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2" name="Rounded Rectangle 51">
            <a:extLst>
              <a:ext uri="{FF2B5EF4-FFF2-40B4-BE49-F238E27FC236}">
                <a16:creationId xmlns:a16="http://schemas.microsoft.com/office/drawing/2014/main" id="{09CFA330-A4BA-9F21-DD56-29F4B7E48F1E}"/>
              </a:ext>
            </a:extLst>
          </p:cNvPr>
          <p:cNvSpPr/>
          <p:nvPr/>
        </p:nvSpPr>
        <p:spPr>
          <a:xfrm>
            <a:off x="8471140" y="0"/>
            <a:ext cx="1946341" cy="1181323"/>
          </a:xfrm>
          <a:prstGeom prst="roundRect">
            <a:avLst>
              <a:gd name="adj" fmla="val 9788"/>
            </a:avLst>
          </a:prstGeom>
          <a:blipFill>
            <a:blip r:embed="rId11"/>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3" name="Rounded Rectangle 52">
            <a:extLst>
              <a:ext uri="{FF2B5EF4-FFF2-40B4-BE49-F238E27FC236}">
                <a16:creationId xmlns:a16="http://schemas.microsoft.com/office/drawing/2014/main" id="{4DE0A4B6-EBD0-F328-98A5-3338B8EECD3F}"/>
              </a:ext>
            </a:extLst>
          </p:cNvPr>
          <p:cNvSpPr/>
          <p:nvPr/>
        </p:nvSpPr>
        <p:spPr>
          <a:xfrm>
            <a:off x="8471140" y="2641451"/>
            <a:ext cx="1946341" cy="1181323"/>
          </a:xfrm>
          <a:prstGeom prst="roundRect">
            <a:avLst>
              <a:gd name="adj" fmla="val 9788"/>
            </a:avLst>
          </a:prstGeom>
          <a:blipFill>
            <a:blip r:embed="rId12"/>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grpSp>
        <p:nvGrpSpPr>
          <p:cNvPr id="4" name="Group 3">
            <a:extLst>
              <a:ext uri="{FF2B5EF4-FFF2-40B4-BE49-F238E27FC236}">
                <a16:creationId xmlns:a16="http://schemas.microsoft.com/office/drawing/2014/main" id="{760FF810-9661-289F-38F5-147A3B25E4EF}"/>
              </a:ext>
            </a:extLst>
          </p:cNvPr>
          <p:cNvGrpSpPr/>
          <p:nvPr/>
        </p:nvGrpSpPr>
        <p:grpSpPr>
          <a:xfrm>
            <a:off x="-1040572" y="1320726"/>
            <a:ext cx="10417480" cy="1181323"/>
            <a:chOff x="-1066451" y="1320726"/>
            <a:chExt cx="10417480" cy="1181323"/>
          </a:xfrm>
        </p:grpSpPr>
        <p:sp>
          <p:nvSpPr>
            <p:cNvPr id="39" name="Rounded Rectangle 38">
              <a:extLst>
                <a:ext uri="{FF2B5EF4-FFF2-40B4-BE49-F238E27FC236}">
                  <a16:creationId xmlns:a16="http://schemas.microsoft.com/office/drawing/2014/main" id="{8643A259-60A9-B380-C22C-031A1C397C5A}"/>
                </a:ext>
              </a:extLst>
            </p:cNvPr>
            <p:cNvSpPr/>
            <p:nvPr/>
          </p:nvSpPr>
          <p:spPr>
            <a:xfrm>
              <a:off x="1034571" y="1320726"/>
              <a:ext cx="1946341" cy="1181323"/>
            </a:xfrm>
            <a:prstGeom prst="roundRect">
              <a:avLst>
                <a:gd name="adj" fmla="val 9788"/>
              </a:avLst>
            </a:prstGeom>
            <a:blipFill>
              <a:blip r:embed="rId13"/>
              <a:srcRect/>
              <a:stretch>
                <a:fillRect l="-3953" r="-395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0" name="Rounded Rectangle 39">
              <a:extLst>
                <a:ext uri="{FF2B5EF4-FFF2-40B4-BE49-F238E27FC236}">
                  <a16:creationId xmlns:a16="http://schemas.microsoft.com/office/drawing/2014/main" id="{9941E80D-A58E-4FF3-6702-3C93936CDBAE}"/>
                </a:ext>
              </a:extLst>
            </p:cNvPr>
            <p:cNvSpPr/>
            <p:nvPr/>
          </p:nvSpPr>
          <p:spPr>
            <a:xfrm>
              <a:off x="3157943" y="1320726"/>
              <a:ext cx="1946341" cy="1181323"/>
            </a:xfrm>
            <a:prstGeom prst="roundRect">
              <a:avLst>
                <a:gd name="adj" fmla="val 9788"/>
              </a:avLst>
            </a:prstGeom>
            <a:blipFill>
              <a:blip r:embed="rId14"/>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1" name="Rounded Rectangle 40">
              <a:extLst>
                <a:ext uri="{FF2B5EF4-FFF2-40B4-BE49-F238E27FC236}">
                  <a16:creationId xmlns:a16="http://schemas.microsoft.com/office/drawing/2014/main" id="{9014274D-6136-6798-A56B-37FB8D412642}"/>
                </a:ext>
              </a:extLst>
            </p:cNvPr>
            <p:cNvSpPr/>
            <p:nvPr/>
          </p:nvSpPr>
          <p:spPr>
            <a:xfrm>
              <a:off x="5281314" y="1320726"/>
              <a:ext cx="1946341" cy="1181323"/>
            </a:xfrm>
            <a:prstGeom prst="roundRect">
              <a:avLst>
                <a:gd name="adj" fmla="val 9788"/>
              </a:avLst>
            </a:prstGeom>
            <a:blipFill>
              <a:blip r:embed="rId15"/>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2" name="Rounded Rectangle 41">
              <a:extLst>
                <a:ext uri="{FF2B5EF4-FFF2-40B4-BE49-F238E27FC236}">
                  <a16:creationId xmlns:a16="http://schemas.microsoft.com/office/drawing/2014/main" id="{204514C5-DE85-2BE0-62C2-F5B756DC86D3}"/>
                </a:ext>
              </a:extLst>
            </p:cNvPr>
            <p:cNvSpPr/>
            <p:nvPr/>
          </p:nvSpPr>
          <p:spPr>
            <a:xfrm>
              <a:off x="7404688" y="1320726"/>
              <a:ext cx="1946341" cy="1181323"/>
            </a:xfrm>
            <a:prstGeom prst="roundRect">
              <a:avLst>
                <a:gd name="adj" fmla="val 9788"/>
              </a:avLst>
            </a:prstGeom>
            <a:blipFill>
              <a:blip r:embed="rId16"/>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4" name="Rounded Rectangle 53">
              <a:extLst>
                <a:ext uri="{FF2B5EF4-FFF2-40B4-BE49-F238E27FC236}">
                  <a16:creationId xmlns:a16="http://schemas.microsoft.com/office/drawing/2014/main" id="{775093F8-E358-CF0B-9567-9CD796CE0FE7}"/>
                </a:ext>
              </a:extLst>
            </p:cNvPr>
            <p:cNvSpPr/>
            <p:nvPr/>
          </p:nvSpPr>
          <p:spPr>
            <a:xfrm>
              <a:off x="-1066451" y="1320726"/>
              <a:ext cx="1946341" cy="1181323"/>
            </a:xfrm>
            <a:prstGeom prst="roundRect">
              <a:avLst>
                <a:gd name="adj" fmla="val 9788"/>
              </a:avLst>
            </a:prstGeom>
            <a:blipFill>
              <a:blip r:embed="rId17"/>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grpSp>
      <p:grpSp>
        <p:nvGrpSpPr>
          <p:cNvPr id="2" name="Group 1">
            <a:extLst>
              <a:ext uri="{FF2B5EF4-FFF2-40B4-BE49-F238E27FC236}">
                <a16:creationId xmlns:a16="http://schemas.microsoft.com/office/drawing/2014/main" id="{C83F4B47-A39C-D589-93D0-06F646DEB6B5}"/>
              </a:ext>
            </a:extLst>
          </p:cNvPr>
          <p:cNvGrpSpPr/>
          <p:nvPr/>
        </p:nvGrpSpPr>
        <p:grpSpPr>
          <a:xfrm>
            <a:off x="-1040572" y="3962177"/>
            <a:ext cx="10417480" cy="1181323"/>
            <a:chOff x="-1273481" y="3962177"/>
            <a:chExt cx="10417480" cy="1181323"/>
          </a:xfrm>
        </p:grpSpPr>
        <p:sp>
          <p:nvSpPr>
            <p:cNvPr id="47" name="Rounded Rectangle 46">
              <a:extLst>
                <a:ext uri="{FF2B5EF4-FFF2-40B4-BE49-F238E27FC236}">
                  <a16:creationId xmlns:a16="http://schemas.microsoft.com/office/drawing/2014/main" id="{DCCDDD92-1219-9296-ADA0-5D47D0E05447}"/>
                </a:ext>
              </a:extLst>
            </p:cNvPr>
            <p:cNvSpPr/>
            <p:nvPr/>
          </p:nvSpPr>
          <p:spPr>
            <a:xfrm>
              <a:off x="827541" y="3962177"/>
              <a:ext cx="1946341" cy="1181323"/>
            </a:xfrm>
            <a:prstGeom prst="roundRect">
              <a:avLst>
                <a:gd name="adj" fmla="val 9788"/>
              </a:avLst>
            </a:prstGeom>
            <a:blipFill>
              <a:blip r:embed="rId18"/>
              <a:srcRect/>
              <a:stretch>
                <a:fillRect t="-31825" b="-87855"/>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8" name="Rounded Rectangle 47">
              <a:extLst>
                <a:ext uri="{FF2B5EF4-FFF2-40B4-BE49-F238E27FC236}">
                  <a16:creationId xmlns:a16="http://schemas.microsoft.com/office/drawing/2014/main" id="{CE80A14B-460A-E631-34AF-2639D7F0DDC3}"/>
                </a:ext>
              </a:extLst>
            </p:cNvPr>
            <p:cNvSpPr/>
            <p:nvPr/>
          </p:nvSpPr>
          <p:spPr>
            <a:xfrm>
              <a:off x="2950913" y="3962177"/>
              <a:ext cx="1946341" cy="1181323"/>
            </a:xfrm>
            <a:prstGeom prst="roundRect">
              <a:avLst>
                <a:gd name="adj" fmla="val 9788"/>
              </a:avLst>
            </a:prstGeom>
            <a:blipFill>
              <a:blip r:embed="rId19"/>
              <a:srcRect/>
              <a:stretch>
                <a:fillRect t="-4934" b="-4934"/>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49" name="Rounded Rectangle 48">
              <a:extLst>
                <a:ext uri="{FF2B5EF4-FFF2-40B4-BE49-F238E27FC236}">
                  <a16:creationId xmlns:a16="http://schemas.microsoft.com/office/drawing/2014/main" id="{38E28FC2-DABD-28BE-E837-119770C80B07}"/>
                </a:ext>
              </a:extLst>
            </p:cNvPr>
            <p:cNvSpPr/>
            <p:nvPr/>
          </p:nvSpPr>
          <p:spPr>
            <a:xfrm>
              <a:off x="5074284" y="3962177"/>
              <a:ext cx="1946341" cy="1181323"/>
            </a:xfrm>
            <a:prstGeom prst="roundRect">
              <a:avLst>
                <a:gd name="adj" fmla="val 9788"/>
              </a:avLst>
            </a:prstGeom>
            <a:blipFill>
              <a:blip r:embed="rId20"/>
              <a:srcRect/>
              <a:stretch>
                <a:fillRect t="-11785" b="-11785"/>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0" name="Rounded Rectangle 49">
              <a:extLst>
                <a:ext uri="{FF2B5EF4-FFF2-40B4-BE49-F238E27FC236}">
                  <a16:creationId xmlns:a16="http://schemas.microsoft.com/office/drawing/2014/main" id="{4354E0FD-AFBD-BFA3-FB7C-5924E2E93D60}"/>
                </a:ext>
              </a:extLst>
            </p:cNvPr>
            <p:cNvSpPr/>
            <p:nvPr/>
          </p:nvSpPr>
          <p:spPr>
            <a:xfrm>
              <a:off x="7197658" y="3962177"/>
              <a:ext cx="1946341" cy="1181323"/>
            </a:xfrm>
            <a:prstGeom prst="roundRect">
              <a:avLst>
                <a:gd name="adj" fmla="val 9788"/>
              </a:avLst>
            </a:prstGeom>
            <a:blipFill>
              <a:blip r:embed="rId21"/>
              <a:srcRect/>
              <a:stretch>
                <a:fillRect t="-4937" b="-493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55" name="Rounded Rectangle 54">
              <a:extLst>
                <a:ext uri="{FF2B5EF4-FFF2-40B4-BE49-F238E27FC236}">
                  <a16:creationId xmlns:a16="http://schemas.microsoft.com/office/drawing/2014/main" id="{A567BABE-5B69-65D2-A950-0A522A1E94C9}"/>
                </a:ext>
              </a:extLst>
            </p:cNvPr>
            <p:cNvSpPr/>
            <p:nvPr/>
          </p:nvSpPr>
          <p:spPr>
            <a:xfrm>
              <a:off x="-1273481" y="3962177"/>
              <a:ext cx="1946341" cy="1181323"/>
            </a:xfrm>
            <a:prstGeom prst="roundRect">
              <a:avLst>
                <a:gd name="adj" fmla="val 9788"/>
              </a:avLst>
            </a:prstGeom>
            <a:blipFill>
              <a:blip r:embed="rId22"/>
              <a:srcRect/>
              <a:stretch>
                <a:fillRect l="23933" t="-2363" r="-23933" b="-740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grpSp>
    </p:spTree>
    <p:extLst>
      <p:ext uri="{BB962C8B-B14F-4D97-AF65-F5344CB8AC3E}">
        <p14:creationId xmlns:p14="http://schemas.microsoft.com/office/powerpoint/2010/main" val="27057318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72957-344C-268E-8642-8F2FA1A29B1E}"/>
            </a:ext>
          </a:extLst>
        </p:cNvPr>
        <p:cNvGrpSpPr/>
        <p:nvPr/>
      </p:nvGrpSpPr>
      <p:grpSpPr>
        <a:xfrm>
          <a:off x="0" y="0"/>
          <a:ext cx="0" cy="0"/>
          <a:chOff x="0" y="0"/>
          <a:chExt cx="0" cy="0"/>
        </a:xfrm>
      </p:grpSpPr>
      <p:pic>
        <p:nvPicPr>
          <p:cNvPr id="2052" name="Picture 4" descr="Premium Photo | Telecommunication towers with radio antennas and ...">
            <a:extLst>
              <a:ext uri="{FF2B5EF4-FFF2-40B4-BE49-F238E27FC236}">
                <a16:creationId xmlns:a16="http://schemas.microsoft.com/office/drawing/2014/main" id="{419A7F56-6484-C721-0262-3818F710E065}"/>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l="33525" t="2067" r="859" b="47471"/>
          <a:stretch/>
        </p:blipFill>
        <p:spPr bwMode="auto">
          <a:xfrm>
            <a:off x="5837240" y="3417246"/>
            <a:ext cx="2850754" cy="1278579"/>
          </a:xfrm>
          <a:prstGeom prst="roundRect">
            <a:avLst>
              <a:gd name="adj" fmla="val 11317"/>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D60AA5B-AF71-7854-34E3-7BA61B230C94}"/>
              </a:ext>
            </a:extLst>
          </p:cNvPr>
          <p:cNvSpPr>
            <a:spLocks noGrp="1"/>
          </p:cNvSpPr>
          <p:nvPr>
            <p:ph type="title"/>
          </p:nvPr>
        </p:nvSpPr>
        <p:spPr>
          <a:xfrm>
            <a:off x="1226989" y="377826"/>
            <a:ext cx="7455051" cy="660092"/>
          </a:xfrm>
        </p:spPr>
        <p:txBody>
          <a:bodyPr anchor="ctr"/>
          <a:lstStyle/>
          <a:p>
            <a:r>
              <a:rPr lang="en-GB">
                <a:solidFill>
                  <a:srgbClr val="2A2234"/>
                </a:solidFill>
              </a:rPr>
              <a:t>Monetizing telco assets</a:t>
            </a:r>
          </a:p>
        </p:txBody>
      </p:sp>
      <p:sp>
        <p:nvSpPr>
          <p:cNvPr id="39" name="!!OVAL_network">
            <a:extLst>
              <a:ext uri="{FF2B5EF4-FFF2-40B4-BE49-F238E27FC236}">
                <a16:creationId xmlns:a16="http://schemas.microsoft.com/office/drawing/2014/main" id="{D111696E-0065-FCD1-12A0-21169852AB96}"/>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3" name="Text Placeholder 4">
            <a:extLst>
              <a:ext uri="{FF2B5EF4-FFF2-40B4-BE49-F238E27FC236}">
                <a16:creationId xmlns:a16="http://schemas.microsoft.com/office/drawing/2014/main" id="{34724AFA-F66F-E2D0-7C33-206376F664F3}"/>
              </a:ext>
            </a:extLst>
          </p:cNvPr>
          <p:cNvSpPr txBox="1">
            <a:spLocks/>
          </p:cNvSpPr>
          <p:nvPr/>
        </p:nvSpPr>
        <p:spPr>
          <a:xfrm>
            <a:off x="5837240" y="2450478"/>
            <a:ext cx="2844800" cy="791502"/>
          </a:xfrm>
          <a:prstGeom prst="roundRect">
            <a:avLst>
              <a:gd name="adj" fmla="val 18463"/>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buClr>
                <a:srgbClr val="5C2D91"/>
              </a:buClr>
              <a:buNone/>
              <a:defRPr/>
            </a:pPr>
            <a:r>
              <a:rPr lang="en-US" sz="1200" dirty="0">
                <a:solidFill>
                  <a:srgbClr val="141C24"/>
                </a:solidFill>
                <a:latin typeface="Proximus Light" pitchFamily="2" charset="77"/>
              </a:rPr>
              <a:t>Digital self-servicing via </a:t>
            </a:r>
            <a:r>
              <a:rPr lang="en-US" sz="1200" dirty="0">
                <a:solidFill>
                  <a:srgbClr val="141C24"/>
                </a:solidFill>
                <a:latin typeface="+mj-lt"/>
              </a:rPr>
              <a:t>APIs</a:t>
            </a:r>
            <a:endParaRPr lang="en-US" sz="1200" b="1" dirty="0">
              <a:solidFill>
                <a:srgbClr val="141C24"/>
              </a:solidFill>
              <a:latin typeface="+mj-lt"/>
            </a:endParaRPr>
          </a:p>
        </p:txBody>
      </p:sp>
      <p:pic>
        <p:nvPicPr>
          <p:cNvPr id="5" name="Graphic 4">
            <a:extLst>
              <a:ext uri="{FF2B5EF4-FFF2-40B4-BE49-F238E27FC236}">
                <a16:creationId xmlns:a16="http://schemas.microsoft.com/office/drawing/2014/main" id="{53E5FED7-7474-549C-04DF-BC6A034400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3696" y="488944"/>
            <a:ext cx="381000" cy="419100"/>
          </a:xfrm>
          <a:prstGeom prst="rect">
            <a:avLst/>
          </a:prstGeom>
        </p:spPr>
      </p:pic>
      <p:sp>
        <p:nvSpPr>
          <p:cNvPr id="11" name="Text Placeholder 4">
            <a:extLst>
              <a:ext uri="{FF2B5EF4-FFF2-40B4-BE49-F238E27FC236}">
                <a16:creationId xmlns:a16="http://schemas.microsoft.com/office/drawing/2014/main" id="{348B6AA9-B9E6-C798-4B9A-2DE28C49B479}"/>
              </a:ext>
            </a:extLst>
          </p:cNvPr>
          <p:cNvSpPr txBox="1">
            <a:spLocks/>
          </p:cNvSpPr>
          <p:nvPr/>
        </p:nvSpPr>
        <p:spPr>
          <a:xfrm>
            <a:off x="460375" y="3417246"/>
            <a:ext cx="2310842" cy="786694"/>
          </a:xfrm>
          <a:prstGeom prst="roundRect">
            <a:avLst>
              <a:gd name="adj" fmla="val 15778"/>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buClr>
                <a:srgbClr val="5C2D91"/>
              </a:buClr>
              <a:buNone/>
              <a:defRPr/>
            </a:pPr>
            <a:r>
              <a:rPr lang="en-US" sz="1200">
                <a:solidFill>
                  <a:srgbClr val="141C24"/>
                </a:solidFill>
                <a:latin typeface="Proximus Light" pitchFamily="2" charset="77"/>
              </a:rPr>
              <a:t>Network </a:t>
            </a:r>
            <a:r>
              <a:rPr lang="en-US" sz="1200">
                <a:solidFill>
                  <a:srgbClr val="141C24"/>
                </a:solidFill>
                <a:latin typeface="+mj-lt"/>
              </a:rPr>
              <a:t>virtualization</a:t>
            </a:r>
          </a:p>
        </p:txBody>
      </p:sp>
      <p:sp>
        <p:nvSpPr>
          <p:cNvPr id="12" name="Text Placeholder 4">
            <a:extLst>
              <a:ext uri="{FF2B5EF4-FFF2-40B4-BE49-F238E27FC236}">
                <a16:creationId xmlns:a16="http://schemas.microsoft.com/office/drawing/2014/main" id="{DFCADBF7-0D70-140A-5B1A-5B2CA66A227D}"/>
              </a:ext>
            </a:extLst>
          </p:cNvPr>
          <p:cNvSpPr txBox="1">
            <a:spLocks/>
          </p:cNvSpPr>
          <p:nvPr/>
        </p:nvSpPr>
        <p:spPr>
          <a:xfrm>
            <a:off x="460376" y="2455286"/>
            <a:ext cx="2310842" cy="786694"/>
          </a:xfrm>
          <a:prstGeom prst="roundRect">
            <a:avLst>
              <a:gd name="adj" fmla="val 1793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buClr>
                <a:srgbClr val="5C2D91"/>
              </a:buClr>
              <a:buNone/>
              <a:defRPr/>
            </a:pPr>
            <a:r>
              <a:rPr lang="en-US" sz="1200">
                <a:solidFill>
                  <a:srgbClr val="141C24"/>
                </a:solidFill>
                <a:latin typeface="Proximus Light" pitchFamily="2" charset="77"/>
              </a:rPr>
              <a:t>Physical network </a:t>
            </a:r>
            <a:r>
              <a:rPr lang="en-US" sz="1200">
                <a:solidFill>
                  <a:srgbClr val="141C24"/>
                </a:solidFill>
                <a:latin typeface="+mj-lt"/>
              </a:rPr>
              <a:t>device mgt as a Service</a:t>
            </a:r>
          </a:p>
        </p:txBody>
      </p:sp>
      <p:sp>
        <p:nvSpPr>
          <p:cNvPr id="6" name="Text Placeholder 4">
            <a:extLst>
              <a:ext uri="{FF2B5EF4-FFF2-40B4-BE49-F238E27FC236}">
                <a16:creationId xmlns:a16="http://schemas.microsoft.com/office/drawing/2014/main" id="{0B842E65-D1E1-36A0-575C-E10EF9177FA4}"/>
              </a:ext>
            </a:extLst>
          </p:cNvPr>
          <p:cNvSpPr txBox="1">
            <a:spLocks/>
          </p:cNvSpPr>
          <p:nvPr/>
        </p:nvSpPr>
        <p:spPr>
          <a:xfrm>
            <a:off x="2976961" y="3417246"/>
            <a:ext cx="2310842" cy="786694"/>
          </a:xfrm>
          <a:prstGeom prst="roundRect">
            <a:avLst>
              <a:gd name="adj" fmla="val 16854"/>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buClr>
                <a:srgbClr val="5C2D91"/>
              </a:buClr>
              <a:buNone/>
              <a:defRPr/>
            </a:pPr>
            <a:r>
              <a:rPr lang="en-US" sz="1200">
                <a:solidFill>
                  <a:srgbClr val="141C24"/>
                </a:solidFill>
                <a:latin typeface="+mj-lt"/>
              </a:rPr>
              <a:t>Retrieve info </a:t>
            </a:r>
            <a:r>
              <a:rPr lang="en-US" sz="1200">
                <a:solidFill>
                  <a:srgbClr val="141C24"/>
                </a:solidFill>
                <a:latin typeface="Proximus Light" pitchFamily="2" charset="77"/>
              </a:rPr>
              <a:t>from the network</a:t>
            </a:r>
          </a:p>
        </p:txBody>
      </p:sp>
      <p:sp>
        <p:nvSpPr>
          <p:cNvPr id="14" name="Text Placeholder 4">
            <a:extLst>
              <a:ext uri="{FF2B5EF4-FFF2-40B4-BE49-F238E27FC236}">
                <a16:creationId xmlns:a16="http://schemas.microsoft.com/office/drawing/2014/main" id="{D4540A08-6E27-C723-35D0-5517138F27F8}"/>
              </a:ext>
            </a:extLst>
          </p:cNvPr>
          <p:cNvSpPr txBox="1">
            <a:spLocks/>
          </p:cNvSpPr>
          <p:nvPr/>
        </p:nvSpPr>
        <p:spPr>
          <a:xfrm>
            <a:off x="2976962" y="2455286"/>
            <a:ext cx="2310842" cy="786694"/>
          </a:xfrm>
          <a:prstGeom prst="roundRect">
            <a:avLst>
              <a:gd name="adj" fmla="val 17930"/>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914241">
              <a:spcBef>
                <a:spcPts val="450"/>
              </a:spcBef>
              <a:buClr>
                <a:srgbClr val="5C2D91"/>
              </a:buClr>
              <a:buNone/>
              <a:defRPr/>
            </a:pPr>
            <a:r>
              <a:rPr lang="en-US" sz="1200">
                <a:solidFill>
                  <a:srgbClr val="141C24"/>
                </a:solidFill>
                <a:latin typeface="Proximus Light" pitchFamily="2" charset="77"/>
              </a:rPr>
              <a:t>Network </a:t>
            </a:r>
            <a:r>
              <a:rPr lang="en-US" sz="1200">
                <a:solidFill>
                  <a:srgbClr val="141C24"/>
                </a:solidFill>
                <a:latin typeface="+mj-lt"/>
              </a:rPr>
              <a:t>on demand</a:t>
            </a:r>
          </a:p>
        </p:txBody>
      </p:sp>
      <p:sp>
        <p:nvSpPr>
          <p:cNvPr id="15" name="TextBox 10">
            <a:extLst>
              <a:ext uri="{FF2B5EF4-FFF2-40B4-BE49-F238E27FC236}">
                <a16:creationId xmlns:a16="http://schemas.microsoft.com/office/drawing/2014/main" id="{02D5F2D0-A83E-C06B-0BDA-C4046F4FB42C}"/>
              </a:ext>
            </a:extLst>
          </p:cNvPr>
          <p:cNvSpPr txBox="1"/>
          <p:nvPr/>
        </p:nvSpPr>
        <p:spPr>
          <a:xfrm>
            <a:off x="5837240" y="1508835"/>
            <a:ext cx="2844800" cy="502636"/>
          </a:xfrm>
          <a:prstGeom prst="roundRect">
            <a:avLst>
              <a:gd name="adj" fmla="val 26910"/>
            </a:avLst>
          </a:prstGeom>
          <a:gradFill>
            <a:gsLst>
              <a:gs pos="0">
                <a:srgbClr val="5C2D91"/>
              </a:gs>
              <a:gs pos="99000">
                <a:schemeClr val="accent4"/>
              </a:gs>
            </a:gsLst>
            <a:lin ang="0" scaled="0"/>
          </a:grad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pPr algn="ctr" defTabSz="685800"/>
            <a:r>
              <a:rPr lang="en-US" sz="1050" b="0" dirty="0">
                <a:solidFill>
                  <a:srgbClr val="FFFFFF"/>
                </a:solidFill>
                <a:latin typeface="Proximus Light" pitchFamily="2" charset="77"/>
              </a:rPr>
              <a:t>Enhanced customer XP</a:t>
            </a:r>
          </a:p>
        </p:txBody>
      </p:sp>
      <p:sp>
        <p:nvSpPr>
          <p:cNvPr id="16" name="TextBox 10">
            <a:extLst>
              <a:ext uri="{FF2B5EF4-FFF2-40B4-BE49-F238E27FC236}">
                <a16:creationId xmlns:a16="http://schemas.microsoft.com/office/drawing/2014/main" id="{F028B540-EA17-CCC8-8C7A-472EE6EE0316}"/>
              </a:ext>
            </a:extLst>
          </p:cNvPr>
          <p:cNvSpPr txBox="1"/>
          <p:nvPr/>
        </p:nvSpPr>
        <p:spPr>
          <a:xfrm>
            <a:off x="462196" y="1528270"/>
            <a:ext cx="4848003" cy="502636"/>
          </a:xfrm>
          <a:prstGeom prst="roundRect">
            <a:avLst>
              <a:gd name="adj" fmla="val 27511"/>
            </a:avLst>
          </a:prstGeom>
          <a:gradFill>
            <a:gsLst>
              <a:gs pos="0">
                <a:srgbClr val="5C2D91"/>
              </a:gs>
              <a:gs pos="99000">
                <a:schemeClr val="accent4"/>
              </a:gs>
            </a:gsLst>
            <a:lin ang="0" scaled="0"/>
          </a:gradFill>
          <a:ln w="12700">
            <a:noFill/>
          </a:ln>
        </p:spPr>
        <p:txBody>
          <a:bodyPr wrap="square" lIns="54000" tIns="27000" rIns="54000" bIns="27000" anchor="ctr">
            <a:noAutofit/>
          </a:bodyPr>
          <a:lstStyle>
            <a:defPPr>
              <a:defRPr lang="en-US"/>
            </a:defPPr>
            <a:lvl1pPr>
              <a:defRPr b="1">
                <a:latin typeface="Calibri" panose="020F0502020204030204" pitchFamily="34" charset="0"/>
                <a:ea typeface="Aptos" panose="020B0004020202020204" pitchFamily="34" charset="0"/>
                <a:cs typeface="Aptos" panose="020B0004020202020204" pitchFamily="34" charset="0"/>
              </a:defRPr>
            </a:lvl1pPr>
          </a:lstStyle>
          <a:p>
            <a:pPr algn="ctr" defTabSz="685800"/>
            <a:r>
              <a:rPr lang="en-US" sz="1050" b="0">
                <a:solidFill>
                  <a:srgbClr val="FFFFFF"/>
                </a:solidFill>
                <a:latin typeface="Proximus Light" pitchFamily="2" charset="77"/>
              </a:rPr>
              <a:t>New business opportunities</a:t>
            </a:r>
          </a:p>
        </p:txBody>
      </p:sp>
      <p:pic>
        <p:nvPicPr>
          <p:cNvPr id="17" name="Graphic 16">
            <a:extLst>
              <a:ext uri="{FF2B5EF4-FFF2-40B4-BE49-F238E27FC236}">
                <a16:creationId xmlns:a16="http://schemas.microsoft.com/office/drawing/2014/main" id="{6C11E653-D26C-B626-D58A-516F32AEB83D}"/>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rot="5400000">
            <a:off x="7196248" y="2128302"/>
            <a:ext cx="126784" cy="205744"/>
          </a:xfrm>
          <a:prstGeom prst="rect">
            <a:avLst/>
          </a:prstGeom>
        </p:spPr>
      </p:pic>
      <p:pic>
        <p:nvPicPr>
          <p:cNvPr id="18" name="Graphic 17">
            <a:extLst>
              <a:ext uri="{FF2B5EF4-FFF2-40B4-BE49-F238E27FC236}">
                <a16:creationId xmlns:a16="http://schemas.microsoft.com/office/drawing/2014/main" id="{55DB6510-710C-ED47-4146-37F136F90096}"/>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rot="5400000">
            <a:off x="2822805" y="2128302"/>
            <a:ext cx="126784" cy="205744"/>
          </a:xfrm>
          <a:prstGeom prst="rect">
            <a:avLst/>
          </a:prstGeom>
        </p:spPr>
      </p:pic>
      <p:pic>
        <p:nvPicPr>
          <p:cNvPr id="19" name="customer first">
            <a:extLst>
              <a:ext uri="{FF2B5EF4-FFF2-40B4-BE49-F238E27FC236}">
                <a16:creationId xmlns:a16="http://schemas.microsoft.com/office/drawing/2014/main" id="{61277B3F-95E8-1684-0E0F-24FD0B83B1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75487" y="1583772"/>
            <a:ext cx="185008" cy="334777"/>
          </a:xfrm>
          <a:prstGeom prst="rect">
            <a:avLst/>
          </a:prstGeom>
        </p:spPr>
      </p:pic>
      <p:pic>
        <p:nvPicPr>
          <p:cNvPr id="20" name="accountability">
            <a:extLst>
              <a:ext uri="{FF2B5EF4-FFF2-40B4-BE49-F238E27FC236}">
                <a16:creationId xmlns:a16="http://schemas.microsoft.com/office/drawing/2014/main" id="{24C519C7-A6B7-E005-870B-F34223559E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12492" y="1623710"/>
            <a:ext cx="299260" cy="291385"/>
          </a:xfrm>
          <a:prstGeom prst="rect">
            <a:avLst/>
          </a:prstGeom>
        </p:spPr>
      </p:pic>
      <p:sp>
        <p:nvSpPr>
          <p:cNvPr id="21" name="Title 31">
            <a:extLst>
              <a:ext uri="{FF2B5EF4-FFF2-40B4-BE49-F238E27FC236}">
                <a16:creationId xmlns:a16="http://schemas.microsoft.com/office/drawing/2014/main" id="{AFC31FF0-7DF9-9663-8E1F-364165D1C26B}"/>
              </a:ext>
            </a:extLst>
          </p:cNvPr>
          <p:cNvSpPr txBox="1">
            <a:spLocks/>
          </p:cNvSpPr>
          <p:nvPr/>
        </p:nvSpPr>
        <p:spPr>
          <a:xfrm>
            <a:off x="1226989" y="1031871"/>
            <a:ext cx="7453461" cy="496399"/>
          </a:xfrm>
          <a:prstGeom prst="rect">
            <a:avLst/>
          </a:prstGeom>
        </p:spPr>
        <p:txBody>
          <a:bodyPr vert="horz" lIns="0" tIns="0" rIns="0" bIns="0" rtlCol="0" anchor="ctr" anchorCtr="0">
            <a:noAutofit/>
          </a:bodyPr>
          <a:lstStyle>
            <a:lvl1pPr algn="l" defTabSz="914287" rtl="0" eaLnBrk="1" latinLnBrk="0" hangingPunct="1">
              <a:spcBef>
                <a:spcPct val="0"/>
              </a:spcBef>
              <a:buNone/>
              <a:defRPr sz="2599" b="1" i="0" kern="1200">
                <a:solidFill>
                  <a:srgbClr val="141C24"/>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400" b="0" dirty="0">
                <a:latin typeface="Proximus Light" pitchFamily="2" charset="77"/>
              </a:rPr>
              <a:t>NBU is transforming into the </a:t>
            </a:r>
            <a:r>
              <a:rPr lang="en-US" sz="1400" b="0" dirty="0">
                <a:latin typeface="+mj-lt"/>
              </a:rPr>
              <a:t>leading </a:t>
            </a:r>
            <a:r>
              <a:rPr lang="en-US" sz="1400" b="0" dirty="0" err="1">
                <a:latin typeface="+mj-lt"/>
              </a:rPr>
              <a:t>NaaS</a:t>
            </a:r>
            <a:r>
              <a:rPr lang="en-US" sz="1400" b="0" dirty="0">
                <a:latin typeface="+mj-lt"/>
              </a:rPr>
              <a:t> provider </a:t>
            </a:r>
            <a:r>
              <a:rPr lang="en-US" sz="1400" b="0" dirty="0">
                <a:latin typeface="Proximus Light" pitchFamily="2" charset="77"/>
              </a:rPr>
              <a:t>in Belgium</a:t>
            </a:r>
          </a:p>
        </p:txBody>
      </p:sp>
    </p:spTree>
    <p:extLst>
      <p:ext uri="{BB962C8B-B14F-4D97-AF65-F5344CB8AC3E}">
        <p14:creationId xmlns:p14="http://schemas.microsoft.com/office/powerpoint/2010/main" val="27124193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DA230-43BD-E407-D548-76F73D9A4056}"/>
            </a:ext>
          </a:extLst>
        </p:cNvPr>
        <p:cNvGrpSpPr/>
        <p:nvPr/>
      </p:nvGrpSpPr>
      <p:grpSpPr>
        <a:xfrm>
          <a:off x="0" y="0"/>
          <a:ext cx="0" cy="0"/>
          <a:chOff x="0" y="0"/>
          <a:chExt cx="0" cy="0"/>
        </a:xfrm>
      </p:grpSpPr>
      <p:sp>
        <p:nvSpPr>
          <p:cNvPr id="3" name="Text Placeholder 4">
            <a:extLst>
              <a:ext uri="{FF2B5EF4-FFF2-40B4-BE49-F238E27FC236}">
                <a16:creationId xmlns:a16="http://schemas.microsoft.com/office/drawing/2014/main" id="{601F0F9D-08E3-F8F5-743F-CA7F75B664AD}"/>
              </a:ext>
            </a:extLst>
          </p:cNvPr>
          <p:cNvSpPr txBox="1">
            <a:spLocks/>
          </p:cNvSpPr>
          <p:nvPr/>
        </p:nvSpPr>
        <p:spPr>
          <a:xfrm>
            <a:off x="460375" y="1393460"/>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4"/>
                    </a:gs>
                  </a:gsLst>
                  <a:lin ang="3000000" scaled="0"/>
                </a:gradFill>
                <a:latin typeface="Proximus ExtraBold" pitchFamily="2" charset="77"/>
              </a:rPr>
              <a:t>1</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Launch new </a:t>
            </a:r>
            <a:br>
              <a:rPr lang="en-US" sz="1100">
                <a:solidFill>
                  <a:srgbClr val="141C24"/>
                </a:solidFill>
                <a:latin typeface="Proximus Light" pitchFamily="2" charset="77"/>
              </a:rPr>
            </a:br>
            <a:r>
              <a:rPr lang="en-US" sz="1100" b="1">
                <a:solidFill>
                  <a:srgbClr val="141C24"/>
                </a:solidFill>
                <a:latin typeface="Proximus ExtraBold" pitchFamily="2" charset="77"/>
              </a:rPr>
              <a:t>Carrier Ethernet connectivity (</a:t>
            </a:r>
            <a:r>
              <a:rPr lang="en-US" sz="1100" b="1" err="1">
                <a:solidFill>
                  <a:srgbClr val="141C24"/>
                </a:solidFill>
                <a:latin typeface="Proximus ExtraBold" pitchFamily="2" charset="77"/>
              </a:rPr>
              <a:t>eAccess</a:t>
            </a:r>
            <a:r>
              <a:rPr lang="en-US" sz="1100" b="1">
                <a:solidFill>
                  <a:srgbClr val="141C24"/>
                </a:solidFill>
                <a:latin typeface="Proximus ExtraBold" pitchFamily="2" charset="77"/>
              </a:rPr>
              <a:t>)</a:t>
            </a:r>
            <a:endParaRPr lang="en-US" sz="1100" b="1">
              <a:solidFill>
                <a:srgbClr val="141C24"/>
              </a:solidFill>
              <a:latin typeface="Proximus Light" pitchFamily="2" charset="77"/>
            </a:endParaRP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Quotations &amp; ordering through industry-standard APIs (MEF LSO APIs)</a:t>
            </a:r>
            <a:endParaRPr lang="en-US" sz="1100" b="1">
              <a:solidFill>
                <a:srgbClr val="141C24"/>
              </a:solidFill>
              <a:latin typeface="Proximus ExtraBold" pitchFamily="2" charset="77"/>
            </a:endParaRPr>
          </a:p>
        </p:txBody>
      </p:sp>
      <p:sp>
        <p:nvSpPr>
          <p:cNvPr id="4" name="Text Placeholder 4">
            <a:extLst>
              <a:ext uri="{FF2B5EF4-FFF2-40B4-BE49-F238E27FC236}">
                <a16:creationId xmlns:a16="http://schemas.microsoft.com/office/drawing/2014/main" id="{4F53A001-66AD-AD1A-828E-550677C6869F}"/>
              </a:ext>
            </a:extLst>
          </p:cNvPr>
          <p:cNvSpPr txBox="1">
            <a:spLocks/>
          </p:cNvSpPr>
          <p:nvPr/>
        </p:nvSpPr>
        <p:spPr>
          <a:xfrm>
            <a:off x="2572320"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4"/>
                    </a:gs>
                  </a:gsLst>
                  <a:lin ang="3000000" scaled="0"/>
                </a:gradFill>
                <a:latin typeface="Proximus ExtraBold"/>
              </a:rPr>
              <a:t>2</a:t>
            </a:r>
            <a:endParaRPr lang="en-US" sz="1200" b="1">
              <a:gradFill>
                <a:gsLst>
                  <a:gs pos="0">
                    <a:schemeClr val="bg1"/>
                  </a:gs>
                  <a:gs pos="100000">
                    <a:schemeClr val="accent4"/>
                  </a:gs>
                </a:gsLst>
                <a:lin ang="3000000" scaled="0"/>
              </a:gradFill>
              <a:latin typeface="Proximus ExtraBold"/>
            </a:endParaRP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a:rPr>
              <a:t>Launch </a:t>
            </a:r>
            <a:r>
              <a:rPr lang="en-US" sz="1100" b="1">
                <a:solidFill>
                  <a:srgbClr val="141C24"/>
                </a:solidFill>
                <a:latin typeface="Proximus ExtraBold"/>
              </a:rPr>
              <a:t>universal CPE </a:t>
            </a:r>
            <a:r>
              <a:rPr lang="en-US" sz="1100">
                <a:solidFill>
                  <a:srgbClr val="141C24"/>
                </a:solidFill>
                <a:latin typeface="Proximus Light" pitchFamily="2" charset="77"/>
              </a:rPr>
              <a:t>virtualizing multiple network functions on a single hardware</a:t>
            </a:r>
          </a:p>
          <a:p>
            <a:pPr marL="0" indent="0" defTabSz="914241">
              <a:lnSpc>
                <a:spcPct val="110000"/>
              </a:lnSpc>
              <a:spcBef>
                <a:spcPts val="0"/>
              </a:spcBef>
              <a:spcAft>
                <a:spcPts val="1200"/>
              </a:spcAft>
              <a:buNone/>
              <a:defRPr/>
            </a:pPr>
            <a:r>
              <a:rPr lang="en-US" sz="1100">
                <a:solidFill>
                  <a:srgbClr val="141C24"/>
                </a:solidFill>
                <a:latin typeface="Proximus Light" pitchFamily="2" charset="77"/>
              </a:rPr>
              <a:t>and </a:t>
            </a:r>
            <a:r>
              <a:rPr lang="en-US" sz="1100">
                <a:solidFill>
                  <a:srgbClr val="141C24"/>
                </a:solidFill>
                <a:latin typeface="Proximus ExtraBold"/>
              </a:rPr>
              <a:t>Marketplace</a:t>
            </a:r>
            <a:r>
              <a:rPr lang="en-US" sz="1100">
                <a:solidFill>
                  <a:srgbClr val="141C24"/>
                </a:solidFill>
                <a:latin typeface="Proximus Light" pitchFamily="2" charset="77"/>
              </a:rPr>
              <a:t> to order &amp; deploy Virtual Network Functions </a:t>
            </a:r>
          </a:p>
        </p:txBody>
      </p:sp>
      <p:sp>
        <p:nvSpPr>
          <p:cNvPr id="2" name="Title 1">
            <a:extLst>
              <a:ext uri="{FF2B5EF4-FFF2-40B4-BE49-F238E27FC236}">
                <a16:creationId xmlns:a16="http://schemas.microsoft.com/office/drawing/2014/main" id="{5BC7DE9B-B7EB-130D-A779-F5D2965B16E7}"/>
              </a:ext>
            </a:extLst>
          </p:cNvPr>
          <p:cNvSpPr>
            <a:spLocks noGrp="1"/>
          </p:cNvSpPr>
          <p:nvPr>
            <p:ph type="title"/>
          </p:nvPr>
        </p:nvSpPr>
        <p:spPr>
          <a:xfrm>
            <a:off x="1226989" y="377826"/>
            <a:ext cx="7455051" cy="660092"/>
          </a:xfrm>
        </p:spPr>
        <p:txBody>
          <a:bodyPr anchor="ctr"/>
          <a:lstStyle/>
          <a:p>
            <a:r>
              <a:rPr lang="en-GB">
                <a:solidFill>
                  <a:srgbClr val="2A2234"/>
                </a:solidFill>
              </a:rPr>
              <a:t>Monetizing telco assets </a:t>
            </a:r>
            <a:r>
              <a:rPr lang="en-GB" b="0">
                <a:solidFill>
                  <a:srgbClr val="2A2234"/>
                </a:solidFill>
                <a:latin typeface="Proximus Light" pitchFamily="2" charset="77"/>
              </a:rPr>
              <a:t>in </a:t>
            </a:r>
            <a:r>
              <a:rPr lang="en-BE" b="0">
                <a:solidFill>
                  <a:srgbClr val="2A2234"/>
                </a:solidFill>
                <a:latin typeface="Proximus Light" pitchFamily="2" charset="77"/>
              </a:rPr>
              <a:t>2025</a:t>
            </a:r>
            <a:endParaRPr lang="en-GB">
              <a:solidFill>
                <a:srgbClr val="2A2234"/>
              </a:solidFill>
            </a:endParaRPr>
          </a:p>
        </p:txBody>
      </p:sp>
      <p:sp>
        <p:nvSpPr>
          <p:cNvPr id="39" name="!!OVAL_network">
            <a:extLst>
              <a:ext uri="{FF2B5EF4-FFF2-40B4-BE49-F238E27FC236}">
                <a16:creationId xmlns:a16="http://schemas.microsoft.com/office/drawing/2014/main" id="{A4D46C15-8247-5039-E0A6-1F0806302523}"/>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7" name="Text Placeholder 4">
            <a:extLst>
              <a:ext uri="{FF2B5EF4-FFF2-40B4-BE49-F238E27FC236}">
                <a16:creationId xmlns:a16="http://schemas.microsoft.com/office/drawing/2014/main" id="{FDE0ACF3-38D4-F45B-083A-7EAE77171D24}"/>
              </a:ext>
            </a:extLst>
          </p:cNvPr>
          <p:cNvSpPr txBox="1">
            <a:spLocks/>
          </p:cNvSpPr>
          <p:nvPr/>
        </p:nvSpPr>
        <p:spPr>
          <a:xfrm>
            <a:off x="4694677" y="1387107"/>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4"/>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Develop</a:t>
            </a:r>
            <a:r>
              <a:rPr lang="en-US" sz="1100" b="1">
                <a:solidFill>
                  <a:srgbClr val="141C24"/>
                </a:solidFill>
                <a:latin typeface="Proximus ExtraBold" pitchFamily="2" charset="77"/>
              </a:rPr>
              <a:t> POC of network on demand </a:t>
            </a:r>
            <a:r>
              <a:rPr lang="en-US" sz="1100">
                <a:solidFill>
                  <a:srgbClr val="141C24"/>
                </a:solidFill>
                <a:latin typeface="Proximus Light" pitchFamily="2" charset="77"/>
              </a:rPr>
              <a:t>use cases </a:t>
            </a:r>
          </a:p>
        </p:txBody>
      </p:sp>
      <p:sp>
        <p:nvSpPr>
          <p:cNvPr id="8" name="Text Placeholder 4">
            <a:extLst>
              <a:ext uri="{FF2B5EF4-FFF2-40B4-BE49-F238E27FC236}">
                <a16:creationId xmlns:a16="http://schemas.microsoft.com/office/drawing/2014/main" id="{44DD251B-A837-1A42-64C6-919D01E3E2B6}"/>
              </a:ext>
            </a:extLst>
          </p:cNvPr>
          <p:cNvSpPr txBox="1">
            <a:spLocks/>
          </p:cNvSpPr>
          <p:nvPr/>
        </p:nvSpPr>
        <p:spPr>
          <a:xfrm>
            <a:off x="6796210" y="1387107"/>
            <a:ext cx="1884240" cy="2015329"/>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72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4"/>
                    </a:gs>
                  </a:gsLst>
                  <a:lin ang="3000000" scaled="0"/>
                </a:gradFill>
                <a:latin typeface="Proximus ExtraBold" pitchFamily="2" charset="77"/>
              </a:rPr>
              <a:t>4</a:t>
            </a:r>
          </a:p>
          <a:p>
            <a:pPr marL="0" indent="0" defTabSz="914241">
              <a:lnSpc>
                <a:spcPct val="110000"/>
              </a:lnSpc>
              <a:spcBef>
                <a:spcPts val="0"/>
              </a:spcBef>
              <a:spcAft>
                <a:spcPts val="1200"/>
              </a:spcAft>
              <a:buClr>
                <a:srgbClr val="5C2D91"/>
              </a:buClr>
              <a:buNone/>
              <a:defRPr/>
            </a:pPr>
            <a:r>
              <a:rPr lang="en-US" sz="1100" dirty="0">
                <a:solidFill>
                  <a:srgbClr val="141C24"/>
                </a:solidFill>
                <a:latin typeface="Proximus Light" pitchFamily="2" charset="77"/>
              </a:rPr>
              <a:t>Provide industry standard </a:t>
            </a:r>
            <a:r>
              <a:rPr lang="en-US" sz="1100" b="1" dirty="0">
                <a:solidFill>
                  <a:srgbClr val="141C24"/>
                </a:solidFill>
                <a:latin typeface="Proximus ExtraBold" pitchFamily="2" charset="77"/>
              </a:rPr>
              <a:t>APIs to retrieve network info</a:t>
            </a:r>
            <a:endParaRPr lang="en-US" sz="1100" dirty="0">
              <a:solidFill>
                <a:srgbClr val="141C24"/>
              </a:solidFill>
              <a:latin typeface="Proximus Light" pitchFamily="2" charset="77"/>
            </a:endParaRPr>
          </a:p>
        </p:txBody>
      </p:sp>
      <p:pic>
        <p:nvPicPr>
          <p:cNvPr id="11" name="Graphic 10">
            <a:extLst>
              <a:ext uri="{FF2B5EF4-FFF2-40B4-BE49-F238E27FC236}">
                <a16:creationId xmlns:a16="http://schemas.microsoft.com/office/drawing/2014/main" id="{868219CB-F8CF-578A-CBB8-B08F0FAD79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3696" y="488944"/>
            <a:ext cx="381000" cy="419100"/>
          </a:xfrm>
          <a:prstGeom prst="rect">
            <a:avLst/>
          </a:prstGeom>
        </p:spPr>
      </p:pic>
      <p:pic>
        <p:nvPicPr>
          <p:cNvPr id="1026" name="Picture 2" descr="Mef Logos">
            <a:extLst>
              <a:ext uri="{FF2B5EF4-FFF2-40B4-BE49-F238E27FC236}">
                <a16:creationId xmlns:a16="http://schemas.microsoft.com/office/drawing/2014/main" id="{5BA7F970-F186-4A6D-9114-C7644CC79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5146" y="4103409"/>
            <a:ext cx="614698" cy="368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0A2C96EE-EE2E-B1D8-473A-A4FBACBFA93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16" t="27745" r="13459" b="29158"/>
          <a:stretch/>
        </p:blipFill>
        <p:spPr bwMode="auto">
          <a:xfrm>
            <a:off x="2979386" y="4020579"/>
            <a:ext cx="1165437" cy="533959"/>
          </a:xfrm>
          <a:prstGeom prst="rect">
            <a:avLst/>
          </a:prstGeom>
          <a:noFill/>
          <a:extLst>
            <a:ext uri="{909E8E84-426E-40DD-AFC4-6F175D3DCCD1}">
              <a14:hiddenFill xmlns:a14="http://schemas.microsoft.com/office/drawing/2010/main">
                <a:solidFill>
                  <a:srgbClr val="FFFFFF"/>
                </a:solidFill>
              </a14:hiddenFill>
            </a:ext>
          </a:extLst>
        </p:spPr>
      </p:pic>
      <p:pic>
        <p:nvPicPr>
          <p:cNvPr id="22" name="Graphic 21">
            <a:extLst>
              <a:ext uri="{FF2B5EF4-FFF2-40B4-BE49-F238E27FC236}">
                <a16:creationId xmlns:a16="http://schemas.microsoft.com/office/drawing/2014/main" id="{1C65B232-5C45-3072-B9A3-AA0BA01590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34230" y="4119979"/>
            <a:ext cx="605134" cy="351730"/>
          </a:xfrm>
          <a:prstGeom prst="rect">
            <a:avLst/>
          </a:prstGeom>
        </p:spPr>
      </p:pic>
      <p:sp>
        <p:nvSpPr>
          <p:cNvPr id="5" name="Rounded Rectangle 4">
            <a:extLst>
              <a:ext uri="{FF2B5EF4-FFF2-40B4-BE49-F238E27FC236}">
                <a16:creationId xmlns:a16="http://schemas.microsoft.com/office/drawing/2014/main" id="{7861C424-9231-BBFD-B710-3EE29C46F9DE}"/>
              </a:ext>
            </a:extLst>
          </p:cNvPr>
          <p:cNvSpPr/>
          <p:nvPr/>
        </p:nvSpPr>
        <p:spPr>
          <a:xfrm>
            <a:off x="6805615" y="3623073"/>
            <a:ext cx="1884240" cy="2015329"/>
          </a:xfrm>
          <a:prstGeom prst="roundRect">
            <a:avLst>
              <a:gd name="adj" fmla="val 10110"/>
            </a:avLst>
          </a:prstGeom>
          <a:blipFill>
            <a:blip r:embed="rId9"/>
            <a:srcRect/>
            <a:stretch>
              <a:fillRect l="-26931" r="-32638" b="18253"/>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218388"/>
            <a:endParaRPr lang="en-BE" sz="1400">
              <a:solidFill>
                <a:srgbClr val="FFFFFF"/>
              </a:solidFill>
              <a:latin typeface="Proximus Bold" panose="00000500000000000000" pitchFamily="2" charset="0"/>
              <a:cs typeface="Proximus Bold"/>
            </a:endParaRPr>
          </a:p>
        </p:txBody>
      </p:sp>
    </p:spTree>
    <p:extLst>
      <p:ext uri="{BB962C8B-B14F-4D97-AF65-F5344CB8AC3E}">
        <p14:creationId xmlns:p14="http://schemas.microsoft.com/office/powerpoint/2010/main" val="12232426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E2F2C-66BD-45D9-1DA0-33B9629831B0}"/>
            </a:ext>
          </a:extLst>
        </p:cNvPr>
        <p:cNvGrpSpPr/>
        <p:nvPr/>
      </p:nvGrpSpPr>
      <p:grpSpPr>
        <a:xfrm>
          <a:off x="0" y="0"/>
          <a:ext cx="0" cy="0"/>
          <a:chOff x="0" y="0"/>
          <a:chExt cx="0" cy="0"/>
        </a:xfrm>
      </p:grpSpPr>
      <p:pic>
        <p:nvPicPr>
          <p:cNvPr id="7" name="Picture 6" descr="A person and person sitting on a table&#10;&#10;Description automatically generated">
            <a:extLst>
              <a:ext uri="{FF2B5EF4-FFF2-40B4-BE49-F238E27FC236}">
                <a16:creationId xmlns:a16="http://schemas.microsoft.com/office/drawing/2014/main" id="{BCB0F500-690E-C7FA-1286-132084E33757}"/>
              </a:ext>
            </a:extLst>
          </p:cNvPr>
          <p:cNvPicPr>
            <a:picLocks noChangeAspect="1"/>
          </p:cNvPicPr>
          <p:nvPr/>
        </p:nvPicPr>
        <p:blipFill>
          <a:blip r:embed="rId3"/>
          <a:stretch>
            <a:fillRect/>
          </a:stretch>
        </p:blipFill>
        <p:spPr>
          <a:xfrm>
            <a:off x="0" y="0"/>
            <a:ext cx="9144000" cy="5143500"/>
          </a:xfrm>
          <a:prstGeom prst="rect">
            <a:avLst/>
          </a:prstGeom>
        </p:spPr>
      </p:pic>
      <p:pic>
        <p:nvPicPr>
          <p:cNvPr id="10" name="Graphic 9">
            <a:extLst>
              <a:ext uri="{FF2B5EF4-FFF2-40B4-BE49-F238E27FC236}">
                <a16:creationId xmlns:a16="http://schemas.microsoft.com/office/drawing/2014/main" id="{5FD2830C-C394-3E68-1542-8FB4694E91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11246585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6881C94B-083C-2EC3-43E1-0A71933978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170B4C-1B47-977D-6FA8-C21F0B20D7E9}"/>
              </a:ext>
            </a:extLst>
          </p:cNvPr>
          <p:cNvSpPr>
            <a:spLocks noGrp="1"/>
          </p:cNvSpPr>
          <p:nvPr>
            <p:ph type="title"/>
          </p:nvPr>
        </p:nvSpPr>
        <p:spPr>
          <a:xfrm>
            <a:off x="1226989" y="377826"/>
            <a:ext cx="7455051" cy="660092"/>
          </a:xfrm>
        </p:spPr>
        <p:txBody>
          <a:bodyPr anchor="ctr"/>
          <a:lstStyle/>
          <a:p>
            <a:r>
              <a:rPr lang="en-GB" sz="2550">
                <a:solidFill>
                  <a:srgbClr val="2A2234"/>
                </a:solidFill>
                <a:latin typeface="Proximus Bold"/>
              </a:rPr>
              <a:t>Sustainability </a:t>
            </a:r>
            <a:r>
              <a:rPr lang="en-GB" sz="1800" b="0">
                <a:solidFill>
                  <a:srgbClr val="2A2234"/>
                </a:solidFill>
                <a:latin typeface="Proximus Light" pitchFamily="2" charset="77"/>
              </a:rPr>
              <a:t>(focus on energy)</a:t>
            </a:r>
          </a:p>
        </p:txBody>
      </p:sp>
      <p:sp>
        <p:nvSpPr>
          <p:cNvPr id="39" name="!!OVAL_network">
            <a:extLst>
              <a:ext uri="{FF2B5EF4-FFF2-40B4-BE49-F238E27FC236}">
                <a16:creationId xmlns:a16="http://schemas.microsoft.com/office/drawing/2014/main" id="{08ADDA53-0EEB-1439-35A2-6F9B5329E0DA}"/>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8094" rtl="0" eaLnBrk="1" fontAlgn="auto" latinLnBrk="0" hangingPunct="1">
              <a:lnSpc>
                <a:spcPct val="100000"/>
              </a:lnSpc>
              <a:spcBef>
                <a:spcPts val="0"/>
              </a:spcBef>
              <a:spcAft>
                <a:spcPts val="0"/>
              </a:spcAft>
              <a:buClrTx/>
              <a:buSzTx/>
              <a:buFontTx/>
              <a:buNone/>
              <a:tabLst/>
              <a:defRPr/>
            </a:pPr>
            <a:endParaRPr kumimoji="0" lang="nl-BE" sz="2160" b="0" i="0" u="none" strike="noStrike" kern="1200" cap="none" spc="0" normalizeH="0" baseline="0" noProof="0">
              <a:ln>
                <a:noFill/>
              </a:ln>
              <a:solidFill>
                <a:srgbClr val="2A2234"/>
              </a:solidFill>
              <a:effectLst/>
              <a:uLnTx/>
              <a:uFillTx/>
              <a:latin typeface="Proximus Bold"/>
              <a:ea typeface="+mn-ea"/>
              <a:cs typeface="+mn-cs"/>
            </a:endParaRPr>
          </a:p>
        </p:txBody>
      </p:sp>
      <p:sp>
        <p:nvSpPr>
          <p:cNvPr id="4" name="Text Placeholder 4">
            <a:extLst>
              <a:ext uri="{FF2B5EF4-FFF2-40B4-BE49-F238E27FC236}">
                <a16:creationId xmlns:a16="http://schemas.microsoft.com/office/drawing/2014/main" id="{2FA650BB-B0D3-582C-BD87-F175A7D0B6B0}"/>
              </a:ext>
            </a:extLst>
          </p:cNvPr>
          <p:cNvSpPr txBox="1">
            <a:spLocks/>
          </p:cNvSpPr>
          <p:nvPr/>
        </p:nvSpPr>
        <p:spPr>
          <a:xfrm>
            <a:off x="1878620" y="1276213"/>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241" rtl="0" eaLnBrk="1" fontAlgn="auto" latinLnBrk="0" hangingPunct="1">
              <a:lnSpc>
                <a:spcPct val="100000"/>
              </a:lnSpc>
              <a:spcBef>
                <a:spcPts val="0"/>
              </a:spcBef>
              <a:spcAft>
                <a:spcPts val="0"/>
              </a:spcAft>
              <a:buClr>
                <a:srgbClr val="5C2D91"/>
              </a:buClr>
              <a:buSzPct val="100000"/>
              <a:buFont typeface="Arial" panose="020B0604020202020204" pitchFamily="34" charset="0"/>
              <a:buNone/>
              <a:tabLst/>
              <a:defRPr/>
            </a:pP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Over</a:t>
            </a:r>
            <a:r>
              <a:rPr kumimoji="0" lang="en-US" sz="1200" b="1" i="0" u="none" strike="noStrike" kern="1200" cap="none" spc="0" normalizeH="0" baseline="0" noProof="0">
                <a:ln>
                  <a:noFill/>
                </a:ln>
                <a:solidFill>
                  <a:srgbClr val="141C24"/>
                </a:solidFill>
                <a:effectLst/>
                <a:uLnTx/>
                <a:uFillTx/>
                <a:latin typeface="Proximus ExtraBold" pitchFamily="2" charset="77"/>
                <a:ea typeface="+mn-ea"/>
                <a:cs typeface="+mn-cs"/>
              </a:rPr>
              <a:t> </a:t>
            </a:r>
            <a:r>
              <a:rPr kumimoji="0" lang="en-US" sz="2400" b="1" i="0" u="none" strike="noStrike" kern="1200" cap="none" spc="0" normalizeH="0" baseline="0" noProof="0">
                <a:ln>
                  <a:noFill/>
                </a:ln>
                <a:gradFill flip="none" rotWithShape="1">
                  <a:gsLst>
                    <a:gs pos="100000">
                      <a:srgbClr val="81C747"/>
                    </a:gs>
                    <a:gs pos="15000">
                      <a:srgbClr val="5C2D91"/>
                    </a:gs>
                  </a:gsLst>
                  <a:lin ang="2700000" scaled="1"/>
                  <a:tileRect/>
                </a:gradFill>
                <a:effectLst/>
                <a:uLnTx/>
                <a:uFillTx/>
                <a:latin typeface="Proximus ExtraBold" pitchFamily="2" charset="77"/>
                <a:ea typeface="+mn-ea"/>
                <a:cs typeface="+mn-cs"/>
              </a:rPr>
              <a:t>90% </a:t>
            </a:r>
            <a:br>
              <a:rPr kumimoji="0" lang="en-US" sz="2400" b="1" i="0" u="none" strike="noStrike" kern="1200" cap="none" spc="0" normalizeH="0" baseline="0" noProof="0">
                <a:ln>
                  <a:noFill/>
                </a:ln>
                <a:solidFill>
                  <a:srgbClr val="141C24"/>
                </a:solidFill>
                <a:effectLst/>
                <a:uLnTx/>
                <a:uFillTx/>
                <a:latin typeface="Proximus ExtraBold" pitchFamily="2" charset="77"/>
                <a:ea typeface="+mn-ea"/>
                <a:cs typeface="+mn-cs"/>
              </a:rPr>
            </a:b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of our energy consumption at Proximus SA comes from electricity</a:t>
            </a:r>
            <a:endParaRPr kumimoji="0" lang="en-US" sz="1200" b="1" i="0" u="none" strike="noStrike" kern="1200" cap="none" spc="0" normalizeH="0" baseline="0" noProof="0">
              <a:ln>
                <a:noFill/>
              </a:ln>
              <a:solidFill>
                <a:srgbClr val="141C24"/>
              </a:solidFill>
              <a:effectLst/>
              <a:uLnTx/>
              <a:uFillTx/>
              <a:latin typeface="Proximus ExtraBold" pitchFamily="2" charset="77"/>
              <a:ea typeface="+mn-ea"/>
              <a:cs typeface="+mn-cs"/>
            </a:endParaRPr>
          </a:p>
        </p:txBody>
      </p:sp>
      <p:sp>
        <p:nvSpPr>
          <p:cNvPr id="6" name="Text Placeholder 4">
            <a:extLst>
              <a:ext uri="{FF2B5EF4-FFF2-40B4-BE49-F238E27FC236}">
                <a16:creationId xmlns:a16="http://schemas.microsoft.com/office/drawing/2014/main" id="{DD77EF94-B5D2-B9E3-0628-6C28B33FFA99}"/>
              </a:ext>
            </a:extLst>
          </p:cNvPr>
          <p:cNvSpPr txBox="1">
            <a:spLocks/>
          </p:cNvSpPr>
          <p:nvPr/>
        </p:nvSpPr>
        <p:spPr>
          <a:xfrm>
            <a:off x="4746810" y="1276213"/>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241" rtl="0" eaLnBrk="1" fontAlgn="auto" latinLnBrk="0" hangingPunct="1">
              <a:lnSpc>
                <a:spcPct val="100000"/>
              </a:lnSpc>
              <a:spcBef>
                <a:spcPts val="0"/>
              </a:spcBef>
              <a:spcAft>
                <a:spcPts val="0"/>
              </a:spcAft>
              <a:buClr>
                <a:srgbClr val="5C2D91"/>
              </a:buClr>
              <a:buSzPct val="100000"/>
              <a:buFont typeface="Arial" panose="020B0604020202020204" pitchFamily="34" charset="0"/>
              <a:buNone/>
              <a:tabLst/>
              <a:defRPr/>
            </a:pP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We will spend almost </a:t>
            </a:r>
            <a:b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br>
            <a:r>
              <a:rPr kumimoji="0" lang="en-US" sz="2400" b="1" i="0" u="none" strike="noStrike" kern="1200" cap="none" spc="0" normalizeH="0" baseline="0" noProof="0">
                <a:ln>
                  <a:noFill/>
                </a:ln>
                <a:gradFill>
                  <a:gsLst>
                    <a:gs pos="100000">
                      <a:srgbClr val="81C747"/>
                    </a:gs>
                    <a:gs pos="15000">
                      <a:srgbClr val="5C2D91"/>
                    </a:gs>
                  </a:gsLst>
                  <a:lin ang="2700000" scaled="1"/>
                </a:gradFill>
                <a:effectLst/>
                <a:uLnTx/>
                <a:uFillTx/>
                <a:latin typeface="Proximus ExtraBold" pitchFamily="2" charset="77"/>
                <a:ea typeface="+mn-ea"/>
                <a:cs typeface="+mn-cs"/>
              </a:rPr>
              <a:t>80 </a:t>
            </a:r>
            <a:r>
              <a:rPr kumimoji="0" lang="en-US" sz="2400" b="1" i="0" u="none" strike="noStrike" kern="1200" cap="none" spc="0" normalizeH="0" baseline="0" noProof="0" err="1">
                <a:ln>
                  <a:noFill/>
                </a:ln>
                <a:gradFill>
                  <a:gsLst>
                    <a:gs pos="100000">
                      <a:srgbClr val="81C747"/>
                    </a:gs>
                    <a:gs pos="15000">
                      <a:srgbClr val="5C2D91"/>
                    </a:gs>
                  </a:gsLst>
                  <a:lin ang="2700000" scaled="1"/>
                </a:gradFill>
                <a:effectLst/>
                <a:uLnTx/>
                <a:uFillTx/>
                <a:latin typeface="Proximus ExtraBold" pitchFamily="2" charset="77"/>
                <a:ea typeface="+mn-ea"/>
                <a:cs typeface="+mn-cs"/>
              </a:rPr>
              <a:t>mio</a:t>
            </a:r>
            <a:r>
              <a:rPr kumimoji="0" lang="en-US" sz="2400" b="1" i="0" u="none" strike="noStrike" kern="1200" cap="none" spc="0" normalizeH="0" baseline="0" noProof="0">
                <a:ln>
                  <a:noFill/>
                </a:ln>
                <a:gradFill>
                  <a:gsLst>
                    <a:gs pos="100000">
                      <a:srgbClr val="81C747"/>
                    </a:gs>
                    <a:gs pos="15000">
                      <a:srgbClr val="5C2D91"/>
                    </a:gs>
                  </a:gsLst>
                  <a:lin ang="2700000" scaled="1"/>
                </a:gradFill>
                <a:effectLst/>
                <a:uLnTx/>
                <a:uFillTx/>
                <a:latin typeface="Proximus ExtraBold" pitchFamily="2" charset="77"/>
                <a:ea typeface="+mn-ea"/>
                <a:cs typeface="+mn-cs"/>
              </a:rPr>
              <a:t> </a:t>
            </a: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euro </a:t>
            </a:r>
            <a:b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b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on electricity in 2025. </a:t>
            </a:r>
            <a:b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b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86% of it is consumed by NBU</a:t>
            </a:r>
          </a:p>
        </p:txBody>
      </p:sp>
      <p:sp>
        <p:nvSpPr>
          <p:cNvPr id="7" name="Text Placeholder 4">
            <a:extLst>
              <a:ext uri="{FF2B5EF4-FFF2-40B4-BE49-F238E27FC236}">
                <a16:creationId xmlns:a16="http://schemas.microsoft.com/office/drawing/2014/main" id="{2DBC8381-27AF-3A3B-6020-5E6CB5CCB572}"/>
              </a:ext>
            </a:extLst>
          </p:cNvPr>
          <p:cNvSpPr txBox="1">
            <a:spLocks/>
          </p:cNvSpPr>
          <p:nvPr/>
        </p:nvSpPr>
        <p:spPr>
          <a:xfrm>
            <a:off x="1878620" y="3052385"/>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241" rtl="0" eaLnBrk="1" fontAlgn="auto" latinLnBrk="0" hangingPunct="1">
              <a:lnSpc>
                <a:spcPct val="100000"/>
              </a:lnSpc>
              <a:spcBef>
                <a:spcPts val="0"/>
              </a:spcBef>
              <a:spcAft>
                <a:spcPts val="0"/>
              </a:spcAft>
              <a:buClr>
                <a:srgbClr val="5C2D91"/>
              </a:buClr>
              <a:buSzPct val="100000"/>
              <a:buFont typeface="Arial" panose="020B0604020202020204" pitchFamily="34" charset="0"/>
              <a:buNone/>
              <a:tabLst/>
              <a:defRPr/>
            </a:pP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Since 2019, we source </a:t>
            </a:r>
            <a:r>
              <a:rPr kumimoji="0" lang="en-US" sz="2400" b="1" i="0" u="none" strike="noStrike" kern="1200" cap="none" spc="0" normalizeH="0" baseline="0" noProof="0">
                <a:ln>
                  <a:noFill/>
                </a:ln>
                <a:gradFill>
                  <a:gsLst>
                    <a:gs pos="100000">
                      <a:srgbClr val="81C747"/>
                    </a:gs>
                    <a:gs pos="15000">
                      <a:srgbClr val="5C2D91"/>
                    </a:gs>
                  </a:gsLst>
                  <a:lin ang="2700000" scaled="1"/>
                </a:gradFill>
                <a:effectLst/>
                <a:uLnTx/>
                <a:uFillTx/>
                <a:latin typeface="Proximus ExtraBold" pitchFamily="2" charset="77"/>
                <a:ea typeface="+mn-ea"/>
                <a:cs typeface="+mn-cs"/>
              </a:rPr>
              <a:t>100% </a:t>
            </a:r>
          </a:p>
          <a:p>
            <a:pPr marL="0" marR="0" lvl="0" indent="0" algn="l" defTabSz="914241" rtl="0" eaLnBrk="1" fontAlgn="auto" latinLnBrk="0" hangingPunct="1">
              <a:lnSpc>
                <a:spcPct val="100000"/>
              </a:lnSpc>
              <a:spcBef>
                <a:spcPts val="0"/>
              </a:spcBef>
              <a:spcAft>
                <a:spcPts val="0"/>
              </a:spcAft>
              <a:buClr>
                <a:srgbClr val="5C2D91"/>
              </a:buClr>
              <a:buSzPct val="100000"/>
              <a:buFont typeface="Arial" panose="020B0604020202020204" pitchFamily="34" charset="0"/>
              <a:buNone/>
              <a:tabLst/>
              <a:defRPr/>
            </a:pP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renewable electricity</a:t>
            </a:r>
            <a:endParaRPr kumimoji="0" lang="en-US" sz="1200" b="1" i="0" u="none" strike="noStrike" kern="1200" cap="none" spc="0" normalizeH="0" baseline="0" noProof="0">
              <a:ln>
                <a:noFill/>
              </a:ln>
              <a:solidFill>
                <a:srgbClr val="141C24"/>
              </a:solidFill>
              <a:effectLst/>
              <a:uLnTx/>
              <a:uFillTx/>
              <a:latin typeface="Proximus ExtraBold" pitchFamily="2" charset="77"/>
              <a:ea typeface="+mn-ea"/>
              <a:cs typeface="+mn-cs"/>
            </a:endParaRPr>
          </a:p>
        </p:txBody>
      </p:sp>
      <p:sp>
        <p:nvSpPr>
          <p:cNvPr id="8" name="Text Placeholder 4">
            <a:extLst>
              <a:ext uri="{FF2B5EF4-FFF2-40B4-BE49-F238E27FC236}">
                <a16:creationId xmlns:a16="http://schemas.microsoft.com/office/drawing/2014/main" id="{45E1ED76-107E-2E4D-2C9C-CEE21132D6F4}"/>
              </a:ext>
            </a:extLst>
          </p:cNvPr>
          <p:cNvSpPr txBox="1">
            <a:spLocks/>
          </p:cNvSpPr>
          <p:nvPr/>
        </p:nvSpPr>
        <p:spPr>
          <a:xfrm>
            <a:off x="4746809" y="3052385"/>
            <a:ext cx="2522734" cy="1473565"/>
          </a:xfrm>
          <a:prstGeom prst="roundRect">
            <a:avLst>
              <a:gd name="adj" fmla="val 7551"/>
            </a:avLst>
          </a:prstGeom>
          <a:solidFill>
            <a:schemeClr val="tx1"/>
          </a:solidFill>
          <a:effectLst>
            <a:outerShdw blurRad="508000" dist="38100" dir="5400000" algn="t" rotWithShape="0">
              <a:prstClr val="black">
                <a:alpha val="15000"/>
              </a:prstClr>
            </a:outerShdw>
          </a:effectLst>
        </p:spPr>
        <p:txBody>
          <a:bodyPr lIns="180000" tIns="180000" rIns="180000" bIns="180000" anchor="ct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241" rtl="0" eaLnBrk="1" fontAlgn="auto" latinLnBrk="0" hangingPunct="1">
              <a:lnSpc>
                <a:spcPct val="100000"/>
              </a:lnSpc>
              <a:spcBef>
                <a:spcPts val="0"/>
              </a:spcBef>
              <a:spcAft>
                <a:spcPts val="0"/>
              </a:spcAft>
              <a:buClr>
                <a:srgbClr val="5C2D91"/>
              </a:buClr>
              <a:buSzPct val="100000"/>
              <a:buFont typeface="Arial" panose="020B0604020202020204" pitchFamily="34" charset="0"/>
              <a:buNone/>
              <a:tabLst/>
              <a:defRPr/>
            </a:pPr>
            <a:r>
              <a:rPr kumimoji="0" lang="en-US" sz="2400" b="1" i="0" u="none" strike="noStrike" kern="1200" cap="none" spc="0" normalizeH="0" baseline="0" noProof="0">
                <a:ln>
                  <a:noFill/>
                </a:ln>
                <a:gradFill>
                  <a:gsLst>
                    <a:gs pos="100000">
                      <a:srgbClr val="81C747"/>
                    </a:gs>
                    <a:gs pos="15000">
                      <a:srgbClr val="5C2D91"/>
                    </a:gs>
                  </a:gsLst>
                  <a:lin ang="2700000" scaled="1"/>
                </a:gradFill>
                <a:effectLst/>
                <a:uLnTx/>
                <a:uFillTx/>
                <a:latin typeface="Proximus ExtraBold" pitchFamily="2" charset="77"/>
                <a:ea typeface="+mn-ea"/>
                <a:cs typeface="+mn-cs"/>
              </a:rPr>
              <a:t>64</a:t>
            </a: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 Proximus buildings </a:t>
            </a:r>
            <a:b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br>
            <a:r>
              <a:rPr kumimoji="0" lang="en-US" sz="1200" b="0" i="0" u="none" strike="noStrike" kern="1200" cap="none" spc="0" normalizeH="0" baseline="0" noProof="0">
                <a:ln>
                  <a:noFill/>
                </a:ln>
                <a:solidFill>
                  <a:srgbClr val="141C24"/>
                </a:solidFill>
                <a:effectLst/>
                <a:uLnTx/>
                <a:uFillTx/>
                <a:latin typeface="Proximus Light" pitchFamily="2" charset="77"/>
                <a:ea typeface="+mn-ea"/>
                <a:cs typeface="+mn-cs"/>
              </a:rPr>
              <a:t>are already equipped with solar panels and have a yearly yield of 1,7 GWh</a:t>
            </a:r>
          </a:p>
        </p:txBody>
      </p:sp>
      <p:pic>
        <p:nvPicPr>
          <p:cNvPr id="9" name="Graphic 8">
            <a:extLst>
              <a:ext uri="{FF2B5EF4-FFF2-40B4-BE49-F238E27FC236}">
                <a16:creationId xmlns:a16="http://schemas.microsoft.com/office/drawing/2014/main" id="{CFB13A2D-D0BA-4593-415D-61C94493AC5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7986" y="517372"/>
            <a:ext cx="352777" cy="381000"/>
          </a:xfrm>
          <a:prstGeom prst="rect">
            <a:avLst/>
          </a:prstGeom>
        </p:spPr>
      </p:pic>
      <p:sp>
        <p:nvSpPr>
          <p:cNvPr id="3" name="Rounded Rectangle 2">
            <a:extLst>
              <a:ext uri="{FF2B5EF4-FFF2-40B4-BE49-F238E27FC236}">
                <a16:creationId xmlns:a16="http://schemas.microsoft.com/office/drawing/2014/main" id="{A2836CDF-5F43-36B2-9E56-B900DE8858E5}"/>
              </a:ext>
            </a:extLst>
          </p:cNvPr>
          <p:cNvSpPr/>
          <p:nvPr/>
        </p:nvSpPr>
        <p:spPr>
          <a:xfrm>
            <a:off x="7539361" y="1276213"/>
            <a:ext cx="2285358" cy="3249737"/>
          </a:xfrm>
          <a:prstGeom prst="roundRect">
            <a:avLst>
              <a:gd name="adj" fmla="val 8336"/>
            </a:avLst>
          </a:prstGeom>
          <a:blipFill>
            <a:blip r:embed="rId5"/>
            <a:srcRect/>
            <a:stretch>
              <a:fillRect l="-110785" r="2118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
        <p:nvSpPr>
          <p:cNvPr id="13" name="Rounded Rectangle 12">
            <a:extLst>
              <a:ext uri="{FF2B5EF4-FFF2-40B4-BE49-F238E27FC236}">
                <a16:creationId xmlns:a16="http://schemas.microsoft.com/office/drawing/2014/main" id="{ACE0E911-E399-E676-4FE6-69ADFA6AE2EA}"/>
              </a:ext>
            </a:extLst>
          </p:cNvPr>
          <p:cNvSpPr/>
          <p:nvPr/>
        </p:nvSpPr>
        <p:spPr>
          <a:xfrm>
            <a:off x="-676556" y="1276213"/>
            <a:ext cx="2285358" cy="3249737"/>
          </a:xfrm>
          <a:prstGeom prst="roundRect">
            <a:avLst>
              <a:gd name="adj" fmla="val 8336"/>
            </a:avLst>
          </a:prstGeom>
          <a:blipFill>
            <a:blip r:embed="rId5"/>
            <a:srcRect/>
            <a:stretch>
              <a:fillRect l="24949" r="-11454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marL="0" marR="0" lvl="0" indent="0" algn="ctr" defTabSz="1218418"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FFFFFF"/>
              </a:solidFill>
              <a:effectLst/>
              <a:uLnTx/>
              <a:uFillTx/>
              <a:latin typeface="Proximus Bold" panose="00000500000000000000" pitchFamily="2" charset="0"/>
              <a:ea typeface="+mn-ea"/>
              <a:cs typeface="Proximus Bold"/>
            </a:endParaRPr>
          </a:p>
        </p:txBody>
      </p:sp>
    </p:spTree>
    <p:extLst>
      <p:ext uri="{BB962C8B-B14F-4D97-AF65-F5344CB8AC3E}">
        <p14:creationId xmlns:p14="http://schemas.microsoft.com/office/powerpoint/2010/main" val="2996827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FCF40-36C0-6224-D8FC-9EC2A52ACC8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1B5DA95-A321-5EDE-7983-4E687BF22D86}"/>
              </a:ext>
            </a:extLst>
          </p:cNvPr>
          <p:cNvSpPr txBox="1">
            <a:spLocks/>
          </p:cNvSpPr>
          <p:nvPr/>
        </p:nvSpPr>
        <p:spPr>
          <a:xfrm>
            <a:off x="460375" y="1393459"/>
            <a:ext cx="1884240" cy="2478627"/>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4"/>
                    </a:gs>
                  </a:gsLst>
                  <a:lin ang="3000000" scaled="0"/>
                </a:gradFill>
                <a:latin typeface="Proximus ExtraBold" pitchFamily="2" charset="77"/>
              </a:rPr>
              <a:t>1</a:t>
            </a:r>
          </a:p>
          <a:p>
            <a:pPr marL="0" indent="0" algn="l" defTabSz="685800">
              <a:buNone/>
            </a:pPr>
            <a:r>
              <a:rPr lang="en-GB" sz="1100" b="1" dirty="0">
                <a:solidFill>
                  <a:srgbClr val="01112B"/>
                </a:solidFill>
                <a:latin typeface="Proximus ExtraBold" pitchFamily="2" charset="77"/>
              </a:rPr>
              <a:t>Watt’s Up </a:t>
            </a:r>
            <a:br>
              <a:rPr lang="en-GB" sz="1100" b="1" dirty="0">
                <a:solidFill>
                  <a:srgbClr val="01112B"/>
                </a:solidFill>
                <a:latin typeface="Proximus ExtraBold" pitchFamily="2" charset="77"/>
              </a:rPr>
            </a:br>
            <a:r>
              <a:rPr lang="en-GB" sz="1100" b="1" dirty="0">
                <a:solidFill>
                  <a:srgbClr val="01112B"/>
                </a:solidFill>
                <a:latin typeface="Proximus ExtraBold" pitchFamily="2" charset="77"/>
              </a:rPr>
              <a:t>program </a:t>
            </a:r>
            <a:r>
              <a:rPr lang="en-GB" sz="1100" dirty="0">
                <a:solidFill>
                  <a:srgbClr val="01112B"/>
                </a:solidFill>
                <a:latin typeface="Proximus Light" pitchFamily="2" charset="77"/>
              </a:rPr>
              <a:t>to cut energy use across networks, data </a:t>
            </a:r>
            <a:r>
              <a:rPr lang="en-GB" sz="1100" dirty="0" err="1">
                <a:solidFill>
                  <a:srgbClr val="01112B"/>
                </a:solidFill>
                <a:latin typeface="Proximus Light" pitchFamily="2" charset="77"/>
              </a:rPr>
              <a:t>centers</a:t>
            </a:r>
            <a:r>
              <a:rPr lang="en-GB" sz="1100" dirty="0">
                <a:solidFill>
                  <a:srgbClr val="01112B"/>
                </a:solidFill>
                <a:latin typeface="Proximus Light" pitchFamily="2" charset="77"/>
              </a:rPr>
              <a:t> &amp; buildings</a:t>
            </a:r>
          </a:p>
        </p:txBody>
      </p:sp>
      <p:sp>
        <p:nvSpPr>
          <p:cNvPr id="6" name="Text Placeholder 4">
            <a:extLst>
              <a:ext uri="{FF2B5EF4-FFF2-40B4-BE49-F238E27FC236}">
                <a16:creationId xmlns:a16="http://schemas.microsoft.com/office/drawing/2014/main" id="{E67DE9DB-DBA0-1081-2566-70949B6B3E99}"/>
              </a:ext>
            </a:extLst>
          </p:cNvPr>
          <p:cNvSpPr txBox="1">
            <a:spLocks/>
          </p:cNvSpPr>
          <p:nvPr/>
        </p:nvSpPr>
        <p:spPr>
          <a:xfrm>
            <a:off x="2572320" y="1387107"/>
            <a:ext cx="1884240" cy="2484982"/>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4"/>
                    </a:gs>
                  </a:gsLst>
                  <a:lin ang="3000000" scaled="0"/>
                </a:gradFill>
                <a:latin typeface="Proximus ExtraBold" pitchFamily="2" charset="77"/>
              </a:rPr>
              <a:t>2</a:t>
            </a:r>
            <a:endParaRPr lang="en-US" sz="1200" b="1" dirty="0">
              <a:gradFill>
                <a:gsLst>
                  <a:gs pos="0">
                    <a:schemeClr val="bg1"/>
                  </a:gs>
                  <a:gs pos="100000">
                    <a:schemeClr val="accent4"/>
                  </a:gs>
                </a:gsLst>
                <a:lin ang="3000000" scaled="0"/>
              </a:gradFill>
              <a:latin typeface="Proximus ExtraBold" pitchFamily="2" charset="77"/>
            </a:endParaRPr>
          </a:p>
          <a:p>
            <a:pPr marL="0" indent="0" defTabSz="914241">
              <a:lnSpc>
                <a:spcPct val="110000"/>
              </a:lnSpc>
              <a:spcBef>
                <a:spcPts val="0"/>
              </a:spcBef>
              <a:spcAft>
                <a:spcPts val="1200"/>
              </a:spcAft>
              <a:buClr>
                <a:srgbClr val="5C2D91"/>
              </a:buClr>
              <a:buNone/>
              <a:defRPr/>
            </a:pPr>
            <a:r>
              <a:rPr lang="en-GB" sz="1100" b="1" dirty="0">
                <a:solidFill>
                  <a:srgbClr val="01112B"/>
                </a:solidFill>
                <a:latin typeface="Proximus ExtraBold" pitchFamily="2" charset="77"/>
              </a:rPr>
              <a:t>Accelerate copper switch-off &amp; </a:t>
            </a:r>
            <a:r>
              <a:rPr lang="en-GB" sz="1100" b="1" dirty="0" err="1">
                <a:solidFill>
                  <a:srgbClr val="01112B"/>
                </a:solidFill>
                <a:latin typeface="Proximus ExtraBold" pitchFamily="2" charset="77"/>
              </a:rPr>
              <a:t>fiber</a:t>
            </a:r>
            <a:r>
              <a:rPr lang="en-GB" sz="1100" b="1" dirty="0">
                <a:solidFill>
                  <a:srgbClr val="01112B"/>
                </a:solidFill>
                <a:latin typeface="Proximus ExtraBold" pitchFamily="2" charset="77"/>
              </a:rPr>
              <a:t> adoption</a:t>
            </a:r>
            <a:r>
              <a:rPr lang="en-GB" sz="1100" dirty="0">
                <a:solidFill>
                  <a:srgbClr val="01112B"/>
                </a:solidFill>
                <a:latin typeface="Proximus Light" pitchFamily="2" charset="77"/>
              </a:rPr>
              <a:t>, and expand network sharing to lower energy and carbon footprints</a:t>
            </a:r>
            <a:endParaRPr lang="en-US" sz="1100" dirty="0">
              <a:solidFill>
                <a:srgbClr val="141C24"/>
              </a:solidFill>
              <a:latin typeface="Proximus Light" pitchFamily="2" charset="77"/>
            </a:endParaRPr>
          </a:p>
        </p:txBody>
      </p:sp>
      <p:sp>
        <p:nvSpPr>
          <p:cNvPr id="8" name="Text Placeholder 4">
            <a:extLst>
              <a:ext uri="{FF2B5EF4-FFF2-40B4-BE49-F238E27FC236}">
                <a16:creationId xmlns:a16="http://schemas.microsoft.com/office/drawing/2014/main" id="{BF7A3E6C-5704-1AFA-3D03-412A4F092E02}"/>
              </a:ext>
            </a:extLst>
          </p:cNvPr>
          <p:cNvSpPr txBox="1">
            <a:spLocks/>
          </p:cNvSpPr>
          <p:nvPr/>
        </p:nvSpPr>
        <p:spPr>
          <a:xfrm>
            <a:off x="4684265" y="1387108"/>
            <a:ext cx="1884240" cy="2484982"/>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4"/>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GB" sz="1100" dirty="0">
                <a:solidFill>
                  <a:srgbClr val="01112B"/>
                </a:solidFill>
                <a:latin typeface="Proximus Light" pitchFamily="2" charset="77"/>
              </a:rPr>
              <a:t>Explore cost-reduction and revenue opportunities through a </a:t>
            </a:r>
            <a:r>
              <a:rPr lang="en-GB" sz="1100" b="1" dirty="0">
                <a:solidFill>
                  <a:srgbClr val="01112B"/>
                </a:solidFill>
                <a:latin typeface="Proximus ExtraBold" pitchFamily="2" charset="77"/>
              </a:rPr>
              <a:t>live POC on the energy flexibility markets</a:t>
            </a:r>
            <a:endParaRPr lang="en-US" sz="1100" b="1" dirty="0">
              <a:solidFill>
                <a:srgbClr val="141C24"/>
              </a:solidFill>
              <a:latin typeface="Proximus ExtraBold" pitchFamily="2" charset="77"/>
            </a:endParaRPr>
          </a:p>
        </p:txBody>
      </p:sp>
      <p:sp>
        <p:nvSpPr>
          <p:cNvPr id="9" name="Text Placeholder 4">
            <a:extLst>
              <a:ext uri="{FF2B5EF4-FFF2-40B4-BE49-F238E27FC236}">
                <a16:creationId xmlns:a16="http://schemas.microsoft.com/office/drawing/2014/main" id="{AF9CF111-F4FC-4928-0526-9D8DEE6879F4}"/>
              </a:ext>
            </a:extLst>
          </p:cNvPr>
          <p:cNvSpPr txBox="1">
            <a:spLocks/>
          </p:cNvSpPr>
          <p:nvPr/>
        </p:nvSpPr>
        <p:spPr>
          <a:xfrm>
            <a:off x="6799385" y="1387106"/>
            <a:ext cx="1884240" cy="2484981"/>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dirty="0">
                <a:gradFill>
                  <a:gsLst>
                    <a:gs pos="0">
                      <a:schemeClr val="bg1"/>
                    </a:gs>
                    <a:gs pos="100000">
                      <a:schemeClr val="accent4"/>
                    </a:gs>
                  </a:gsLst>
                  <a:lin ang="3000000" scaled="0"/>
                </a:gradFill>
                <a:latin typeface="Proximus ExtraBold" pitchFamily="2" charset="77"/>
              </a:rPr>
              <a:t>4</a:t>
            </a:r>
          </a:p>
          <a:p>
            <a:pPr marL="0" indent="0" defTabSz="914241">
              <a:lnSpc>
                <a:spcPct val="110000"/>
              </a:lnSpc>
              <a:spcBef>
                <a:spcPts val="0"/>
              </a:spcBef>
              <a:spcAft>
                <a:spcPts val="1200"/>
              </a:spcAft>
              <a:buClr>
                <a:srgbClr val="5C2D91"/>
              </a:buClr>
              <a:buNone/>
              <a:defRPr/>
            </a:pPr>
            <a:r>
              <a:rPr lang="en-GB" sz="1100" dirty="0">
                <a:solidFill>
                  <a:srgbClr val="01112B"/>
                </a:solidFill>
                <a:latin typeface="Proximus Light" pitchFamily="2" charset="77"/>
              </a:rPr>
              <a:t>Maintain a mix of </a:t>
            </a:r>
            <a:r>
              <a:rPr lang="en-GB" sz="1100" b="1" dirty="0">
                <a:solidFill>
                  <a:srgbClr val="01112B"/>
                </a:solidFill>
                <a:latin typeface="Proximus ExtraBold" pitchFamily="2" charset="77"/>
              </a:rPr>
              <a:t>100% renewable energy sourced </a:t>
            </a:r>
            <a:r>
              <a:rPr lang="en-GB" sz="1100" dirty="0">
                <a:solidFill>
                  <a:srgbClr val="01112B"/>
                </a:solidFill>
                <a:latin typeface="Proximus Light" pitchFamily="2" charset="77"/>
              </a:rPr>
              <a:t>and own </a:t>
            </a:r>
            <a:r>
              <a:rPr lang="en-GB" sz="1100" b="1" dirty="0">
                <a:solidFill>
                  <a:srgbClr val="01112B"/>
                </a:solidFill>
                <a:latin typeface="Proximus ExtraBold" pitchFamily="2" charset="77"/>
              </a:rPr>
              <a:t>solar panel </a:t>
            </a:r>
            <a:r>
              <a:rPr lang="en-GB" sz="1100" dirty="0">
                <a:solidFill>
                  <a:srgbClr val="01112B"/>
                </a:solidFill>
                <a:latin typeface="Proximus Light" pitchFamily="2" charset="77"/>
              </a:rPr>
              <a:t>production</a:t>
            </a:r>
            <a:endParaRPr lang="en-US" sz="1100" dirty="0">
              <a:solidFill>
                <a:srgbClr val="141C24"/>
              </a:solidFill>
              <a:latin typeface="Proximus Light" pitchFamily="2" charset="77"/>
            </a:endParaRPr>
          </a:p>
        </p:txBody>
      </p:sp>
      <p:sp>
        <p:nvSpPr>
          <p:cNvPr id="12" name="Title 1">
            <a:extLst>
              <a:ext uri="{FF2B5EF4-FFF2-40B4-BE49-F238E27FC236}">
                <a16:creationId xmlns:a16="http://schemas.microsoft.com/office/drawing/2014/main" id="{87EAF127-7396-F1AB-0992-3ECD11BA7F10}"/>
              </a:ext>
            </a:extLst>
          </p:cNvPr>
          <p:cNvSpPr>
            <a:spLocks noGrp="1"/>
          </p:cNvSpPr>
          <p:nvPr>
            <p:ph type="title"/>
          </p:nvPr>
        </p:nvSpPr>
        <p:spPr>
          <a:xfrm>
            <a:off x="1226989" y="377826"/>
            <a:ext cx="7455051" cy="660092"/>
          </a:xfrm>
        </p:spPr>
        <p:txBody>
          <a:bodyPr anchor="ctr"/>
          <a:lstStyle/>
          <a:p>
            <a:r>
              <a:rPr lang="en-GB">
                <a:solidFill>
                  <a:srgbClr val="2A2234"/>
                </a:solidFill>
              </a:rPr>
              <a:t>Sustainability</a:t>
            </a:r>
            <a:r>
              <a:rPr lang="en-BE" b="0">
                <a:solidFill>
                  <a:srgbClr val="2A2234"/>
                </a:solidFill>
                <a:latin typeface="Proximus Light" pitchFamily="2" charset="77"/>
              </a:rPr>
              <a:t> in 2025</a:t>
            </a:r>
            <a:endParaRPr lang="en-GB">
              <a:solidFill>
                <a:srgbClr val="2A2234"/>
              </a:solidFill>
            </a:endParaRPr>
          </a:p>
        </p:txBody>
      </p:sp>
      <p:sp>
        <p:nvSpPr>
          <p:cNvPr id="13" name="!!OVAL_network">
            <a:extLst>
              <a:ext uri="{FF2B5EF4-FFF2-40B4-BE49-F238E27FC236}">
                <a16:creationId xmlns:a16="http://schemas.microsoft.com/office/drawing/2014/main" id="{C301407A-0EA9-EA33-8FC9-472BFB357035}"/>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pic>
        <p:nvPicPr>
          <p:cNvPr id="14" name="Graphic 13">
            <a:extLst>
              <a:ext uri="{FF2B5EF4-FFF2-40B4-BE49-F238E27FC236}">
                <a16:creationId xmlns:a16="http://schemas.microsoft.com/office/drawing/2014/main" id="{BFAB2E21-8C25-559F-10DB-60C4E53D5DA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7986" y="517372"/>
            <a:ext cx="352777" cy="381000"/>
          </a:xfrm>
          <a:prstGeom prst="rect">
            <a:avLst/>
          </a:prstGeom>
        </p:spPr>
      </p:pic>
      <p:sp>
        <p:nvSpPr>
          <p:cNvPr id="7" name="Round Same-side Corner of Rectangle 6">
            <a:extLst>
              <a:ext uri="{FF2B5EF4-FFF2-40B4-BE49-F238E27FC236}">
                <a16:creationId xmlns:a16="http://schemas.microsoft.com/office/drawing/2014/main" id="{A3C9C74D-04E2-B32D-FBA3-CE8F92893B27}"/>
              </a:ext>
            </a:extLst>
          </p:cNvPr>
          <p:cNvSpPr/>
          <p:nvPr/>
        </p:nvSpPr>
        <p:spPr>
          <a:xfrm>
            <a:off x="460374" y="4072467"/>
            <a:ext cx="8221665" cy="1071033"/>
          </a:xfrm>
          <a:prstGeom prst="round2SameRect">
            <a:avLst>
              <a:gd name="adj1" fmla="val 15869"/>
              <a:gd name="adj2" fmla="val 0"/>
            </a:avLst>
          </a:prstGeom>
          <a:blipFill>
            <a:blip r:embed="rId5"/>
            <a:srcRect/>
            <a:stretch>
              <a:fillRect t="-41425" b="-29037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dirty="0">
              <a:solidFill>
                <a:schemeClr val="tx1"/>
              </a:solidFill>
              <a:latin typeface="Proximus Bold" panose="00000500000000000000" pitchFamily="2" charset="0"/>
              <a:cs typeface="Proximus Bold"/>
            </a:endParaRPr>
          </a:p>
        </p:txBody>
      </p:sp>
    </p:spTree>
    <p:extLst>
      <p:ext uri="{BB962C8B-B14F-4D97-AF65-F5344CB8AC3E}">
        <p14:creationId xmlns:p14="http://schemas.microsoft.com/office/powerpoint/2010/main" val="13017180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E848298-E2DB-363A-076F-CB9045C94A17}"/>
            </a:ext>
          </a:extLst>
        </p:cNvPr>
        <p:cNvGrpSpPr/>
        <p:nvPr/>
      </p:nvGrpSpPr>
      <p:grpSpPr>
        <a:xfrm>
          <a:off x="0" y="0"/>
          <a:ext cx="0" cy="0"/>
          <a:chOff x="0" y="0"/>
          <a:chExt cx="0" cy="0"/>
        </a:xfrm>
      </p:grpSpPr>
      <p:sp>
        <p:nvSpPr>
          <p:cNvPr id="3" name="!!box1">
            <a:extLst>
              <a:ext uri="{FF2B5EF4-FFF2-40B4-BE49-F238E27FC236}">
                <a16:creationId xmlns:a16="http://schemas.microsoft.com/office/drawing/2014/main" id="{A9CFFEBF-4530-B96C-3E3A-D5F93C21C541}"/>
              </a:ext>
            </a:extLst>
          </p:cNvPr>
          <p:cNvSpPr>
            <a:spLocks noGrp="1"/>
          </p:cNvSpPr>
          <p:nvPr>
            <p:ph type="body" sz="quarter" idx="13"/>
          </p:nvPr>
        </p:nvSpPr>
        <p:spPr>
          <a:xfrm>
            <a:off x="460369" y="923131"/>
            <a:ext cx="1908000" cy="3297238"/>
          </a:xfrm>
          <a:solidFill>
            <a:schemeClr val="tx1"/>
          </a:solidFill>
        </p:spPr>
        <p:txBody>
          <a:bodyPr tIns="1494000"/>
          <a:lstStyle/>
          <a:p>
            <a:pPr algn="ctr"/>
            <a:r>
              <a:rPr lang="en-BE" sz="1600" b="1">
                <a:solidFill>
                  <a:srgbClr val="2A2234"/>
                </a:solidFill>
                <a:latin typeface="Proximus ExtraBold" pitchFamily="2" charset="77"/>
              </a:rPr>
              <a:t>Bold experiences</a:t>
            </a:r>
          </a:p>
        </p:txBody>
      </p:sp>
      <p:sp>
        <p:nvSpPr>
          <p:cNvPr id="4" name="!!box2">
            <a:extLst>
              <a:ext uri="{FF2B5EF4-FFF2-40B4-BE49-F238E27FC236}">
                <a16:creationId xmlns:a16="http://schemas.microsoft.com/office/drawing/2014/main" id="{E636A499-C09A-570B-0C7A-574474F1F269}"/>
              </a:ext>
            </a:extLst>
          </p:cNvPr>
          <p:cNvSpPr>
            <a:spLocks noGrp="1"/>
          </p:cNvSpPr>
          <p:nvPr>
            <p:ph type="body" sz="quarter" idx="14"/>
          </p:nvPr>
        </p:nvSpPr>
        <p:spPr>
          <a:xfrm>
            <a:off x="256239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efficiency</a:t>
            </a:r>
          </a:p>
        </p:txBody>
      </p:sp>
      <p:sp>
        <p:nvSpPr>
          <p:cNvPr id="5" name="!!box3">
            <a:extLst>
              <a:ext uri="{FF2B5EF4-FFF2-40B4-BE49-F238E27FC236}">
                <a16:creationId xmlns:a16="http://schemas.microsoft.com/office/drawing/2014/main" id="{02CA6C29-112D-1F6D-7212-7425AEFE098E}"/>
              </a:ext>
            </a:extLst>
          </p:cNvPr>
          <p:cNvSpPr>
            <a:spLocks noGrp="1"/>
          </p:cNvSpPr>
          <p:nvPr>
            <p:ph type="body" sz="quarter" idx="15"/>
          </p:nvPr>
        </p:nvSpPr>
        <p:spPr>
          <a:xfrm>
            <a:off x="4668423" y="923131"/>
            <a:ext cx="1908000" cy="3297238"/>
          </a:xfrm>
          <a:solidFill>
            <a:schemeClr val="tx1"/>
          </a:solidFill>
        </p:spPr>
        <p:txBody>
          <a:bodyPr tIns="1494000"/>
          <a:lstStyle/>
          <a:p>
            <a:pPr algn="ctr"/>
            <a:r>
              <a:rPr lang="en-BE" sz="1600" b="1">
                <a:solidFill>
                  <a:srgbClr val="2A2234"/>
                </a:solidFill>
                <a:latin typeface="Proximus ExtraBold" pitchFamily="2" charset="77"/>
              </a:rPr>
              <a:t>Bold</a:t>
            </a:r>
            <a:r>
              <a:rPr lang="en-GB" sz="1600" b="1">
                <a:solidFill>
                  <a:srgbClr val="2A2234"/>
                </a:solidFill>
                <a:latin typeface="Proximus ExtraBold" pitchFamily="2" charset="77"/>
              </a:rPr>
              <a:t> </a:t>
            </a:r>
            <a:br>
              <a:rPr lang="en-GB" sz="1600" b="1">
                <a:solidFill>
                  <a:srgbClr val="2A2234"/>
                </a:solidFill>
                <a:latin typeface="Proximus ExtraBold" pitchFamily="2" charset="77"/>
              </a:rPr>
            </a:br>
            <a:r>
              <a:rPr lang="en-GB" sz="1600" b="1">
                <a:solidFill>
                  <a:srgbClr val="2A2234"/>
                </a:solidFill>
                <a:latin typeface="Proximus ExtraBold" pitchFamily="2" charset="77"/>
              </a:rPr>
              <a:t>future-proofness</a:t>
            </a:r>
            <a:endParaRPr lang="en-BE" sz="1600" b="1">
              <a:solidFill>
                <a:srgbClr val="2A2234"/>
              </a:solidFill>
              <a:latin typeface="Proximus ExtraBold" pitchFamily="2" charset="77"/>
            </a:endParaRPr>
          </a:p>
        </p:txBody>
      </p:sp>
      <p:sp>
        <p:nvSpPr>
          <p:cNvPr id="7" name="!!box5">
            <a:extLst>
              <a:ext uri="{FF2B5EF4-FFF2-40B4-BE49-F238E27FC236}">
                <a16:creationId xmlns:a16="http://schemas.microsoft.com/office/drawing/2014/main" id="{8D2A5DAC-6A77-40DC-5B90-CDE08ED35785}"/>
              </a:ext>
            </a:extLst>
          </p:cNvPr>
          <p:cNvSpPr>
            <a:spLocks noGrp="1"/>
          </p:cNvSpPr>
          <p:nvPr>
            <p:ph type="body" sz="quarter" idx="17"/>
          </p:nvPr>
        </p:nvSpPr>
        <p:spPr>
          <a:xfrm>
            <a:off x="6772450" y="923131"/>
            <a:ext cx="1908000" cy="3297238"/>
          </a:xfrm>
          <a:gradFill>
            <a:gsLst>
              <a:gs pos="0">
                <a:schemeClr val="bg1"/>
              </a:gs>
              <a:gs pos="100000">
                <a:schemeClr val="accent1"/>
              </a:gs>
            </a:gsLst>
            <a:lin ang="4200000" scaled="0"/>
          </a:gradFill>
        </p:spPr>
        <p:txBody>
          <a:bodyPr tIns="1494000"/>
          <a:lstStyle/>
          <a:p>
            <a:pPr algn="ctr"/>
            <a:r>
              <a:rPr lang="en-BE" sz="1600" b="1">
                <a:solidFill>
                  <a:schemeClr val="tx1"/>
                </a:solidFill>
                <a:latin typeface="Proximus ExtraBold" pitchFamily="2" charset="77"/>
              </a:rPr>
              <a:t>Bold</a:t>
            </a:r>
            <a:r>
              <a:rPr lang="en-GB" sz="1600" b="1">
                <a:solidFill>
                  <a:schemeClr val="tx1"/>
                </a:solidFill>
                <a:latin typeface="Proximus ExtraBold" pitchFamily="2" charset="77"/>
              </a:rPr>
              <a:t> </a:t>
            </a:r>
            <a:br>
              <a:rPr lang="en-GB" sz="1600" b="1">
                <a:solidFill>
                  <a:schemeClr val="tx1"/>
                </a:solidFill>
                <a:latin typeface="Proximus ExtraBold" pitchFamily="2" charset="77"/>
              </a:rPr>
            </a:br>
            <a:r>
              <a:rPr lang="en-GB" sz="1600" b="1">
                <a:solidFill>
                  <a:schemeClr val="tx1"/>
                </a:solidFill>
                <a:latin typeface="Proximus ExtraBold" pitchFamily="2" charset="77"/>
              </a:rPr>
              <a:t>people</a:t>
            </a:r>
          </a:p>
        </p:txBody>
      </p:sp>
      <p:grpSp>
        <p:nvGrpSpPr>
          <p:cNvPr id="63" name="Group 62">
            <a:extLst>
              <a:ext uri="{FF2B5EF4-FFF2-40B4-BE49-F238E27FC236}">
                <a16:creationId xmlns:a16="http://schemas.microsoft.com/office/drawing/2014/main" id="{4CAC9538-45D8-93E9-1D23-B4AE952739D9}"/>
              </a:ext>
            </a:extLst>
          </p:cNvPr>
          <p:cNvGrpSpPr/>
          <p:nvPr/>
        </p:nvGrpSpPr>
        <p:grpSpPr>
          <a:xfrm>
            <a:off x="1090369" y="1390436"/>
            <a:ext cx="648000" cy="648000"/>
            <a:chOff x="869838" y="1363153"/>
            <a:chExt cx="648000" cy="648000"/>
          </a:xfrm>
        </p:grpSpPr>
        <p:sp>
          <p:nvSpPr>
            <p:cNvPr id="46" name="!!OVAL_network">
              <a:extLst>
                <a:ext uri="{FF2B5EF4-FFF2-40B4-BE49-F238E27FC236}">
                  <a16:creationId xmlns:a16="http://schemas.microsoft.com/office/drawing/2014/main" id="{E52683C9-F16E-DB52-6314-402F652AC2FE}"/>
                </a:ext>
              </a:extLst>
            </p:cNvPr>
            <p:cNvSpPr>
              <a:spLocks noChangeAspect="1"/>
            </p:cNvSpPr>
            <p:nvPr/>
          </p:nvSpPr>
          <p:spPr>
            <a:xfrm>
              <a:off x="869838" y="1363153"/>
              <a:ext cx="648000" cy="648000"/>
            </a:xfrm>
            <a:prstGeom prst="ellipse">
              <a:avLst/>
            </a:prstGeom>
            <a:gradFill flip="none" rotWithShape="1">
              <a:gsLst>
                <a:gs pos="0">
                  <a:schemeClr val="bg1"/>
                </a:gs>
                <a:gs pos="98000">
                  <a:srgbClr val="41C3FF"/>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grpSp>
          <p:nvGrpSpPr>
            <p:cNvPr id="75" name="medal">
              <a:extLst>
                <a:ext uri="{FF2B5EF4-FFF2-40B4-BE49-F238E27FC236}">
                  <a16:creationId xmlns:a16="http://schemas.microsoft.com/office/drawing/2014/main" id="{92402BE4-F587-F659-2EFD-D6B3177DC90A}"/>
                </a:ext>
              </a:extLst>
            </p:cNvPr>
            <p:cNvGrpSpPr/>
            <p:nvPr/>
          </p:nvGrpSpPr>
          <p:grpSpPr>
            <a:xfrm>
              <a:off x="1014011" y="1530264"/>
              <a:ext cx="359654" cy="360044"/>
              <a:chOff x="4715967" y="2129134"/>
              <a:chExt cx="359654" cy="360044"/>
            </a:xfrm>
            <a:solidFill>
              <a:schemeClr val="tx1"/>
            </a:solidFill>
          </p:grpSpPr>
          <p:sp>
            <p:nvSpPr>
              <p:cNvPr id="76" name="Freeform: Shape 101">
                <a:extLst>
                  <a:ext uri="{FF2B5EF4-FFF2-40B4-BE49-F238E27FC236}">
                    <a16:creationId xmlns:a16="http://schemas.microsoft.com/office/drawing/2014/main" id="{F87E7390-4D58-4933-C931-55FE4825E2F1}"/>
                  </a:ext>
                </a:extLst>
              </p:cNvPr>
              <p:cNvSpPr/>
              <p:nvPr/>
            </p:nvSpPr>
            <p:spPr>
              <a:xfrm>
                <a:off x="4715967" y="2129134"/>
                <a:ext cx="359654" cy="360044"/>
              </a:xfrm>
              <a:custGeom>
                <a:avLst/>
                <a:gdLst>
                  <a:gd name="connsiteX0" fmla="*/ 249641 w 359654"/>
                  <a:gd name="connsiteY0" fmla="*/ 178118 h 360044"/>
                  <a:gd name="connsiteX1" fmla="*/ 358226 w 359654"/>
                  <a:gd name="connsiteY1" fmla="*/ 15240 h 360044"/>
                  <a:gd name="connsiteX2" fmla="*/ 358226 w 359654"/>
                  <a:gd name="connsiteY2" fmla="*/ 5715 h 360044"/>
                  <a:gd name="connsiteX3" fmla="*/ 350606 w 359654"/>
                  <a:gd name="connsiteY3" fmla="*/ 0 h 360044"/>
                  <a:gd name="connsiteX4" fmla="*/ 245831 w 359654"/>
                  <a:gd name="connsiteY4" fmla="*/ 0 h 360044"/>
                  <a:gd name="connsiteX5" fmla="*/ 238211 w 359654"/>
                  <a:gd name="connsiteY5" fmla="*/ 4763 h 360044"/>
                  <a:gd name="connsiteX6" fmla="*/ 182966 w 359654"/>
                  <a:gd name="connsiteY6" fmla="*/ 89535 h 360044"/>
                  <a:gd name="connsiteX7" fmla="*/ 122006 w 359654"/>
                  <a:gd name="connsiteY7" fmla="*/ 4763 h 360044"/>
                  <a:gd name="connsiteX8" fmla="*/ 114386 w 359654"/>
                  <a:gd name="connsiteY8" fmla="*/ 0 h 360044"/>
                  <a:gd name="connsiteX9" fmla="*/ 9611 w 359654"/>
                  <a:gd name="connsiteY9" fmla="*/ 0 h 360044"/>
                  <a:gd name="connsiteX10" fmla="*/ 1038 w 359654"/>
                  <a:gd name="connsiteY10" fmla="*/ 4763 h 360044"/>
                  <a:gd name="connsiteX11" fmla="*/ 1991 w 359654"/>
                  <a:gd name="connsiteY11" fmla="*/ 14288 h 360044"/>
                  <a:gd name="connsiteX12" fmla="*/ 120101 w 359654"/>
                  <a:gd name="connsiteY12" fmla="*/ 179070 h 360044"/>
                  <a:gd name="connsiteX13" fmla="*/ 128673 w 359654"/>
                  <a:gd name="connsiteY13" fmla="*/ 186690 h 360044"/>
                  <a:gd name="connsiteX14" fmla="*/ 84858 w 359654"/>
                  <a:gd name="connsiteY14" fmla="*/ 266700 h 360044"/>
                  <a:gd name="connsiteX15" fmla="*/ 178203 w 359654"/>
                  <a:gd name="connsiteY15" fmla="*/ 360045 h 360044"/>
                  <a:gd name="connsiteX16" fmla="*/ 182013 w 359654"/>
                  <a:gd name="connsiteY16" fmla="*/ 360045 h 360044"/>
                  <a:gd name="connsiteX17" fmla="*/ 275358 w 359654"/>
                  <a:gd name="connsiteY17" fmla="*/ 265748 h 360044"/>
                  <a:gd name="connsiteX18" fmla="*/ 235353 w 359654"/>
                  <a:gd name="connsiteY18" fmla="*/ 189548 h 360044"/>
                  <a:gd name="connsiteX19" fmla="*/ 249641 w 359654"/>
                  <a:gd name="connsiteY19" fmla="*/ 178118 h 360044"/>
                  <a:gd name="connsiteX20" fmla="*/ 251546 w 359654"/>
                  <a:gd name="connsiteY20" fmla="*/ 19050 h 360044"/>
                  <a:gd name="connsiteX21" fmla="*/ 333461 w 359654"/>
                  <a:gd name="connsiteY21" fmla="*/ 19050 h 360044"/>
                  <a:gd name="connsiteX22" fmla="*/ 236306 w 359654"/>
                  <a:gd name="connsiteY22" fmla="*/ 164783 h 360044"/>
                  <a:gd name="connsiteX23" fmla="*/ 234401 w 359654"/>
                  <a:gd name="connsiteY23" fmla="*/ 161925 h 360044"/>
                  <a:gd name="connsiteX24" fmla="*/ 194396 w 359654"/>
                  <a:gd name="connsiteY24" fmla="*/ 105728 h 360044"/>
                  <a:gd name="connsiteX25" fmla="*/ 251546 w 359654"/>
                  <a:gd name="connsiteY25" fmla="*/ 19050 h 360044"/>
                  <a:gd name="connsiteX26" fmla="*/ 27708 w 359654"/>
                  <a:gd name="connsiteY26" fmla="*/ 19050 h 360044"/>
                  <a:gd name="connsiteX27" fmla="*/ 108671 w 359654"/>
                  <a:gd name="connsiteY27" fmla="*/ 19050 h 360044"/>
                  <a:gd name="connsiteX28" fmla="*/ 219161 w 359654"/>
                  <a:gd name="connsiteY28" fmla="*/ 172403 h 360044"/>
                  <a:gd name="connsiteX29" fmla="*/ 142961 w 359654"/>
                  <a:gd name="connsiteY29" fmla="*/ 172403 h 360044"/>
                  <a:gd name="connsiteX30" fmla="*/ 135341 w 359654"/>
                  <a:gd name="connsiteY30" fmla="*/ 168593 h 360044"/>
                  <a:gd name="connsiteX31" fmla="*/ 27708 w 359654"/>
                  <a:gd name="connsiteY31" fmla="*/ 19050 h 360044"/>
                  <a:gd name="connsiteX32" fmla="*/ 256308 w 359654"/>
                  <a:gd name="connsiteY32" fmla="*/ 266700 h 360044"/>
                  <a:gd name="connsiteX33" fmla="*/ 182013 w 359654"/>
                  <a:gd name="connsiteY33" fmla="*/ 340995 h 360044"/>
                  <a:gd name="connsiteX34" fmla="*/ 178203 w 359654"/>
                  <a:gd name="connsiteY34" fmla="*/ 340995 h 360044"/>
                  <a:gd name="connsiteX35" fmla="*/ 103908 w 359654"/>
                  <a:gd name="connsiteY35" fmla="*/ 265748 h 360044"/>
                  <a:gd name="connsiteX36" fmla="*/ 178203 w 359654"/>
                  <a:gd name="connsiteY36" fmla="*/ 191453 h 360044"/>
                  <a:gd name="connsiteX37" fmla="*/ 182013 w 359654"/>
                  <a:gd name="connsiteY37" fmla="*/ 191453 h 360044"/>
                  <a:gd name="connsiteX38" fmla="*/ 256308 w 359654"/>
                  <a:gd name="connsiteY38" fmla="*/ 266700 h 36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654" h="360044">
                    <a:moveTo>
                      <a:pt x="249641" y="178118"/>
                    </a:moveTo>
                    <a:lnTo>
                      <a:pt x="358226" y="15240"/>
                    </a:lnTo>
                    <a:cubicBezTo>
                      <a:pt x="360131" y="12383"/>
                      <a:pt x="360131" y="8573"/>
                      <a:pt x="358226" y="5715"/>
                    </a:cubicBezTo>
                    <a:cubicBezTo>
                      <a:pt x="357273" y="1905"/>
                      <a:pt x="354416" y="0"/>
                      <a:pt x="350606" y="0"/>
                    </a:cubicBezTo>
                    <a:lnTo>
                      <a:pt x="245831" y="0"/>
                    </a:lnTo>
                    <a:cubicBezTo>
                      <a:pt x="242973" y="0"/>
                      <a:pt x="239163" y="1905"/>
                      <a:pt x="238211" y="4763"/>
                    </a:cubicBezTo>
                    <a:lnTo>
                      <a:pt x="182966" y="89535"/>
                    </a:lnTo>
                    <a:lnTo>
                      <a:pt x="122006" y="4763"/>
                    </a:lnTo>
                    <a:cubicBezTo>
                      <a:pt x="120101" y="1905"/>
                      <a:pt x="117243" y="0"/>
                      <a:pt x="114386" y="0"/>
                    </a:cubicBezTo>
                    <a:lnTo>
                      <a:pt x="9611" y="0"/>
                    </a:lnTo>
                    <a:cubicBezTo>
                      <a:pt x="5801" y="0"/>
                      <a:pt x="2943" y="1905"/>
                      <a:pt x="1038" y="4763"/>
                    </a:cubicBezTo>
                    <a:cubicBezTo>
                      <a:pt x="-867" y="7620"/>
                      <a:pt x="86" y="11430"/>
                      <a:pt x="1991" y="14288"/>
                    </a:cubicBezTo>
                    <a:lnTo>
                      <a:pt x="120101" y="179070"/>
                    </a:lnTo>
                    <a:cubicBezTo>
                      <a:pt x="122006" y="181928"/>
                      <a:pt x="124863" y="184785"/>
                      <a:pt x="128673" y="186690"/>
                    </a:cubicBezTo>
                    <a:cubicBezTo>
                      <a:pt x="102956" y="202883"/>
                      <a:pt x="84858" y="232410"/>
                      <a:pt x="84858" y="266700"/>
                    </a:cubicBezTo>
                    <a:cubicBezTo>
                      <a:pt x="84858" y="318135"/>
                      <a:pt x="126768" y="360045"/>
                      <a:pt x="178203" y="360045"/>
                    </a:cubicBezTo>
                    <a:lnTo>
                      <a:pt x="182013" y="360045"/>
                    </a:lnTo>
                    <a:cubicBezTo>
                      <a:pt x="233448" y="360045"/>
                      <a:pt x="275358" y="318135"/>
                      <a:pt x="275358" y="265748"/>
                    </a:cubicBezTo>
                    <a:cubicBezTo>
                      <a:pt x="275358" y="234315"/>
                      <a:pt x="260118" y="206693"/>
                      <a:pt x="235353" y="189548"/>
                    </a:cubicBezTo>
                    <a:cubicBezTo>
                      <a:pt x="242021" y="187643"/>
                      <a:pt x="246783" y="183833"/>
                      <a:pt x="249641" y="178118"/>
                    </a:cubicBezTo>
                    <a:close/>
                    <a:moveTo>
                      <a:pt x="251546" y="19050"/>
                    </a:moveTo>
                    <a:lnTo>
                      <a:pt x="333461" y="19050"/>
                    </a:lnTo>
                    <a:lnTo>
                      <a:pt x="236306" y="164783"/>
                    </a:lnTo>
                    <a:cubicBezTo>
                      <a:pt x="235353" y="163830"/>
                      <a:pt x="235353" y="162878"/>
                      <a:pt x="234401" y="161925"/>
                    </a:cubicBezTo>
                    <a:lnTo>
                      <a:pt x="194396" y="105728"/>
                    </a:lnTo>
                    <a:lnTo>
                      <a:pt x="251546" y="19050"/>
                    </a:lnTo>
                    <a:close/>
                    <a:moveTo>
                      <a:pt x="27708" y="19050"/>
                    </a:moveTo>
                    <a:lnTo>
                      <a:pt x="108671" y="19050"/>
                    </a:lnTo>
                    <a:lnTo>
                      <a:pt x="219161" y="172403"/>
                    </a:lnTo>
                    <a:lnTo>
                      <a:pt x="142961" y="172403"/>
                    </a:lnTo>
                    <a:cubicBezTo>
                      <a:pt x="140103" y="172403"/>
                      <a:pt x="137246" y="170498"/>
                      <a:pt x="135341" y="168593"/>
                    </a:cubicBezTo>
                    <a:lnTo>
                      <a:pt x="27708" y="19050"/>
                    </a:lnTo>
                    <a:close/>
                    <a:moveTo>
                      <a:pt x="256308" y="266700"/>
                    </a:moveTo>
                    <a:cubicBezTo>
                      <a:pt x="256308" y="307658"/>
                      <a:pt x="222971" y="340995"/>
                      <a:pt x="182013" y="340995"/>
                    </a:cubicBezTo>
                    <a:lnTo>
                      <a:pt x="178203" y="340995"/>
                    </a:lnTo>
                    <a:cubicBezTo>
                      <a:pt x="137246" y="340995"/>
                      <a:pt x="103908" y="307658"/>
                      <a:pt x="103908" y="265748"/>
                    </a:cubicBezTo>
                    <a:cubicBezTo>
                      <a:pt x="103908" y="224790"/>
                      <a:pt x="137246" y="191453"/>
                      <a:pt x="178203" y="191453"/>
                    </a:cubicBezTo>
                    <a:lnTo>
                      <a:pt x="182013" y="191453"/>
                    </a:lnTo>
                    <a:cubicBezTo>
                      <a:pt x="222971" y="191453"/>
                      <a:pt x="256308" y="224790"/>
                      <a:pt x="256308" y="266700"/>
                    </a:cubicBezTo>
                    <a:close/>
                  </a:path>
                </a:pathLst>
              </a:custGeom>
              <a:grpFill/>
              <a:ln w="9525" cap="flat">
                <a:noFill/>
                <a:prstDash val="solid"/>
                <a:miter/>
              </a:ln>
            </p:spPr>
            <p:txBody>
              <a:bodyPr rtlCol="0" anchor="ctr"/>
              <a:lstStyle/>
              <a:p>
                <a:endParaRPr lang="en-GB"/>
              </a:p>
            </p:txBody>
          </p:sp>
          <p:sp>
            <p:nvSpPr>
              <p:cNvPr id="77" name="Freeform: Shape 102">
                <a:extLst>
                  <a:ext uri="{FF2B5EF4-FFF2-40B4-BE49-F238E27FC236}">
                    <a16:creationId xmlns:a16="http://schemas.microsoft.com/office/drawing/2014/main" id="{1C1D4347-B0C7-FF3A-90E4-4D13A75C25BF}"/>
                  </a:ext>
                </a:extLst>
              </p:cNvPr>
              <p:cNvSpPr/>
              <p:nvPr/>
            </p:nvSpPr>
            <p:spPr>
              <a:xfrm>
                <a:off x="4849059" y="2340589"/>
                <a:ext cx="97842" cy="91678"/>
              </a:xfrm>
              <a:custGeom>
                <a:avLst/>
                <a:gdLst>
                  <a:gd name="connsiteX0" fmla="*/ 86069 w 97842"/>
                  <a:gd name="connsiteY0" fmla="*/ 27622 h 91678"/>
                  <a:gd name="connsiteX1" fmla="*/ 63209 w 97842"/>
                  <a:gd name="connsiteY1" fmla="*/ 27622 h 91678"/>
                  <a:gd name="connsiteX2" fmla="*/ 56541 w 97842"/>
                  <a:gd name="connsiteY2" fmla="*/ 6667 h 91678"/>
                  <a:gd name="connsiteX3" fmla="*/ 47969 w 97842"/>
                  <a:gd name="connsiteY3" fmla="*/ 0 h 91678"/>
                  <a:gd name="connsiteX4" fmla="*/ 39396 w 97842"/>
                  <a:gd name="connsiteY4" fmla="*/ 6667 h 91678"/>
                  <a:gd name="connsiteX5" fmla="*/ 32729 w 97842"/>
                  <a:gd name="connsiteY5" fmla="*/ 27622 h 91678"/>
                  <a:gd name="connsiteX6" fmla="*/ 9869 w 97842"/>
                  <a:gd name="connsiteY6" fmla="*/ 27622 h 91678"/>
                  <a:gd name="connsiteX7" fmla="*/ 344 w 97842"/>
                  <a:gd name="connsiteY7" fmla="*/ 34290 h 91678"/>
                  <a:gd name="connsiteX8" fmla="*/ 4154 w 97842"/>
                  <a:gd name="connsiteY8" fmla="*/ 44767 h 91678"/>
                  <a:gd name="connsiteX9" fmla="*/ 22251 w 97842"/>
                  <a:gd name="connsiteY9" fmla="*/ 58102 h 91678"/>
                  <a:gd name="connsiteX10" fmla="*/ 15584 w 97842"/>
                  <a:gd name="connsiteY10" fmla="*/ 79057 h 91678"/>
                  <a:gd name="connsiteX11" fmla="*/ 19394 w 97842"/>
                  <a:gd name="connsiteY11" fmla="*/ 89535 h 91678"/>
                  <a:gd name="connsiteX12" fmla="*/ 30824 w 97842"/>
                  <a:gd name="connsiteY12" fmla="*/ 89535 h 91678"/>
                  <a:gd name="connsiteX13" fmla="*/ 48921 w 97842"/>
                  <a:gd name="connsiteY13" fmla="*/ 76200 h 91678"/>
                  <a:gd name="connsiteX14" fmla="*/ 67019 w 97842"/>
                  <a:gd name="connsiteY14" fmla="*/ 89535 h 91678"/>
                  <a:gd name="connsiteX15" fmla="*/ 72734 w 97842"/>
                  <a:gd name="connsiteY15" fmla="*/ 91440 h 91678"/>
                  <a:gd name="connsiteX16" fmla="*/ 78449 w 97842"/>
                  <a:gd name="connsiteY16" fmla="*/ 89535 h 91678"/>
                  <a:gd name="connsiteX17" fmla="*/ 82259 w 97842"/>
                  <a:gd name="connsiteY17" fmla="*/ 79057 h 91678"/>
                  <a:gd name="connsiteX18" fmla="*/ 75591 w 97842"/>
                  <a:gd name="connsiteY18" fmla="*/ 58102 h 91678"/>
                  <a:gd name="connsiteX19" fmla="*/ 93689 w 97842"/>
                  <a:gd name="connsiteY19" fmla="*/ 44767 h 91678"/>
                  <a:gd name="connsiteX20" fmla="*/ 97499 w 97842"/>
                  <a:gd name="connsiteY20" fmla="*/ 34290 h 91678"/>
                  <a:gd name="connsiteX21" fmla="*/ 86069 w 97842"/>
                  <a:gd name="connsiteY21" fmla="*/ 27622 h 91678"/>
                  <a:gd name="connsiteX22" fmla="*/ 52731 w 97842"/>
                  <a:gd name="connsiteY22" fmla="*/ 57150 h 91678"/>
                  <a:gd name="connsiteX23" fmla="*/ 52731 w 97842"/>
                  <a:gd name="connsiteY23" fmla="*/ 57150 h 91678"/>
                  <a:gd name="connsiteX24" fmla="*/ 47016 w 97842"/>
                  <a:gd name="connsiteY24" fmla="*/ 55245 h 91678"/>
                  <a:gd name="connsiteX25" fmla="*/ 41301 w 97842"/>
                  <a:gd name="connsiteY25" fmla="*/ 57150 h 91678"/>
                  <a:gd name="connsiteX26" fmla="*/ 41301 w 97842"/>
                  <a:gd name="connsiteY26" fmla="*/ 57150 h 91678"/>
                  <a:gd name="connsiteX27" fmla="*/ 38444 w 97842"/>
                  <a:gd name="connsiteY27" fmla="*/ 46672 h 91678"/>
                  <a:gd name="connsiteX28" fmla="*/ 47016 w 97842"/>
                  <a:gd name="connsiteY28" fmla="*/ 40005 h 91678"/>
                  <a:gd name="connsiteX29" fmla="*/ 47016 w 97842"/>
                  <a:gd name="connsiteY29" fmla="*/ 40005 h 91678"/>
                  <a:gd name="connsiteX30" fmla="*/ 47016 w 97842"/>
                  <a:gd name="connsiteY30" fmla="*/ 40005 h 91678"/>
                  <a:gd name="connsiteX31" fmla="*/ 55589 w 97842"/>
                  <a:gd name="connsiteY31" fmla="*/ 46672 h 91678"/>
                  <a:gd name="connsiteX32" fmla="*/ 52731 w 97842"/>
                  <a:gd name="connsiteY32" fmla="*/ 57150 h 9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842" h="91678">
                    <a:moveTo>
                      <a:pt x="86069" y="27622"/>
                    </a:moveTo>
                    <a:lnTo>
                      <a:pt x="63209" y="27622"/>
                    </a:lnTo>
                    <a:lnTo>
                      <a:pt x="56541" y="6667"/>
                    </a:lnTo>
                    <a:cubicBezTo>
                      <a:pt x="55589" y="2857"/>
                      <a:pt x="51779" y="0"/>
                      <a:pt x="47969" y="0"/>
                    </a:cubicBezTo>
                    <a:cubicBezTo>
                      <a:pt x="44159" y="0"/>
                      <a:pt x="40349" y="2857"/>
                      <a:pt x="39396" y="6667"/>
                    </a:cubicBezTo>
                    <a:lnTo>
                      <a:pt x="32729" y="27622"/>
                    </a:lnTo>
                    <a:lnTo>
                      <a:pt x="9869" y="27622"/>
                    </a:lnTo>
                    <a:cubicBezTo>
                      <a:pt x="6059" y="27622"/>
                      <a:pt x="2249" y="30480"/>
                      <a:pt x="344" y="34290"/>
                    </a:cubicBezTo>
                    <a:cubicBezTo>
                      <a:pt x="-609" y="38100"/>
                      <a:pt x="344" y="42863"/>
                      <a:pt x="4154" y="44767"/>
                    </a:cubicBezTo>
                    <a:lnTo>
                      <a:pt x="22251" y="58102"/>
                    </a:lnTo>
                    <a:lnTo>
                      <a:pt x="15584" y="79057"/>
                    </a:lnTo>
                    <a:cubicBezTo>
                      <a:pt x="14631" y="82867"/>
                      <a:pt x="15584" y="87630"/>
                      <a:pt x="19394" y="89535"/>
                    </a:cubicBezTo>
                    <a:cubicBezTo>
                      <a:pt x="22251" y="92392"/>
                      <a:pt x="27014" y="92392"/>
                      <a:pt x="30824" y="89535"/>
                    </a:cubicBezTo>
                    <a:lnTo>
                      <a:pt x="48921" y="76200"/>
                    </a:lnTo>
                    <a:lnTo>
                      <a:pt x="67019" y="89535"/>
                    </a:lnTo>
                    <a:cubicBezTo>
                      <a:pt x="68924" y="90488"/>
                      <a:pt x="70829" y="91440"/>
                      <a:pt x="72734" y="91440"/>
                    </a:cubicBezTo>
                    <a:cubicBezTo>
                      <a:pt x="74639" y="91440"/>
                      <a:pt x="76544" y="90488"/>
                      <a:pt x="78449" y="89535"/>
                    </a:cubicBezTo>
                    <a:cubicBezTo>
                      <a:pt x="81306" y="86677"/>
                      <a:pt x="83211" y="82867"/>
                      <a:pt x="82259" y="79057"/>
                    </a:cubicBezTo>
                    <a:lnTo>
                      <a:pt x="75591" y="58102"/>
                    </a:lnTo>
                    <a:lnTo>
                      <a:pt x="93689" y="44767"/>
                    </a:lnTo>
                    <a:cubicBezTo>
                      <a:pt x="97499" y="41910"/>
                      <a:pt x="98451" y="38100"/>
                      <a:pt x="97499" y="34290"/>
                    </a:cubicBezTo>
                    <a:cubicBezTo>
                      <a:pt x="93689" y="30480"/>
                      <a:pt x="89879" y="27622"/>
                      <a:pt x="86069" y="27622"/>
                    </a:cubicBezTo>
                    <a:close/>
                    <a:moveTo>
                      <a:pt x="52731" y="57150"/>
                    </a:moveTo>
                    <a:lnTo>
                      <a:pt x="52731" y="57150"/>
                    </a:lnTo>
                    <a:cubicBezTo>
                      <a:pt x="50826" y="56197"/>
                      <a:pt x="48921" y="55245"/>
                      <a:pt x="47016" y="55245"/>
                    </a:cubicBezTo>
                    <a:cubicBezTo>
                      <a:pt x="45111" y="55245"/>
                      <a:pt x="43206" y="56197"/>
                      <a:pt x="41301" y="57150"/>
                    </a:cubicBezTo>
                    <a:lnTo>
                      <a:pt x="41301" y="57150"/>
                    </a:lnTo>
                    <a:cubicBezTo>
                      <a:pt x="42254" y="53340"/>
                      <a:pt x="41301" y="49530"/>
                      <a:pt x="38444" y="46672"/>
                    </a:cubicBezTo>
                    <a:cubicBezTo>
                      <a:pt x="42254" y="46672"/>
                      <a:pt x="46064" y="43815"/>
                      <a:pt x="47016" y="40005"/>
                    </a:cubicBezTo>
                    <a:lnTo>
                      <a:pt x="47016" y="40005"/>
                    </a:lnTo>
                    <a:lnTo>
                      <a:pt x="47016" y="40005"/>
                    </a:lnTo>
                    <a:cubicBezTo>
                      <a:pt x="47969" y="43815"/>
                      <a:pt x="51779" y="46672"/>
                      <a:pt x="55589" y="46672"/>
                    </a:cubicBezTo>
                    <a:cubicBezTo>
                      <a:pt x="52731" y="49530"/>
                      <a:pt x="51779" y="53340"/>
                      <a:pt x="52731" y="57150"/>
                    </a:cubicBezTo>
                    <a:close/>
                  </a:path>
                </a:pathLst>
              </a:custGeom>
              <a:grpFill/>
              <a:ln w="9525" cap="flat">
                <a:noFill/>
                <a:prstDash val="solid"/>
                <a:miter/>
              </a:ln>
            </p:spPr>
            <p:txBody>
              <a:bodyPr rtlCol="0" anchor="ctr"/>
              <a:lstStyle/>
              <a:p>
                <a:endParaRPr lang="en-GB"/>
              </a:p>
            </p:txBody>
          </p:sp>
        </p:grpSp>
      </p:grpSp>
      <p:grpSp>
        <p:nvGrpSpPr>
          <p:cNvPr id="61" name="Group 60">
            <a:extLst>
              <a:ext uri="{FF2B5EF4-FFF2-40B4-BE49-F238E27FC236}">
                <a16:creationId xmlns:a16="http://schemas.microsoft.com/office/drawing/2014/main" id="{91BBB8F0-1074-B33A-C537-DD84BA60A82A}"/>
              </a:ext>
            </a:extLst>
          </p:cNvPr>
          <p:cNvGrpSpPr/>
          <p:nvPr/>
        </p:nvGrpSpPr>
        <p:grpSpPr>
          <a:xfrm>
            <a:off x="3192393" y="1390436"/>
            <a:ext cx="648000" cy="648000"/>
            <a:chOff x="2559633" y="1384953"/>
            <a:chExt cx="648000" cy="648000"/>
          </a:xfrm>
        </p:grpSpPr>
        <p:sp>
          <p:nvSpPr>
            <p:cNvPr id="26" name="!!OVAL_brands">
              <a:extLst>
                <a:ext uri="{FF2B5EF4-FFF2-40B4-BE49-F238E27FC236}">
                  <a16:creationId xmlns:a16="http://schemas.microsoft.com/office/drawing/2014/main" id="{42E7ADE2-8EE8-8E77-9008-429C5CE46382}"/>
                </a:ext>
              </a:extLst>
            </p:cNvPr>
            <p:cNvSpPr>
              <a:spLocks noChangeAspect="1"/>
            </p:cNvSpPr>
            <p:nvPr/>
          </p:nvSpPr>
          <p:spPr>
            <a:xfrm>
              <a:off x="2559633" y="1384953"/>
              <a:ext cx="648000" cy="648000"/>
            </a:xfrm>
            <a:prstGeom prst="ellipse">
              <a:avLst/>
            </a:prstGeom>
            <a:gradFill flip="none" rotWithShape="1">
              <a:gsLst>
                <a:gs pos="0">
                  <a:schemeClr val="bg1"/>
                </a:gs>
                <a:gs pos="100000">
                  <a:schemeClr val="accent2"/>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49" name="Graphic 48">
              <a:extLst>
                <a:ext uri="{FF2B5EF4-FFF2-40B4-BE49-F238E27FC236}">
                  <a16:creationId xmlns:a16="http://schemas.microsoft.com/office/drawing/2014/main" id="{84DE0709-0EA4-8261-726A-8595E242B7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5833" y="1531153"/>
              <a:ext cx="355600" cy="355600"/>
            </a:xfrm>
            <a:prstGeom prst="rect">
              <a:avLst/>
            </a:prstGeom>
          </p:spPr>
        </p:pic>
      </p:grpSp>
      <p:sp>
        <p:nvSpPr>
          <p:cNvPr id="50" name="!!OVAL_technology">
            <a:extLst>
              <a:ext uri="{FF2B5EF4-FFF2-40B4-BE49-F238E27FC236}">
                <a16:creationId xmlns:a16="http://schemas.microsoft.com/office/drawing/2014/main" id="{3E0F81A5-20F9-7957-BA9D-CA6685637A98}"/>
              </a:ext>
            </a:extLst>
          </p:cNvPr>
          <p:cNvSpPr>
            <a:spLocks noChangeAspect="1"/>
          </p:cNvSpPr>
          <p:nvPr/>
        </p:nvSpPr>
        <p:spPr>
          <a:xfrm>
            <a:off x="5298423" y="1390436"/>
            <a:ext cx="648000" cy="648000"/>
          </a:xfrm>
          <a:prstGeom prst="ellipse">
            <a:avLst/>
          </a:prstGeom>
          <a:gradFill flip="none" rotWithShape="1">
            <a:gsLst>
              <a:gs pos="0">
                <a:schemeClr val="bg1"/>
              </a:gs>
              <a:gs pos="99000">
                <a:schemeClr val="accent4"/>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24" name="Group 23">
            <a:extLst>
              <a:ext uri="{FF2B5EF4-FFF2-40B4-BE49-F238E27FC236}">
                <a16:creationId xmlns:a16="http://schemas.microsoft.com/office/drawing/2014/main" id="{AE3C52B5-BB2B-1FDC-3D49-83B2FF53702C}"/>
              </a:ext>
            </a:extLst>
          </p:cNvPr>
          <p:cNvGrpSpPr/>
          <p:nvPr/>
        </p:nvGrpSpPr>
        <p:grpSpPr>
          <a:xfrm>
            <a:off x="5453575" y="1547030"/>
            <a:ext cx="356745" cy="346886"/>
            <a:chOff x="4630102" y="215428"/>
            <a:chExt cx="356745" cy="346886"/>
          </a:xfrm>
          <a:solidFill>
            <a:srgbClr val="F3F4F9"/>
          </a:solidFill>
        </p:grpSpPr>
        <p:sp>
          <p:nvSpPr>
            <p:cNvPr id="15" name="Freeform 14">
              <a:extLst>
                <a:ext uri="{FF2B5EF4-FFF2-40B4-BE49-F238E27FC236}">
                  <a16:creationId xmlns:a16="http://schemas.microsoft.com/office/drawing/2014/main" id="{A1C7D4BD-58D8-9ABB-AE98-9CF5DA4C095C}"/>
                </a:ext>
              </a:extLst>
            </p:cNvPr>
            <p:cNvSpPr/>
            <p:nvPr/>
          </p:nvSpPr>
          <p:spPr>
            <a:xfrm>
              <a:off x="4764253" y="349208"/>
              <a:ext cx="66095" cy="70938"/>
            </a:xfrm>
            <a:custGeom>
              <a:avLst/>
              <a:gdLst>
                <a:gd name="connsiteX0" fmla="*/ 60689 w 66095"/>
                <a:gd name="connsiteY0" fmla="*/ 1025 h 70938"/>
                <a:gd name="connsiteX1" fmla="*/ 47925 w 66095"/>
                <a:gd name="connsiteY1" fmla="*/ 5311 h 70938"/>
                <a:gd name="connsiteX2" fmla="*/ 29447 w 66095"/>
                <a:gd name="connsiteY2" fmla="*/ 42268 h 70938"/>
                <a:gd name="connsiteX3" fmla="*/ 17445 w 66095"/>
                <a:gd name="connsiteY3" fmla="*/ 23790 h 70938"/>
                <a:gd name="connsiteX4" fmla="*/ 4301 w 66095"/>
                <a:gd name="connsiteY4" fmla="*/ 21028 h 70938"/>
                <a:gd name="connsiteX5" fmla="*/ 1538 w 66095"/>
                <a:gd name="connsiteY5" fmla="*/ 34172 h 70938"/>
                <a:gd name="connsiteX6" fmla="*/ 22589 w 66095"/>
                <a:gd name="connsiteY6" fmla="*/ 66557 h 70938"/>
                <a:gd name="connsiteX7" fmla="*/ 30590 w 66095"/>
                <a:gd name="connsiteY7" fmla="*/ 70939 h 70938"/>
                <a:gd name="connsiteX8" fmla="*/ 31161 w 66095"/>
                <a:gd name="connsiteY8" fmla="*/ 70939 h 70938"/>
                <a:gd name="connsiteX9" fmla="*/ 39162 w 66095"/>
                <a:gd name="connsiteY9" fmla="*/ 65700 h 70938"/>
                <a:gd name="connsiteX10" fmla="*/ 65070 w 66095"/>
                <a:gd name="connsiteY10" fmla="*/ 13789 h 70938"/>
                <a:gd name="connsiteX11" fmla="*/ 60784 w 66095"/>
                <a:gd name="connsiteY11" fmla="*/ 1025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95" h="70938">
                  <a:moveTo>
                    <a:pt x="60689" y="1025"/>
                  </a:moveTo>
                  <a:cubicBezTo>
                    <a:pt x="56021" y="-1356"/>
                    <a:pt x="50306" y="549"/>
                    <a:pt x="47925" y="5311"/>
                  </a:cubicBezTo>
                  <a:lnTo>
                    <a:pt x="29447" y="42268"/>
                  </a:lnTo>
                  <a:lnTo>
                    <a:pt x="17445" y="23790"/>
                  </a:lnTo>
                  <a:cubicBezTo>
                    <a:pt x="14588" y="19408"/>
                    <a:pt x="8682" y="18170"/>
                    <a:pt x="4301" y="21028"/>
                  </a:cubicBezTo>
                  <a:cubicBezTo>
                    <a:pt x="-81" y="23885"/>
                    <a:pt x="-1319" y="29791"/>
                    <a:pt x="1538" y="34172"/>
                  </a:cubicBezTo>
                  <a:lnTo>
                    <a:pt x="22589" y="66557"/>
                  </a:lnTo>
                  <a:cubicBezTo>
                    <a:pt x="24398" y="69224"/>
                    <a:pt x="27351" y="70939"/>
                    <a:pt x="30590" y="70939"/>
                  </a:cubicBezTo>
                  <a:cubicBezTo>
                    <a:pt x="30780" y="70939"/>
                    <a:pt x="30971" y="70939"/>
                    <a:pt x="31161" y="70939"/>
                  </a:cubicBezTo>
                  <a:cubicBezTo>
                    <a:pt x="34590" y="70748"/>
                    <a:pt x="37638" y="68748"/>
                    <a:pt x="39162" y="65700"/>
                  </a:cubicBezTo>
                  <a:lnTo>
                    <a:pt x="65070" y="13789"/>
                  </a:lnTo>
                  <a:cubicBezTo>
                    <a:pt x="67451" y="9121"/>
                    <a:pt x="65546" y="3406"/>
                    <a:pt x="60784" y="1025"/>
                  </a:cubicBezTo>
                  <a:close/>
                </a:path>
              </a:pathLst>
            </a:custGeom>
            <a:grpFill/>
            <a:ln w="0" cap="flat">
              <a:noFill/>
              <a:prstDash val="solid"/>
              <a:miter/>
            </a:ln>
          </p:spPr>
          <p:txBody>
            <a:bodyPr rtlCol="0" anchor="ctr"/>
            <a:lstStyle/>
            <a:p>
              <a:endParaRPr lang="en-BE"/>
            </a:p>
          </p:txBody>
        </p:sp>
        <p:grpSp>
          <p:nvGrpSpPr>
            <p:cNvPr id="23" name="Group 22">
              <a:extLst>
                <a:ext uri="{FF2B5EF4-FFF2-40B4-BE49-F238E27FC236}">
                  <a16:creationId xmlns:a16="http://schemas.microsoft.com/office/drawing/2014/main" id="{217E9B10-125C-7E49-1F8A-1F8C425B430D}"/>
                </a:ext>
              </a:extLst>
            </p:cNvPr>
            <p:cNvGrpSpPr/>
            <p:nvPr/>
          </p:nvGrpSpPr>
          <p:grpSpPr>
            <a:xfrm flipH="1">
              <a:off x="4630102" y="215428"/>
              <a:ext cx="356745" cy="346886"/>
              <a:chOff x="4630102" y="215428"/>
              <a:chExt cx="356745" cy="346886"/>
            </a:xfrm>
            <a:grpFill/>
          </p:grpSpPr>
          <p:sp>
            <p:nvSpPr>
              <p:cNvPr id="20" name="Freeform 19">
                <a:extLst>
                  <a:ext uri="{FF2B5EF4-FFF2-40B4-BE49-F238E27FC236}">
                    <a16:creationId xmlns:a16="http://schemas.microsoft.com/office/drawing/2014/main" id="{D2CF121F-F4F8-6EB3-A515-BADB26E2BA59}"/>
                  </a:ext>
                </a:extLst>
              </p:cNvPr>
              <p:cNvSpPr/>
              <p:nvPr/>
            </p:nvSpPr>
            <p:spPr>
              <a:xfrm>
                <a:off x="4912283" y="257375"/>
                <a:ext cx="74564" cy="247479"/>
              </a:xfrm>
              <a:custGeom>
                <a:avLst/>
                <a:gdLst>
                  <a:gd name="connsiteX0" fmla="*/ 39660 w 74564"/>
                  <a:gd name="connsiteY0" fmla="*/ 20331 h 247479"/>
                  <a:gd name="connsiteX1" fmla="*/ 59031 w 74564"/>
                  <a:gd name="connsiteY1" fmla="*/ 23019 h 247479"/>
                  <a:gd name="connsiteX2" fmla="*/ 69605 w 74564"/>
                  <a:gd name="connsiteY2" fmla="*/ 15142 h 247479"/>
                  <a:gd name="connsiteX3" fmla="*/ 61651 w 74564"/>
                  <a:gd name="connsiteY3" fmla="*/ 4669 h 247479"/>
                  <a:gd name="connsiteX4" fmla="*/ 29086 w 74564"/>
                  <a:gd name="connsiteY4" fmla="*/ 221 h 247479"/>
                  <a:gd name="connsiteX5" fmla="*/ 5597 w 74564"/>
                  <a:gd name="connsiteY5" fmla="*/ 17829 h 247479"/>
                  <a:gd name="connsiteX6" fmla="*/ 1199 w 74564"/>
                  <a:gd name="connsiteY6" fmla="*/ 49524 h 247479"/>
                  <a:gd name="connsiteX7" fmla="*/ 9153 w 74564"/>
                  <a:gd name="connsiteY7" fmla="*/ 59997 h 247479"/>
                  <a:gd name="connsiteX8" fmla="*/ 10463 w 74564"/>
                  <a:gd name="connsiteY8" fmla="*/ 59997 h 247479"/>
                  <a:gd name="connsiteX9" fmla="*/ 19728 w 74564"/>
                  <a:gd name="connsiteY9" fmla="*/ 52027 h 247479"/>
                  <a:gd name="connsiteX10" fmla="*/ 22909 w 74564"/>
                  <a:gd name="connsiteY10" fmla="*/ 29228 h 247479"/>
                  <a:gd name="connsiteX11" fmla="*/ 55849 w 74564"/>
                  <a:gd name="connsiteY11" fmla="*/ 120328 h 247479"/>
                  <a:gd name="connsiteX12" fmla="*/ 3351 w 74564"/>
                  <a:gd name="connsiteY12" fmla="*/ 231076 h 247479"/>
                  <a:gd name="connsiteX13" fmla="*/ 2135 w 74564"/>
                  <a:gd name="connsiteY13" fmla="*/ 244143 h 247479"/>
                  <a:gd name="connsiteX14" fmla="*/ 9340 w 74564"/>
                  <a:gd name="connsiteY14" fmla="*/ 247480 h 247479"/>
                  <a:gd name="connsiteX15" fmla="*/ 15329 w 74564"/>
                  <a:gd name="connsiteY15" fmla="*/ 245348 h 247479"/>
                  <a:gd name="connsiteX16" fmla="*/ 74565 w 74564"/>
                  <a:gd name="connsiteY16" fmla="*/ 120328 h 247479"/>
                  <a:gd name="connsiteX17" fmla="*/ 39754 w 74564"/>
                  <a:gd name="connsiteY17" fmla="*/ 20331 h 24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564" h="247479">
                    <a:moveTo>
                      <a:pt x="39660" y="20331"/>
                    </a:moveTo>
                    <a:lnTo>
                      <a:pt x="59031" y="23019"/>
                    </a:lnTo>
                    <a:cubicBezTo>
                      <a:pt x="64084" y="23760"/>
                      <a:pt x="68857" y="20146"/>
                      <a:pt x="69605" y="15142"/>
                    </a:cubicBezTo>
                    <a:cubicBezTo>
                      <a:pt x="70354" y="10044"/>
                      <a:pt x="66704" y="5411"/>
                      <a:pt x="61651" y="4669"/>
                    </a:cubicBezTo>
                    <a:lnTo>
                      <a:pt x="29086" y="221"/>
                    </a:lnTo>
                    <a:cubicBezTo>
                      <a:pt x="17669" y="-1447"/>
                      <a:pt x="7188" y="6523"/>
                      <a:pt x="5597" y="17829"/>
                    </a:cubicBezTo>
                    <a:lnTo>
                      <a:pt x="1199" y="49524"/>
                    </a:lnTo>
                    <a:cubicBezTo>
                      <a:pt x="450" y="54621"/>
                      <a:pt x="4100" y="59255"/>
                      <a:pt x="9153" y="59997"/>
                    </a:cubicBezTo>
                    <a:cubicBezTo>
                      <a:pt x="9621" y="59997"/>
                      <a:pt x="9995" y="59997"/>
                      <a:pt x="10463" y="59997"/>
                    </a:cubicBezTo>
                    <a:cubicBezTo>
                      <a:pt x="15049" y="59997"/>
                      <a:pt x="19073" y="56660"/>
                      <a:pt x="19728" y="52027"/>
                    </a:cubicBezTo>
                    <a:lnTo>
                      <a:pt x="22909" y="29228"/>
                    </a:lnTo>
                    <a:cubicBezTo>
                      <a:pt x="44152" y="54899"/>
                      <a:pt x="55849" y="86780"/>
                      <a:pt x="55849" y="120328"/>
                    </a:cubicBezTo>
                    <a:cubicBezTo>
                      <a:pt x="55849" y="163237"/>
                      <a:pt x="36759" y="203551"/>
                      <a:pt x="3351" y="231076"/>
                    </a:cubicBezTo>
                    <a:cubicBezTo>
                      <a:pt x="-579" y="234320"/>
                      <a:pt x="-1140" y="240158"/>
                      <a:pt x="2135" y="244143"/>
                    </a:cubicBezTo>
                    <a:cubicBezTo>
                      <a:pt x="4006" y="246367"/>
                      <a:pt x="6627" y="247480"/>
                      <a:pt x="9340" y="247480"/>
                    </a:cubicBezTo>
                    <a:cubicBezTo>
                      <a:pt x="11493" y="247480"/>
                      <a:pt x="13551" y="246738"/>
                      <a:pt x="15329" y="245348"/>
                    </a:cubicBezTo>
                    <a:cubicBezTo>
                      <a:pt x="52948" y="214394"/>
                      <a:pt x="74565" y="168798"/>
                      <a:pt x="74565" y="120328"/>
                    </a:cubicBezTo>
                    <a:cubicBezTo>
                      <a:pt x="74565" y="83722"/>
                      <a:pt x="62306" y="48783"/>
                      <a:pt x="39754" y="20331"/>
                    </a:cubicBezTo>
                    <a:close/>
                  </a:path>
                </a:pathLst>
              </a:custGeom>
              <a:grpFill/>
              <a:ln w="9274" cap="flat">
                <a:noFill/>
                <a:prstDash val="solid"/>
                <a:miter/>
              </a:ln>
            </p:spPr>
            <p:txBody>
              <a:bodyPr rtlCol="0" anchor="ctr"/>
              <a:lstStyle/>
              <a:p>
                <a:endParaRPr lang="en-BE"/>
              </a:p>
            </p:txBody>
          </p:sp>
          <p:sp>
            <p:nvSpPr>
              <p:cNvPr id="21" name="Freeform 20">
                <a:extLst>
                  <a:ext uri="{FF2B5EF4-FFF2-40B4-BE49-F238E27FC236}">
                    <a16:creationId xmlns:a16="http://schemas.microsoft.com/office/drawing/2014/main" id="{E0AE5A66-7B86-F664-6BE1-CC0CFF0E1CA9}"/>
                  </a:ext>
                </a:extLst>
              </p:cNvPr>
              <p:cNvSpPr/>
              <p:nvPr/>
            </p:nvSpPr>
            <p:spPr>
              <a:xfrm>
                <a:off x="4630102" y="215428"/>
                <a:ext cx="273504" cy="182942"/>
              </a:xfrm>
              <a:custGeom>
                <a:avLst/>
                <a:gdLst>
                  <a:gd name="connsiteX0" fmla="*/ 55422 w 273504"/>
                  <a:gd name="connsiteY0" fmla="*/ 177011 h 182942"/>
                  <a:gd name="connsiteX1" fmla="*/ 78255 w 273504"/>
                  <a:gd name="connsiteY1" fmla="*/ 154398 h 182942"/>
                  <a:gd name="connsiteX2" fmla="*/ 78255 w 273504"/>
                  <a:gd name="connsiteY2" fmla="*/ 141331 h 182942"/>
                  <a:gd name="connsiteX3" fmla="*/ 65061 w 273504"/>
                  <a:gd name="connsiteY3" fmla="*/ 141331 h 182942"/>
                  <a:gd name="connsiteX4" fmla="*/ 47655 w 273504"/>
                  <a:gd name="connsiteY4" fmla="*/ 158568 h 182942"/>
                  <a:gd name="connsiteX5" fmla="*/ 192796 w 273504"/>
                  <a:gd name="connsiteY5" fmla="*/ 18443 h 182942"/>
                  <a:gd name="connsiteX6" fmla="*/ 259799 w 273504"/>
                  <a:gd name="connsiteY6" fmla="*/ 34661 h 182942"/>
                  <a:gd name="connsiteX7" fmla="*/ 272432 w 273504"/>
                  <a:gd name="connsiteY7" fmla="*/ 30769 h 182942"/>
                  <a:gd name="connsiteX8" fmla="*/ 268501 w 273504"/>
                  <a:gd name="connsiteY8" fmla="*/ 18257 h 182942"/>
                  <a:gd name="connsiteX9" fmla="*/ 192796 w 273504"/>
                  <a:gd name="connsiteY9" fmla="*/ 0 h 182942"/>
                  <a:gd name="connsiteX10" fmla="*/ 29126 w 273504"/>
                  <a:gd name="connsiteY10" fmla="*/ 153842 h 182942"/>
                  <a:gd name="connsiteX11" fmla="*/ 15932 w 273504"/>
                  <a:gd name="connsiteY11" fmla="*/ 140775 h 182942"/>
                  <a:gd name="connsiteX12" fmla="*/ 2737 w 273504"/>
                  <a:gd name="connsiteY12" fmla="*/ 140775 h 182942"/>
                  <a:gd name="connsiteX13" fmla="*/ 2737 w 273504"/>
                  <a:gd name="connsiteY13" fmla="*/ 153842 h 182942"/>
                  <a:gd name="connsiteX14" fmla="*/ 26038 w 273504"/>
                  <a:gd name="connsiteY14" fmla="*/ 176918 h 182942"/>
                  <a:gd name="connsiteX15" fmla="*/ 40730 w 273504"/>
                  <a:gd name="connsiteY15" fmla="*/ 182942 h 182942"/>
                  <a:gd name="connsiteX16" fmla="*/ 55422 w 273504"/>
                  <a:gd name="connsiteY16" fmla="*/ 176918 h 1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504" h="182942">
                    <a:moveTo>
                      <a:pt x="55422" y="177011"/>
                    </a:moveTo>
                    <a:lnTo>
                      <a:pt x="78255" y="154398"/>
                    </a:lnTo>
                    <a:cubicBezTo>
                      <a:pt x="81905" y="150784"/>
                      <a:pt x="81905" y="144945"/>
                      <a:pt x="78255" y="141331"/>
                    </a:cubicBezTo>
                    <a:cubicBezTo>
                      <a:pt x="74606" y="137716"/>
                      <a:pt x="68710" y="137716"/>
                      <a:pt x="65061" y="141331"/>
                    </a:cubicBezTo>
                    <a:lnTo>
                      <a:pt x="47655" y="158568"/>
                    </a:lnTo>
                    <a:cubicBezTo>
                      <a:pt x="49714" y="80999"/>
                      <a:pt x="113909" y="18443"/>
                      <a:pt x="192796" y="18443"/>
                    </a:cubicBezTo>
                    <a:cubicBezTo>
                      <a:pt x="216472" y="18443"/>
                      <a:pt x="239024" y="23911"/>
                      <a:pt x="259799" y="34661"/>
                    </a:cubicBezTo>
                    <a:cubicBezTo>
                      <a:pt x="264384" y="37071"/>
                      <a:pt x="269999" y="35217"/>
                      <a:pt x="272432" y="30769"/>
                    </a:cubicBezTo>
                    <a:cubicBezTo>
                      <a:pt x="274865" y="26228"/>
                      <a:pt x="272993" y="20667"/>
                      <a:pt x="268501" y="18257"/>
                    </a:cubicBezTo>
                    <a:cubicBezTo>
                      <a:pt x="245294" y="6302"/>
                      <a:pt x="219092" y="0"/>
                      <a:pt x="192796" y="0"/>
                    </a:cubicBezTo>
                    <a:cubicBezTo>
                      <a:pt x="105113" y="-185"/>
                      <a:pt x="33525" y="68210"/>
                      <a:pt x="29126" y="153842"/>
                    </a:cubicBezTo>
                    <a:lnTo>
                      <a:pt x="15932" y="140775"/>
                    </a:lnTo>
                    <a:cubicBezTo>
                      <a:pt x="12282" y="137160"/>
                      <a:pt x="6387" y="137160"/>
                      <a:pt x="2737" y="140775"/>
                    </a:cubicBezTo>
                    <a:cubicBezTo>
                      <a:pt x="-912" y="144389"/>
                      <a:pt x="-912" y="150228"/>
                      <a:pt x="2737" y="153842"/>
                    </a:cubicBezTo>
                    <a:lnTo>
                      <a:pt x="26038" y="176918"/>
                    </a:lnTo>
                    <a:cubicBezTo>
                      <a:pt x="30062" y="180903"/>
                      <a:pt x="35396" y="182942"/>
                      <a:pt x="40730" y="182942"/>
                    </a:cubicBezTo>
                    <a:cubicBezTo>
                      <a:pt x="46064" y="182942"/>
                      <a:pt x="51398" y="180903"/>
                      <a:pt x="55422" y="176918"/>
                    </a:cubicBezTo>
                    <a:close/>
                  </a:path>
                </a:pathLst>
              </a:custGeom>
              <a:grpFill/>
              <a:ln w="9274" cap="flat">
                <a:noFill/>
                <a:prstDash val="solid"/>
                <a:miter/>
              </a:ln>
            </p:spPr>
            <p:txBody>
              <a:bodyPr rtlCol="0" anchor="ctr"/>
              <a:lstStyle/>
              <a:p>
                <a:endParaRPr lang="en-BE"/>
              </a:p>
            </p:txBody>
          </p:sp>
          <p:sp>
            <p:nvSpPr>
              <p:cNvPr id="22" name="Freeform 21">
                <a:extLst>
                  <a:ext uri="{FF2B5EF4-FFF2-40B4-BE49-F238E27FC236}">
                    <a16:creationId xmlns:a16="http://schemas.microsoft.com/office/drawing/2014/main" id="{DA364C2C-A147-BB8B-165B-03D04B57F15A}"/>
                  </a:ext>
                </a:extLst>
              </p:cNvPr>
              <p:cNvSpPr/>
              <p:nvPr/>
            </p:nvSpPr>
            <p:spPr>
              <a:xfrm>
                <a:off x="4669170" y="423972"/>
                <a:ext cx="223805" cy="138342"/>
              </a:xfrm>
              <a:custGeom>
                <a:avLst/>
                <a:gdLst>
                  <a:gd name="connsiteX0" fmla="*/ 215396 w 223805"/>
                  <a:gd name="connsiteY0" fmla="*/ 79678 h 138342"/>
                  <a:gd name="connsiteX1" fmla="*/ 189474 w 223805"/>
                  <a:gd name="connsiteY1" fmla="*/ 60587 h 138342"/>
                  <a:gd name="connsiteX2" fmla="*/ 176373 w 223805"/>
                  <a:gd name="connsiteY2" fmla="*/ 62533 h 138342"/>
                  <a:gd name="connsiteX3" fmla="*/ 178339 w 223805"/>
                  <a:gd name="connsiteY3" fmla="*/ 75508 h 138342"/>
                  <a:gd name="connsiteX4" fmla="*/ 198645 w 223805"/>
                  <a:gd name="connsiteY4" fmla="*/ 90429 h 138342"/>
                  <a:gd name="connsiteX5" fmla="*/ 153540 w 223805"/>
                  <a:gd name="connsiteY5" fmla="*/ 97565 h 138342"/>
                  <a:gd name="connsiteX6" fmla="*/ 21687 w 223805"/>
                  <a:gd name="connsiteY6" fmla="*/ 14157 h 138342"/>
                  <a:gd name="connsiteX7" fmla="*/ 18131 w 223805"/>
                  <a:gd name="connsiteY7" fmla="*/ 5909 h 138342"/>
                  <a:gd name="connsiteX8" fmla="*/ 5966 w 223805"/>
                  <a:gd name="connsiteY8" fmla="*/ 626 h 138342"/>
                  <a:gd name="connsiteX9" fmla="*/ 632 w 223805"/>
                  <a:gd name="connsiteY9" fmla="*/ 12581 h 138342"/>
                  <a:gd name="connsiteX10" fmla="*/ 4656 w 223805"/>
                  <a:gd name="connsiteY10" fmla="*/ 21849 h 138342"/>
                  <a:gd name="connsiteX11" fmla="*/ 153540 w 223805"/>
                  <a:gd name="connsiteY11" fmla="*/ 116007 h 138342"/>
                  <a:gd name="connsiteX12" fmla="*/ 194621 w 223805"/>
                  <a:gd name="connsiteY12" fmla="*/ 110632 h 138342"/>
                  <a:gd name="connsiteX13" fmla="*/ 184983 w 223805"/>
                  <a:gd name="connsiteY13" fmla="*/ 123514 h 138342"/>
                  <a:gd name="connsiteX14" fmla="*/ 186948 w 223805"/>
                  <a:gd name="connsiteY14" fmla="*/ 136489 h 138342"/>
                  <a:gd name="connsiteX15" fmla="*/ 192563 w 223805"/>
                  <a:gd name="connsiteY15" fmla="*/ 138342 h 138342"/>
                  <a:gd name="connsiteX16" fmla="*/ 200049 w 223805"/>
                  <a:gd name="connsiteY16" fmla="*/ 134635 h 138342"/>
                  <a:gd name="connsiteX17" fmla="*/ 219700 w 223805"/>
                  <a:gd name="connsiteY17" fmla="*/ 108501 h 138342"/>
                  <a:gd name="connsiteX18" fmla="*/ 215396 w 223805"/>
                  <a:gd name="connsiteY18" fmla="*/ 79678 h 13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805" h="138342">
                    <a:moveTo>
                      <a:pt x="215396" y="79678"/>
                    </a:moveTo>
                    <a:lnTo>
                      <a:pt x="189474" y="60587"/>
                    </a:lnTo>
                    <a:cubicBezTo>
                      <a:pt x="185357" y="57529"/>
                      <a:pt x="179462" y="58363"/>
                      <a:pt x="176373" y="62533"/>
                    </a:cubicBezTo>
                    <a:cubicBezTo>
                      <a:pt x="173285" y="66611"/>
                      <a:pt x="174128" y="72450"/>
                      <a:pt x="178339" y="75508"/>
                    </a:cubicBezTo>
                    <a:lnTo>
                      <a:pt x="198645" y="90429"/>
                    </a:lnTo>
                    <a:cubicBezTo>
                      <a:pt x="184140" y="95155"/>
                      <a:pt x="169074" y="97565"/>
                      <a:pt x="153540" y="97565"/>
                    </a:cubicBezTo>
                    <a:cubicBezTo>
                      <a:pt x="97206" y="97565"/>
                      <a:pt x="45456" y="64850"/>
                      <a:pt x="21687" y="14157"/>
                    </a:cubicBezTo>
                    <a:cubicBezTo>
                      <a:pt x="20377" y="11469"/>
                      <a:pt x="19254" y="8689"/>
                      <a:pt x="18131" y="5909"/>
                    </a:cubicBezTo>
                    <a:cubicBezTo>
                      <a:pt x="16260" y="1182"/>
                      <a:pt x="10832" y="-1227"/>
                      <a:pt x="5966" y="626"/>
                    </a:cubicBezTo>
                    <a:cubicBezTo>
                      <a:pt x="1194" y="2480"/>
                      <a:pt x="-1239" y="7855"/>
                      <a:pt x="632" y="12581"/>
                    </a:cubicBezTo>
                    <a:cubicBezTo>
                      <a:pt x="1849" y="15732"/>
                      <a:pt x="3252" y="18790"/>
                      <a:pt x="4656" y="21849"/>
                    </a:cubicBezTo>
                    <a:cubicBezTo>
                      <a:pt x="31420" y="79030"/>
                      <a:pt x="89906" y="116007"/>
                      <a:pt x="153540" y="116007"/>
                    </a:cubicBezTo>
                    <a:cubicBezTo>
                      <a:pt x="167577" y="116007"/>
                      <a:pt x="181333" y="114061"/>
                      <a:pt x="194621" y="110632"/>
                    </a:cubicBezTo>
                    <a:lnTo>
                      <a:pt x="184983" y="123514"/>
                    </a:lnTo>
                    <a:cubicBezTo>
                      <a:pt x="181895" y="127592"/>
                      <a:pt x="182737" y="133430"/>
                      <a:pt x="186948" y="136489"/>
                    </a:cubicBezTo>
                    <a:cubicBezTo>
                      <a:pt x="188632" y="137693"/>
                      <a:pt x="190597" y="138342"/>
                      <a:pt x="192563" y="138342"/>
                    </a:cubicBezTo>
                    <a:cubicBezTo>
                      <a:pt x="195464" y="138342"/>
                      <a:pt x="198271" y="137045"/>
                      <a:pt x="200049" y="134635"/>
                    </a:cubicBezTo>
                    <a:lnTo>
                      <a:pt x="219700" y="108501"/>
                    </a:lnTo>
                    <a:cubicBezTo>
                      <a:pt x="226532" y="99418"/>
                      <a:pt x="224660" y="86444"/>
                      <a:pt x="215396" y="79678"/>
                    </a:cubicBezTo>
                    <a:close/>
                  </a:path>
                </a:pathLst>
              </a:custGeom>
              <a:grpFill/>
              <a:ln w="9274" cap="flat">
                <a:noFill/>
                <a:prstDash val="solid"/>
                <a:miter/>
              </a:ln>
            </p:spPr>
            <p:txBody>
              <a:bodyPr rtlCol="0" anchor="ctr"/>
              <a:lstStyle/>
              <a:p>
                <a:endParaRPr lang="en-BE"/>
              </a:p>
            </p:txBody>
          </p:sp>
        </p:grpSp>
      </p:grpSp>
      <p:grpSp>
        <p:nvGrpSpPr>
          <p:cNvPr id="6" name="Group 5">
            <a:extLst>
              <a:ext uri="{FF2B5EF4-FFF2-40B4-BE49-F238E27FC236}">
                <a16:creationId xmlns:a16="http://schemas.microsoft.com/office/drawing/2014/main" id="{21EB6A86-6F8B-00AF-73ED-2F57414D7069}"/>
              </a:ext>
            </a:extLst>
          </p:cNvPr>
          <p:cNvGrpSpPr/>
          <p:nvPr/>
        </p:nvGrpSpPr>
        <p:grpSpPr>
          <a:xfrm>
            <a:off x="7402450" y="1390436"/>
            <a:ext cx="648000" cy="648000"/>
            <a:chOff x="8824393" y="1279878"/>
            <a:chExt cx="648000" cy="648000"/>
          </a:xfrm>
        </p:grpSpPr>
        <p:sp>
          <p:nvSpPr>
            <p:cNvPr id="8" name="!!OVAL_technology">
              <a:extLst>
                <a:ext uri="{FF2B5EF4-FFF2-40B4-BE49-F238E27FC236}">
                  <a16:creationId xmlns:a16="http://schemas.microsoft.com/office/drawing/2014/main" id="{A9A338F9-2AF5-32CF-4C7A-94840FDC26F8}"/>
                </a:ext>
              </a:extLst>
            </p:cNvPr>
            <p:cNvSpPr>
              <a:spLocks noChangeAspect="1"/>
            </p:cNvSpPr>
            <p:nvPr/>
          </p:nvSpPr>
          <p:spPr>
            <a:xfrm>
              <a:off x="8824393" y="1279878"/>
              <a:ext cx="648000" cy="648000"/>
            </a:xfrm>
            <a:prstGeom prst="ellipse">
              <a:avLst/>
            </a:prstGeom>
            <a:no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9" name="multiple users collab">
              <a:extLst>
                <a:ext uri="{FF2B5EF4-FFF2-40B4-BE49-F238E27FC236}">
                  <a16:creationId xmlns:a16="http://schemas.microsoft.com/office/drawing/2014/main" id="{6CD5F364-3162-609F-1B54-E65755D4E119}"/>
                </a:ext>
              </a:extLst>
            </p:cNvPr>
            <p:cNvGrpSpPr/>
            <p:nvPr/>
          </p:nvGrpSpPr>
          <p:grpSpPr>
            <a:xfrm>
              <a:off x="8967408" y="1422903"/>
              <a:ext cx="361970" cy="361950"/>
              <a:chOff x="7322650" y="2129134"/>
              <a:chExt cx="361970" cy="361950"/>
            </a:xfrm>
            <a:solidFill>
              <a:schemeClr val="tx1"/>
            </a:solidFill>
          </p:grpSpPr>
          <p:sp>
            <p:nvSpPr>
              <p:cNvPr id="10" name="Freeform: Shape 96">
                <a:extLst>
                  <a:ext uri="{FF2B5EF4-FFF2-40B4-BE49-F238E27FC236}">
                    <a16:creationId xmlns:a16="http://schemas.microsoft.com/office/drawing/2014/main" id="{7500B40A-3A66-A591-419F-D94AA8417C4B}"/>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11" name="Freeform: Shape 97">
                <a:extLst>
                  <a:ext uri="{FF2B5EF4-FFF2-40B4-BE49-F238E27FC236}">
                    <a16:creationId xmlns:a16="http://schemas.microsoft.com/office/drawing/2014/main" id="{F6C00494-1A9C-BB14-559B-84555A505A89}"/>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12" name="Freeform: Shape 98">
                <a:extLst>
                  <a:ext uri="{FF2B5EF4-FFF2-40B4-BE49-F238E27FC236}">
                    <a16:creationId xmlns:a16="http://schemas.microsoft.com/office/drawing/2014/main" id="{14DB587A-E1FE-D335-DF8D-7EF3A64B98DD}"/>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39010536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89B867E8-D2AE-F484-EA6B-0F3FF10EABC8}"/>
            </a:ext>
          </a:extLst>
        </p:cNvPr>
        <p:cNvGrpSpPr/>
        <p:nvPr/>
      </p:nvGrpSpPr>
      <p:grpSpPr>
        <a:xfrm>
          <a:off x="0" y="0"/>
          <a:ext cx="0" cy="0"/>
          <a:chOff x="0" y="0"/>
          <a:chExt cx="0" cy="0"/>
        </a:xfrm>
      </p:grpSpPr>
      <p:sp>
        <p:nvSpPr>
          <p:cNvPr id="27" name="!!OVAL_network">
            <a:extLst>
              <a:ext uri="{FF2B5EF4-FFF2-40B4-BE49-F238E27FC236}">
                <a16:creationId xmlns:a16="http://schemas.microsoft.com/office/drawing/2014/main" id="{50707BC6-F3E9-DCC1-0963-18E61E7D22EA}"/>
              </a:ext>
            </a:extLst>
          </p:cNvPr>
          <p:cNvSpPr>
            <a:spLocks noChangeAspect="1"/>
          </p:cNvSpPr>
          <p:nvPr/>
        </p:nvSpPr>
        <p:spPr>
          <a:xfrm>
            <a:off x="460375" y="383872"/>
            <a:ext cx="648000" cy="648000"/>
          </a:xfrm>
          <a:prstGeom prst="roundRect">
            <a:avLst>
              <a:gd name="adj" fmla="val 29398"/>
            </a:avLst>
          </a:prstGeom>
          <a:gradFill flip="none" rotWithShape="1">
            <a:gsLst>
              <a:gs pos="0">
                <a:schemeClr val="bg1"/>
              </a:gs>
              <a:gs pos="98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2A2234"/>
              </a:solidFill>
              <a:latin typeface="Proximus Bold"/>
            </a:endParaRPr>
          </a:p>
        </p:txBody>
      </p:sp>
      <p:sp>
        <p:nvSpPr>
          <p:cNvPr id="8" name="Rectangle: Rounded Corners 41">
            <a:extLst>
              <a:ext uri="{FF2B5EF4-FFF2-40B4-BE49-F238E27FC236}">
                <a16:creationId xmlns:a16="http://schemas.microsoft.com/office/drawing/2014/main" id="{05807A2D-42E8-9B0C-9A20-375AE32C9EB7}"/>
              </a:ext>
            </a:extLst>
          </p:cNvPr>
          <p:cNvSpPr/>
          <p:nvPr/>
        </p:nvSpPr>
        <p:spPr>
          <a:xfrm>
            <a:off x="460375" y="1263162"/>
            <a:ext cx="2490117" cy="416372"/>
          </a:xfrm>
          <a:prstGeom prst="roundRect">
            <a:avLst>
              <a:gd name="adj" fmla="val 7650"/>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r>
              <a:rPr lang="en-US" sz="1200" b="1">
                <a:solidFill>
                  <a:schemeClr val="tx1"/>
                </a:solidFill>
                <a:latin typeface="Proximus Bold" pitchFamily="2" charset="77"/>
                <a:cs typeface="Proximus Bold"/>
              </a:rPr>
              <a:t>Why SWP? </a:t>
            </a:r>
            <a:endParaRPr lang="en-BE" sz="1200" b="1">
              <a:solidFill>
                <a:schemeClr val="tx1"/>
              </a:solidFill>
              <a:latin typeface="Proximus Bold" pitchFamily="2" charset="77"/>
              <a:cs typeface="Proximus Bold"/>
            </a:endParaRPr>
          </a:p>
        </p:txBody>
      </p:sp>
      <p:sp>
        <p:nvSpPr>
          <p:cNvPr id="10" name="Tekstvak 7">
            <a:extLst>
              <a:ext uri="{FF2B5EF4-FFF2-40B4-BE49-F238E27FC236}">
                <a16:creationId xmlns:a16="http://schemas.microsoft.com/office/drawing/2014/main" id="{507B50E7-F546-B442-15CB-82EEA165FD1A}"/>
              </a:ext>
            </a:extLst>
          </p:cNvPr>
          <p:cNvSpPr txBox="1"/>
          <p:nvPr/>
        </p:nvSpPr>
        <p:spPr>
          <a:xfrm>
            <a:off x="615380" y="1892674"/>
            <a:ext cx="2180109" cy="1650626"/>
          </a:xfrm>
          <a:prstGeom prst="rect">
            <a:avLst/>
          </a:prstGeom>
          <a:noFill/>
        </p:spPr>
        <p:txBody>
          <a:bodyPr wrap="square" lIns="0" tIns="0" rIns="0" bIns="0" rtlCol="0">
            <a:noAutofit/>
          </a:bodyPr>
          <a:lstStyle/>
          <a:p>
            <a:pPr algn="ctr">
              <a:lnSpc>
                <a:spcPct val="100000"/>
              </a:lnSpc>
            </a:pPr>
            <a:r>
              <a:rPr lang="en-US" sz="1200" b="1">
                <a:solidFill>
                  <a:srgbClr val="141C24"/>
                </a:solidFill>
                <a:latin typeface="Proximus Bold" pitchFamily="2" charset="77"/>
              </a:rPr>
              <a:t>Rapid changes and challenges:</a:t>
            </a:r>
            <a:br>
              <a:rPr lang="en-US" sz="1200" b="1">
                <a:solidFill>
                  <a:srgbClr val="141C24"/>
                </a:solidFill>
                <a:latin typeface="Proximus Bold" pitchFamily="2" charset="77"/>
              </a:rPr>
            </a:br>
            <a:r>
              <a:rPr lang="en-US" sz="1200">
                <a:solidFill>
                  <a:srgbClr val="141C24"/>
                </a:solidFill>
                <a:latin typeface="Proximus Bold" pitchFamily="2" charset="77"/>
              </a:rPr>
              <a:t>  </a:t>
            </a:r>
          </a:p>
          <a:p>
            <a:pPr marL="530180" lvl="1" indent="-171450">
              <a:spcAft>
                <a:spcPts val="600"/>
              </a:spcAft>
              <a:buClr>
                <a:schemeClr val="bg1"/>
              </a:buClr>
              <a:buFont typeface="Arial" panose="020B0604020202020204" pitchFamily="34" charset="0"/>
              <a:buChar char="•"/>
            </a:pPr>
            <a:r>
              <a:rPr lang="en-US" sz="1050">
                <a:solidFill>
                  <a:srgbClr val="141C24"/>
                </a:solidFill>
                <a:latin typeface="Proximus Light" pitchFamily="2" charset="77"/>
              </a:rPr>
              <a:t>Artificial Intelligence (AI)</a:t>
            </a:r>
          </a:p>
          <a:p>
            <a:pPr marL="530180" lvl="1" indent="-171450">
              <a:spcAft>
                <a:spcPts val="600"/>
              </a:spcAft>
              <a:buClr>
                <a:schemeClr val="bg1"/>
              </a:buClr>
              <a:buFont typeface="Arial" panose="020B0604020202020204" pitchFamily="34" charset="0"/>
              <a:buChar char="•"/>
            </a:pPr>
            <a:r>
              <a:rPr lang="en-US" sz="1050">
                <a:solidFill>
                  <a:srgbClr val="141C24"/>
                </a:solidFill>
                <a:latin typeface="Proximus Light" pitchFamily="2" charset="77"/>
              </a:rPr>
              <a:t>Fiber </a:t>
            </a:r>
          </a:p>
          <a:p>
            <a:pPr marL="530180" lvl="1" indent="-171450">
              <a:spcAft>
                <a:spcPts val="600"/>
              </a:spcAft>
              <a:buClr>
                <a:schemeClr val="bg1"/>
              </a:buClr>
              <a:buFont typeface="Arial" panose="020B0604020202020204" pitchFamily="34" charset="0"/>
              <a:buChar char="•"/>
            </a:pPr>
            <a:r>
              <a:rPr lang="en-US" sz="1050">
                <a:solidFill>
                  <a:srgbClr val="141C24"/>
                </a:solidFill>
                <a:latin typeface="Proximus Light" pitchFamily="2" charset="77"/>
              </a:rPr>
              <a:t>New technologies</a:t>
            </a:r>
          </a:p>
          <a:p>
            <a:pPr marL="530180" lvl="1" indent="-171450">
              <a:spcAft>
                <a:spcPts val="600"/>
              </a:spcAft>
              <a:buClr>
                <a:schemeClr val="bg1"/>
              </a:buClr>
              <a:buFont typeface="Arial" panose="020B0604020202020204" pitchFamily="34" charset="0"/>
              <a:buChar char="•"/>
            </a:pPr>
            <a:r>
              <a:rPr lang="en-US" sz="1050">
                <a:solidFill>
                  <a:srgbClr val="141C24"/>
                </a:solidFill>
                <a:latin typeface="Proximus Light" pitchFamily="2" charset="77"/>
              </a:rPr>
              <a:t>Our competitors </a:t>
            </a:r>
          </a:p>
          <a:p>
            <a:pPr marL="530180" lvl="1" indent="-171450">
              <a:spcAft>
                <a:spcPts val="600"/>
              </a:spcAft>
              <a:buClr>
                <a:schemeClr val="bg1"/>
              </a:buClr>
              <a:buFont typeface="Arial" panose="020B0604020202020204" pitchFamily="34" charset="0"/>
              <a:buChar char="•"/>
            </a:pPr>
            <a:r>
              <a:rPr lang="en-US" sz="1050">
                <a:solidFill>
                  <a:srgbClr val="141C24"/>
                </a:solidFill>
                <a:latin typeface="Proximus Light" pitchFamily="2" charset="77"/>
              </a:rPr>
              <a:t>Cost evolutions </a:t>
            </a:r>
          </a:p>
          <a:p>
            <a:pPr algn="l" defTabSz="685800"/>
            <a:endParaRPr lang="nl-BE" sz="1400">
              <a:solidFill>
                <a:srgbClr val="01112B"/>
              </a:solidFill>
              <a:latin typeface="Proximus Light" pitchFamily="2" charset="77"/>
            </a:endParaRPr>
          </a:p>
        </p:txBody>
      </p:sp>
      <p:sp>
        <p:nvSpPr>
          <p:cNvPr id="11" name="Rectangle: Rounded Corners 11">
            <a:extLst>
              <a:ext uri="{FF2B5EF4-FFF2-40B4-BE49-F238E27FC236}">
                <a16:creationId xmlns:a16="http://schemas.microsoft.com/office/drawing/2014/main" id="{FE368D83-8BFA-210C-94A3-E51B2FC0D679}"/>
              </a:ext>
            </a:extLst>
          </p:cNvPr>
          <p:cNvSpPr/>
          <p:nvPr/>
        </p:nvSpPr>
        <p:spPr>
          <a:xfrm>
            <a:off x="460375" y="3954374"/>
            <a:ext cx="2490117" cy="600164"/>
          </a:xfrm>
          <a:prstGeom prst="roundRect">
            <a:avLst>
              <a:gd name="adj" fmla="val 7650"/>
            </a:avLst>
          </a:prstGeom>
          <a:gradFill>
            <a:gsLst>
              <a:gs pos="0">
                <a:schemeClr val="bg1"/>
              </a:gs>
              <a:gs pos="99000">
                <a:schemeClr val="accent1"/>
              </a:gs>
            </a:gsLst>
            <a:lin ang="2700000" scaled="1"/>
          </a:gradFill>
          <a:ln>
            <a:noFill/>
          </a:ln>
        </p:spPr>
        <p:style>
          <a:lnRef idx="2">
            <a:schemeClr val="dk1"/>
          </a:lnRef>
          <a:fillRef idx="1">
            <a:schemeClr val="lt1"/>
          </a:fillRef>
          <a:effectRef idx="0">
            <a:schemeClr val="dk1"/>
          </a:effectRef>
          <a:fontRef idx="minor">
            <a:schemeClr val="dk1"/>
          </a:fontRef>
        </p:style>
        <p:txBody>
          <a:bodyPr vert="horz" lIns="108000" tIns="108000" rIns="108000" bIns="108000" rtlCol="0" anchor="t" anchorCtr="0"/>
          <a:lstStyle/>
          <a:p>
            <a:pPr algn="ctr" defTabSz="1218418"/>
            <a:r>
              <a:rPr lang="en-US" sz="1200" b="1">
                <a:solidFill>
                  <a:schemeClr val="tx1"/>
                </a:solidFill>
                <a:latin typeface="Proximus Bold" pitchFamily="2" charset="77"/>
                <a:cs typeface="Proximus Bold"/>
              </a:rPr>
              <a:t>Evolving talent </a:t>
            </a:r>
            <a:br>
              <a:rPr lang="en-US" sz="1200" b="1">
                <a:solidFill>
                  <a:schemeClr val="tx1"/>
                </a:solidFill>
                <a:latin typeface="Proximus Bold" pitchFamily="2" charset="77"/>
                <a:cs typeface="Proximus Bold"/>
              </a:rPr>
            </a:br>
            <a:r>
              <a:rPr lang="en-US" sz="1200" b="1">
                <a:solidFill>
                  <a:schemeClr val="tx1"/>
                </a:solidFill>
                <a:latin typeface="Proximus Bold" pitchFamily="2" charset="77"/>
                <a:cs typeface="Proximus Bold"/>
              </a:rPr>
              <a:t>and skill needs</a:t>
            </a:r>
            <a:endParaRPr lang="en-BE" sz="1200" b="1" err="1">
              <a:solidFill>
                <a:schemeClr val="tx1"/>
              </a:solidFill>
              <a:latin typeface="Proximus Bold" pitchFamily="2" charset="77"/>
              <a:cs typeface="Proximus Bold"/>
            </a:endParaRPr>
          </a:p>
        </p:txBody>
      </p:sp>
      <p:pic>
        <p:nvPicPr>
          <p:cNvPr id="13" name="Graphic 12">
            <a:extLst>
              <a:ext uri="{FF2B5EF4-FFF2-40B4-BE49-F238E27FC236}">
                <a16:creationId xmlns:a16="http://schemas.microsoft.com/office/drawing/2014/main" id="{449BED31-2EDB-5E2F-71F0-BDA4804D9C90}"/>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rot="5400000">
            <a:off x="1651132" y="3653568"/>
            <a:ext cx="126784" cy="205744"/>
          </a:xfrm>
          <a:prstGeom prst="rect">
            <a:avLst/>
          </a:prstGeom>
        </p:spPr>
      </p:pic>
      <p:pic>
        <p:nvPicPr>
          <p:cNvPr id="9" name="Graphic 8">
            <a:extLst>
              <a:ext uri="{FF2B5EF4-FFF2-40B4-BE49-F238E27FC236}">
                <a16:creationId xmlns:a16="http://schemas.microsoft.com/office/drawing/2014/main" id="{CC9F08D7-916F-2194-3170-CE87B625120F}"/>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3405618" y="2588081"/>
            <a:ext cx="126784" cy="205744"/>
          </a:xfrm>
          <a:prstGeom prst="rect">
            <a:avLst/>
          </a:prstGeom>
        </p:spPr>
      </p:pic>
      <p:cxnSp>
        <p:nvCxnSpPr>
          <p:cNvPr id="14" name="Rechte verbindingslijn 12">
            <a:extLst>
              <a:ext uri="{FF2B5EF4-FFF2-40B4-BE49-F238E27FC236}">
                <a16:creationId xmlns:a16="http://schemas.microsoft.com/office/drawing/2014/main" id="{553A796F-2926-F98B-0FFA-5EC048CCD7FA}"/>
              </a:ext>
            </a:extLst>
          </p:cNvPr>
          <p:cNvCxnSpPr>
            <a:cxnSpLocks/>
          </p:cNvCxnSpPr>
          <p:nvPr/>
        </p:nvCxnSpPr>
        <p:spPr>
          <a:xfrm>
            <a:off x="3469010" y="1319379"/>
            <a:ext cx="0" cy="1096650"/>
          </a:xfrm>
          <a:prstGeom prst="line">
            <a:avLst/>
          </a:prstGeom>
          <a:ln w="9525" cap="rnd">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41">
            <a:extLst>
              <a:ext uri="{FF2B5EF4-FFF2-40B4-BE49-F238E27FC236}">
                <a16:creationId xmlns:a16="http://schemas.microsoft.com/office/drawing/2014/main" id="{5CE07ED9-1534-B8CE-8F00-93F10B49EEAC}"/>
              </a:ext>
            </a:extLst>
          </p:cNvPr>
          <p:cNvSpPr/>
          <p:nvPr/>
        </p:nvSpPr>
        <p:spPr>
          <a:xfrm>
            <a:off x="5161241" y="1263162"/>
            <a:ext cx="1953654" cy="416372"/>
          </a:xfrm>
          <a:prstGeom prst="roundRect">
            <a:avLst>
              <a:gd name="adj" fmla="val 9751"/>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r>
              <a:rPr lang="en-US" sz="1200" b="1">
                <a:solidFill>
                  <a:schemeClr val="tx1"/>
                </a:solidFill>
                <a:latin typeface="Proximus Bold" pitchFamily="2" charset="77"/>
                <a:cs typeface="Proximus Bold"/>
              </a:rPr>
              <a:t>What &amp; how? </a:t>
            </a:r>
          </a:p>
        </p:txBody>
      </p:sp>
      <p:cxnSp>
        <p:nvCxnSpPr>
          <p:cNvPr id="16" name="Rechte verbindingslijn 16">
            <a:extLst>
              <a:ext uri="{FF2B5EF4-FFF2-40B4-BE49-F238E27FC236}">
                <a16:creationId xmlns:a16="http://schemas.microsoft.com/office/drawing/2014/main" id="{6E893063-2B2B-E50A-B043-8526B3D35D19}"/>
              </a:ext>
            </a:extLst>
          </p:cNvPr>
          <p:cNvCxnSpPr>
            <a:cxnSpLocks/>
          </p:cNvCxnSpPr>
          <p:nvPr/>
        </p:nvCxnSpPr>
        <p:spPr>
          <a:xfrm>
            <a:off x="3469010" y="2885334"/>
            <a:ext cx="0" cy="1669204"/>
          </a:xfrm>
          <a:prstGeom prst="line">
            <a:avLst/>
          </a:prstGeom>
          <a:ln w="9525" cap="rnd">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C38855E-739E-1A17-D707-9A78964528D5}"/>
              </a:ext>
            </a:extLst>
          </p:cNvPr>
          <p:cNvSpPr txBox="1">
            <a:spLocks/>
          </p:cNvSpPr>
          <p:nvPr/>
        </p:nvSpPr>
        <p:spPr>
          <a:xfrm>
            <a:off x="3881985" y="1892674"/>
            <a:ext cx="4946887" cy="2824008"/>
          </a:xfrm>
          <a:prstGeom prst="rect">
            <a:avLst/>
          </a:prstGeom>
        </p:spPr>
        <p:txBody>
          <a:bodyPr vert="horz" lIns="0" tIns="0" rIns="0" bIns="0" numCol="1" spcCol="0" rtlCol="0" anchor="t" anchorCtr="0">
            <a:noAutofit/>
          </a:bodyPr>
          <a:lstStyle>
            <a:lvl1pPr marL="0" indent="0" algn="l" defTabSz="914287" rtl="0" eaLnBrk="1" latinLnBrk="0" hangingPunct="1">
              <a:lnSpc>
                <a:spcPts val="2200"/>
              </a:lnSpc>
              <a:spcBef>
                <a:spcPts val="0"/>
              </a:spcBef>
              <a:spcAft>
                <a:spcPts val="1100"/>
              </a:spcAft>
              <a:buClr>
                <a:schemeClr val="bg1"/>
              </a:buClr>
              <a:buSzPct val="100000"/>
              <a:buFont typeface="Arial" panose="020B0604020202020204" pitchFamily="34" charset="0"/>
              <a:buNone/>
              <a:tabLst/>
              <a:defRPr sz="1800" kern="1200">
                <a:solidFill>
                  <a:schemeClr val="bg1"/>
                </a:solidFill>
                <a:latin typeface="Proximus Bold" panose="00000500000000000000" pitchFamily="2" charset="0"/>
                <a:ea typeface="+mn-ea"/>
                <a:cs typeface="+mn-cs"/>
              </a:defRPr>
            </a:lvl1pPr>
            <a:lvl2pPr marL="358730" indent="-176192" algn="l" defTabSz="914287" rtl="0" eaLnBrk="1" latinLnBrk="0" hangingPunct="1">
              <a:spcBef>
                <a:spcPts val="0"/>
              </a:spcBef>
              <a:spcAft>
                <a:spcPts val="1100"/>
              </a:spcAft>
              <a:buClr>
                <a:schemeClr val="bg1"/>
              </a:buClr>
              <a:buSzPct val="100000"/>
              <a:buFont typeface="Arial" panose="020B0604020202020204" pitchFamily="34" charset="0"/>
              <a:buChar char="•"/>
              <a:tabLst/>
              <a:defRPr sz="1800" kern="1200">
                <a:solidFill>
                  <a:schemeClr val="bg1"/>
                </a:solidFill>
                <a:latin typeface="Proximus Bold" panose="00000500000000000000" pitchFamily="2" charset="0"/>
                <a:ea typeface="+mn-ea"/>
                <a:cs typeface="+mn-cs"/>
              </a:defRPr>
            </a:lvl2pPr>
            <a:lvl3pPr marL="536507" indent="-177779" algn="l" defTabSz="914287" rtl="0" eaLnBrk="1" latinLnBrk="0" hangingPunct="1">
              <a:spcBef>
                <a:spcPts val="0"/>
              </a:spcBef>
              <a:spcAft>
                <a:spcPts val="1100"/>
              </a:spcAft>
              <a:buClr>
                <a:schemeClr val="bg1"/>
              </a:buClr>
              <a:buSzPct val="100000"/>
              <a:buFont typeface="Arial" panose="020B0604020202020204" pitchFamily="34" charset="0"/>
              <a:buChar char="•"/>
              <a:tabLst/>
              <a:defRPr sz="1600" kern="1200">
                <a:solidFill>
                  <a:schemeClr val="bg1"/>
                </a:solidFill>
                <a:latin typeface="Proximus Bold" panose="00000500000000000000" pitchFamily="2" charset="0"/>
                <a:ea typeface="+mn-ea"/>
                <a:cs typeface="+mn-cs"/>
              </a:defRPr>
            </a:lvl3pPr>
            <a:lvl4pPr marL="712699" indent="-176192" algn="l" defTabSz="914287" rtl="0" eaLnBrk="1" latinLnBrk="0" hangingPunct="1">
              <a:spcBef>
                <a:spcPts val="0"/>
              </a:spcBef>
              <a:spcAft>
                <a:spcPts val="1100"/>
              </a:spcAft>
              <a:buClr>
                <a:schemeClr val="bg1"/>
              </a:buClr>
              <a:buSzPct val="100000"/>
              <a:buFont typeface="Arial" panose="020B0604020202020204" pitchFamily="34" charset="0"/>
              <a:buChar char="•"/>
              <a:tabLst/>
              <a:defRPr sz="1400" kern="1200">
                <a:solidFill>
                  <a:schemeClr val="bg1"/>
                </a:solidFill>
                <a:latin typeface="Proximus Bold" panose="00000500000000000000" pitchFamily="2" charset="0"/>
                <a:ea typeface="+mn-ea"/>
                <a:cs typeface="+mn-cs"/>
              </a:defRPr>
            </a:lvl4pPr>
            <a:lvl5pPr marL="888889" indent="-176192" algn="l" defTabSz="914287" rtl="0" eaLnBrk="1" latinLnBrk="0" hangingPunct="1">
              <a:spcBef>
                <a:spcPts val="0"/>
              </a:spcBef>
              <a:spcAft>
                <a:spcPts val="1100"/>
              </a:spcAft>
              <a:buClr>
                <a:schemeClr val="bg1"/>
              </a:buClr>
              <a:buSzPct val="100000"/>
              <a:buFont typeface="Arial" panose="020B0604020202020204" pitchFamily="34" charset="0"/>
              <a:buChar char="•"/>
              <a:tabLst/>
              <a:defRPr sz="1200" kern="1200">
                <a:solidFill>
                  <a:schemeClr val="bg1"/>
                </a:solidFill>
                <a:latin typeface="Proximus Bold" panose="00000500000000000000" pitchFamily="2"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pPr>
            <a:r>
              <a:rPr lang="en-US" sz="1200">
                <a:solidFill>
                  <a:srgbClr val="141C24"/>
                </a:solidFill>
                <a:latin typeface="Proximus Light" pitchFamily="2" charset="77"/>
              </a:rPr>
              <a:t>SWP aims to put the </a:t>
            </a:r>
            <a:r>
              <a:rPr lang="en-US" sz="1200" b="1">
                <a:solidFill>
                  <a:srgbClr val="141C24"/>
                </a:solidFill>
                <a:latin typeface="Proximus Bold" pitchFamily="2" charset="77"/>
              </a:rPr>
              <a:t>right talent at the right place </a:t>
            </a:r>
            <a:br>
              <a:rPr lang="en-US" sz="1200" b="1">
                <a:solidFill>
                  <a:srgbClr val="141C24"/>
                </a:solidFill>
                <a:latin typeface="Proximus Bold" pitchFamily="2" charset="77"/>
              </a:rPr>
            </a:br>
            <a:r>
              <a:rPr lang="en-US" sz="1200">
                <a:solidFill>
                  <a:srgbClr val="141C24"/>
                </a:solidFill>
                <a:latin typeface="Proximus Light" pitchFamily="2" charset="77"/>
              </a:rPr>
              <a:t>on the short, mid- and long term:</a:t>
            </a:r>
          </a:p>
          <a:p>
            <a:pPr>
              <a:lnSpc>
                <a:spcPct val="100000"/>
              </a:lnSpc>
            </a:pPr>
            <a:endParaRPr lang="en-US" sz="1600"/>
          </a:p>
          <a:p>
            <a:pPr>
              <a:lnSpc>
                <a:spcPct val="200000"/>
              </a:lnSpc>
            </a:pPr>
            <a:endParaRPr lang="en-US" sz="1200"/>
          </a:p>
        </p:txBody>
      </p:sp>
      <p:sp>
        <p:nvSpPr>
          <p:cNvPr id="18" name="Rectangle: Rounded Corners 41">
            <a:extLst>
              <a:ext uri="{FF2B5EF4-FFF2-40B4-BE49-F238E27FC236}">
                <a16:creationId xmlns:a16="http://schemas.microsoft.com/office/drawing/2014/main" id="{AD56652C-C394-D2B6-C1D8-384B0BDF59F0}"/>
              </a:ext>
            </a:extLst>
          </p:cNvPr>
          <p:cNvSpPr/>
          <p:nvPr/>
        </p:nvSpPr>
        <p:spPr>
          <a:xfrm>
            <a:off x="3886114" y="2468962"/>
            <a:ext cx="1953654" cy="416372"/>
          </a:xfrm>
          <a:prstGeom prst="roundRect">
            <a:avLst>
              <a:gd name="adj" fmla="val 9751"/>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r>
              <a:rPr lang="en-US" sz="1200" b="1">
                <a:solidFill>
                  <a:schemeClr val="tx1"/>
                </a:solidFill>
                <a:latin typeface="Proximus Bold" pitchFamily="2" charset="77"/>
                <a:cs typeface="Proximus Bold"/>
              </a:rPr>
              <a:t>Future talent needs</a:t>
            </a:r>
          </a:p>
          <a:p>
            <a:pPr algn="ctr" defTabSz="1218418"/>
            <a:endParaRPr lang="en-US" sz="1200" b="1">
              <a:solidFill>
                <a:schemeClr val="tx1"/>
              </a:solidFill>
              <a:latin typeface="Proximus Bold" pitchFamily="2" charset="77"/>
              <a:cs typeface="Proximus Bold"/>
            </a:endParaRPr>
          </a:p>
        </p:txBody>
      </p:sp>
      <p:sp>
        <p:nvSpPr>
          <p:cNvPr id="23" name="Rectangle: Rounded Corners 41">
            <a:extLst>
              <a:ext uri="{FF2B5EF4-FFF2-40B4-BE49-F238E27FC236}">
                <a16:creationId xmlns:a16="http://schemas.microsoft.com/office/drawing/2014/main" id="{4E637697-CC13-540B-161D-43572B3C3C22}"/>
              </a:ext>
            </a:extLst>
          </p:cNvPr>
          <p:cNvSpPr/>
          <p:nvPr/>
        </p:nvSpPr>
        <p:spPr>
          <a:xfrm>
            <a:off x="6721593" y="2468962"/>
            <a:ext cx="1953654" cy="416372"/>
          </a:xfrm>
          <a:prstGeom prst="roundRect">
            <a:avLst>
              <a:gd name="adj" fmla="val 9751"/>
            </a:avLst>
          </a:prstGeom>
          <a:gradFill>
            <a:gsLst>
              <a:gs pos="0">
                <a:schemeClr val="bg1"/>
              </a:gs>
              <a:gs pos="99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r>
              <a:rPr lang="en-US" sz="1200" b="1">
                <a:solidFill>
                  <a:schemeClr val="tx1"/>
                </a:solidFill>
                <a:latin typeface="Proximus Bold" pitchFamily="2" charset="77"/>
                <a:cs typeface="Proximus Bold"/>
              </a:rPr>
              <a:t>Workforce evolutions </a:t>
            </a:r>
          </a:p>
          <a:p>
            <a:pPr algn="ctr" defTabSz="1218418"/>
            <a:endParaRPr lang="en-US" sz="1200" b="1">
              <a:solidFill>
                <a:schemeClr val="tx1"/>
              </a:solidFill>
              <a:latin typeface="Proximus Bold" pitchFamily="2" charset="77"/>
              <a:cs typeface="Proximus Bold"/>
            </a:endParaRPr>
          </a:p>
          <a:p>
            <a:pPr algn="ctr" defTabSz="1218418"/>
            <a:endParaRPr lang="en-US" sz="1200" b="1">
              <a:solidFill>
                <a:schemeClr val="tx1"/>
              </a:solidFill>
              <a:latin typeface="Proximus Bold" pitchFamily="2" charset="77"/>
              <a:cs typeface="Proximus Bold"/>
            </a:endParaRPr>
          </a:p>
        </p:txBody>
      </p:sp>
      <p:sp>
        <p:nvSpPr>
          <p:cNvPr id="24" name="Tekstvak 25">
            <a:extLst>
              <a:ext uri="{FF2B5EF4-FFF2-40B4-BE49-F238E27FC236}">
                <a16:creationId xmlns:a16="http://schemas.microsoft.com/office/drawing/2014/main" id="{43F0BCCA-6750-0E3F-EFC2-41155923CF3C}"/>
              </a:ext>
            </a:extLst>
          </p:cNvPr>
          <p:cNvSpPr txBox="1"/>
          <p:nvPr/>
        </p:nvSpPr>
        <p:spPr>
          <a:xfrm>
            <a:off x="3881985" y="3125159"/>
            <a:ext cx="4808006" cy="1429379"/>
          </a:xfrm>
          <a:prstGeom prst="rect">
            <a:avLst/>
          </a:prstGeom>
          <a:noFill/>
        </p:spPr>
        <p:txBody>
          <a:bodyPr wrap="square" lIns="0" tIns="0" rIns="0" bIns="0" rtlCol="0">
            <a:noAutofit/>
          </a:bodyPr>
          <a:lstStyle/>
          <a:p>
            <a:pPr algn="l" defTabSz="685800"/>
            <a:r>
              <a:rPr lang="nl-BE" sz="1200" b="1">
                <a:solidFill>
                  <a:srgbClr val="01112B"/>
                </a:solidFill>
                <a:latin typeface="Proximus Bold" pitchFamily="2" charset="77"/>
              </a:rPr>
              <a:t>Goal = </a:t>
            </a:r>
            <a:r>
              <a:rPr lang="nl-BE" sz="1200">
                <a:solidFill>
                  <a:srgbClr val="01112B"/>
                </a:solidFill>
                <a:latin typeface="Proximus Light" pitchFamily="2" charset="77"/>
              </a:rPr>
              <a:t>find proactive solutions for imbalances between the talent need and natural workforce evolutions:</a:t>
            </a:r>
          </a:p>
          <a:p>
            <a:pPr algn="l" defTabSz="685800"/>
            <a:endParaRPr lang="nl-BE" sz="1200">
              <a:solidFill>
                <a:srgbClr val="01112B"/>
              </a:solidFill>
              <a:latin typeface="Proximus Light" pitchFamily="2" charset="77"/>
            </a:endParaRPr>
          </a:p>
          <a:p>
            <a:pPr algn="l" defTabSz="685800"/>
            <a:r>
              <a:rPr lang="nl-BE" sz="1200" b="1">
                <a:solidFill>
                  <a:srgbClr val="01112B"/>
                </a:solidFill>
                <a:latin typeface="Proximus Bold" pitchFamily="2" charset="77"/>
              </a:rPr>
              <a:t>Upskilling: </a:t>
            </a:r>
            <a:r>
              <a:rPr lang="nl-BE" sz="1200">
                <a:solidFill>
                  <a:srgbClr val="01112B"/>
                </a:solidFill>
                <a:latin typeface="Proximus Light" pitchFamily="2" charset="77"/>
              </a:rPr>
              <a:t>deepening and broadening your current skillsets and expertise  </a:t>
            </a:r>
          </a:p>
          <a:p>
            <a:pPr algn="l" defTabSz="685800"/>
            <a:endParaRPr lang="nl-BE" sz="1200">
              <a:solidFill>
                <a:srgbClr val="01112B"/>
              </a:solidFill>
              <a:latin typeface="Proximus Light" pitchFamily="2" charset="77"/>
            </a:endParaRPr>
          </a:p>
          <a:p>
            <a:pPr algn="l" defTabSz="685800"/>
            <a:r>
              <a:rPr lang="nl-BE" sz="1200" b="1">
                <a:solidFill>
                  <a:srgbClr val="01112B"/>
                </a:solidFill>
                <a:latin typeface="Proximus Bold" pitchFamily="2" charset="77"/>
              </a:rPr>
              <a:t>Reskilling: </a:t>
            </a:r>
            <a:r>
              <a:rPr lang="nl-BE" sz="1200">
                <a:solidFill>
                  <a:srgbClr val="01112B"/>
                </a:solidFill>
                <a:latin typeface="Proximus Light" pitchFamily="2" charset="77"/>
              </a:rPr>
              <a:t>continue learning new skills and expertise that are essential for the future</a:t>
            </a:r>
            <a:endParaRPr lang="nl-BE" sz="1400">
              <a:solidFill>
                <a:srgbClr val="01112B"/>
              </a:solidFill>
              <a:latin typeface="Proximus Light" pitchFamily="2" charset="77"/>
            </a:endParaRPr>
          </a:p>
          <a:p>
            <a:pPr algn="l" defTabSz="685800"/>
            <a:endParaRPr lang="nl-BE" sz="1400">
              <a:solidFill>
                <a:srgbClr val="01112B"/>
              </a:solidFill>
              <a:latin typeface="Proximus Light" pitchFamily="2" charset="77"/>
            </a:endParaRPr>
          </a:p>
        </p:txBody>
      </p:sp>
      <p:pic>
        <p:nvPicPr>
          <p:cNvPr id="25" name="Afbeelding 31">
            <a:extLst>
              <a:ext uri="{FF2B5EF4-FFF2-40B4-BE49-F238E27FC236}">
                <a16:creationId xmlns:a16="http://schemas.microsoft.com/office/drawing/2014/main" id="{4C850AFA-6135-DA3E-77F5-F9AFD169E153}"/>
              </a:ext>
            </a:extLst>
          </p:cNvPr>
          <p:cNvPicPr>
            <a:picLocks noChangeAspect="1"/>
          </p:cNvPicPr>
          <p:nvPr/>
        </p:nvPicPr>
        <p:blipFill>
          <a:blip r:embed="rId6"/>
          <a:stretch>
            <a:fillRect/>
          </a:stretch>
        </p:blipFill>
        <p:spPr>
          <a:xfrm>
            <a:off x="6000969" y="2436953"/>
            <a:ext cx="508000" cy="508000"/>
          </a:xfrm>
          <a:prstGeom prst="rect">
            <a:avLst/>
          </a:prstGeom>
        </p:spPr>
      </p:pic>
      <p:sp>
        <p:nvSpPr>
          <p:cNvPr id="26" name="TextBox 25">
            <a:extLst>
              <a:ext uri="{FF2B5EF4-FFF2-40B4-BE49-F238E27FC236}">
                <a16:creationId xmlns:a16="http://schemas.microsoft.com/office/drawing/2014/main" id="{6B6FD08A-42A6-D974-9280-C114C3CA21D0}"/>
              </a:ext>
            </a:extLst>
          </p:cNvPr>
          <p:cNvSpPr txBox="1"/>
          <p:nvPr/>
        </p:nvSpPr>
        <p:spPr>
          <a:xfrm>
            <a:off x="1263380" y="356817"/>
            <a:ext cx="7267528" cy="720197"/>
          </a:xfrm>
          <a:prstGeom prst="rect">
            <a:avLst/>
          </a:prstGeom>
          <a:noFill/>
        </p:spPr>
        <p:txBody>
          <a:bodyPr wrap="square" lIns="0" tIns="0" rIns="0" bIns="0" anchor="ctr">
            <a:spAutoFit/>
          </a:bodyPr>
          <a:lstStyle/>
          <a:p>
            <a:pPr>
              <a:lnSpc>
                <a:spcPct val="90000"/>
              </a:lnSpc>
            </a:pPr>
            <a:r>
              <a:rPr lang="en-GB" sz="2600" b="1">
                <a:gradFill flip="none" rotWithShape="1">
                  <a:gsLst>
                    <a:gs pos="0">
                      <a:schemeClr val="bg1"/>
                    </a:gs>
                    <a:gs pos="100000">
                      <a:schemeClr val="accent1"/>
                    </a:gs>
                  </a:gsLst>
                  <a:lin ang="0" scaled="1"/>
                  <a:tileRect/>
                </a:gradFill>
                <a:latin typeface="Proximus ExtraBold" pitchFamily="2" charset="77"/>
              </a:rPr>
              <a:t>Be flexible </a:t>
            </a:r>
            <a:r>
              <a:rPr lang="en-GB" sz="2600">
                <a:solidFill>
                  <a:schemeClr val="accent6"/>
                </a:solidFill>
                <a:latin typeface="Proximus Light" pitchFamily="2" charset="77"/>
              </a:rPr>
              <a:t>&amp; </a:t>
            </a:r>
            <a:r>
              <a:rPr lang="en-GB" sz="2600" b="1">
                <a:gradFill flip="none" rotWithShape="1">
                  <a:gsLst>
                    <a:gs pos="0">
                      <a:schemeClr val="bg1"/>
                    </a:gs>
                    <a:gs pos="100000">
                      <a:schemeClr val="accent1"/>
                    </a:gs>
                  </a:gsLst>
                  <a:lin ang="0" scaled="1"/>
                  <a:tileRect/>
                </a:gradFill>
                <a:latin typeface="Proximus ExtraBold" pitchFamily="2" charset="77"/>
              </a:rPr>
              <a:t>anticipate evolving talent needs</a:t>
            </a:r>
            <a:r>
              <a:rPr lang="en-GB" sz="2600">
                <a:gradFill flip="none" rotWithShape="1">
                  <a:gsLst>
                    <a:gs pos="0">
                      <a:schemeClr val="bg1"/>
                    </a:gs>
                    <a:gs pos="100000">
                      <a:schemeClr val="accent5"/>
                    </a:gs>
                  </a:gsLst>
                  <a:lin ang="0" scaled="1"/>
                  <a:tileRect/>
                </a:gradFill>
                <a:latin typeface="Proximus Light" pitchFamily="2" charset="77"/>
              </a:rPr>
              <a:t> </a:t>
            </a:r>
            <a:r>
              <a:rPr lang="en-GB" sz="2600">
                <a:solidFill>
                  <a:schemeClr val="accent6"/>
                </a:solidFill>
                <a:latin typeface="Proximus Light" pitchFamily="2" charset="77"/>
              </a:rPr>
              <a:t>to be fully equipped for the future</a:t>
            </a:r>
          </a:p>
        </p:txBody>
      </p:sp>
      <p:pic>
        <p:nvPicPr>
          <p:cNvPr id="22" name="Graphic 21">
            <a:extLst>
              <a:ext uri="{FF2B5EF4-FFF2-40B4-BE49-F238E27FC236}">
                <a16:creationId xmlns:a16="http://schemas.microsoft.com/office/drawing/2014/main" id="{A91BF65C-B23A-5108-C194-A55DF76C9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5625" y="498322"/>
            <a:ext cx="317500" cy="419100"/>
          </a:xfrm>
          <a:prstGeom prst="rect">
            <a:avLst/>
          </a:prstGeom>
        </p:spPr>
      </p:pic>
    </p:spTree>
    <p:extLst>
      <p:ext uri="{BB962C8B-B14F-4D97-AF65-F5344CB8AC3E}">
        <p14:creationId xmlns:p14="http://schemas.microsoft.com/office/powerpoint/2010/main" val="3283357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extLst>
    <p:ext uri="{6950BFC3-D8DA-4A85-94F7-54DA5524770B}">
      <p188:commentRel xmlns:p188="http://schemas.microsoft.com/office/powerpoint/2018/8/main" r:id="rId3"/>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F4F3D-88DE-88C3-4F20-E7B8B28A3239}"/>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6B68B2B0-9993-EA6C-162F-CA13245AC6EC}"/>
              </a:ext>
            </a:extLst>
          </p:cNvPr>
          <p:cNvGrpSpPr/>
          <p:nvPr/>
        </p:nvGrpSpPr>
        <p:grpSpPr>
          <a:xfrm>
            <a:off x="460375" y="389918"/>
            <a:ext cx="648000" cy="648000"/>
            <a:chOff x="8824393" y="1279878"/>
            <a:chExt cx="648000" cy="648000"/>
          </a:xfrm>
        </p:grpSpPr>
        <p:sp>
          <p:nvSpPr>
            <p:cNvPr id="7" name="!!OVAL_technology">
              <a:extLst>
                <a:ext uri="{FF2B5EF4-FFF2-40B4-BE49-F238E27FC236}">
                  <a16:creationId xmlns:a16="http://schemas.microsoft.com/office/drawing/2014/main" id="{F1AAE8E7-A5E7-5CEA-A631-0656AFA7DADB}"/>
                </a:ext>
              </a:extLst>
            </p:cNvPr>
            <p:cNvSpPr>
              <a:spLocks noChangeAspect="1"/>
            </p:cNvSpPr>
            <p:nvPr/>
          </p:nvSpPr>
          <p:spPr>
            <a:xfrm>
              <a:off x="8824393" y="1279878"/>
              <a:ext cx="648000" cy="648000"/>
            </a:xfrm>
            <a:prstGeom prst="ellipse">
              <a:avLst/>
            </a:prstGeom>
            <a:gradFill flip="none" rotWithShape="1">
              <a:gsLst>
                <a:gs pos="0">
                  <a:schemeClr val="bg1"/>
                </a:gs>
                <a:gs pos="99000">
                  <a:schemeClr val="accent1"/>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grpSp>
          <p:nvGrpSpPr>
            <p:cNvPr id="12" name="multiple users collab">
              <a:extLst>
                <a:ext uri="{FF2B5EF4-FFF2-40B4-BE49-F238E27FC236}">
                  <a16:creationId xmlns:a16="http://schemas.microsoft.com/office/drawing/2014/main" id="{028630AF-29CA-90C6-45C4-D58B2A238F06}"/>
                </a:ext>
              </a:extLst>
            </p:cNvPr>
            <p:cNvGrpSpPr/>
            <p:nvPr/>
          </p:nvGrpSpPr>
          <p:grpSpPr>
            <a:xfrm>
              <a:off x="8967408" y="1422903"/>
              <a:ext cx="361970" cy="361950"/>
              <a:chOff x="7322650" y="2129134"/>
              <a:chExt cx="361970" cy="361950"/>
            </a:xfrm>
            <a:solidFill>
              <a:schemeClr val="tx1"/>
            </a:solidFill>
          </p:grpSpPr>
          <p:sp>
            <p:nvSpPr>
              <p:cNvPr id="19" name="Freeform: Shape 96">
                <a:extLst>
                  <a:ext uri="{FF2B5EF4-FFF2-40B4-BE49-F238E27FC236}">
                    <a16:creationId xmlns:a16="http://schemas.microsoft.com/office/drawing/2014/main" id="{6F039F0B-110E-916F-55B8-B0A417937C01}"/>
                  </a:ext>
                </a:extLst>
              </p:cNvPr>
              <p:cNvSpPr/>
              <p:nvPr/>
            </p:nvSpPr>
            <p:spPr>
              <a:xfrm>
                <a:off x="7570543" y="2177933"/>
                <a:ext cx="114077" cy="272192"/>
              </a:xfrm>
              <a:custGeom>
                <a:avLst/>
                <a:gdLst>
                  <a:gd name="connsiteX0" fmla="*/ 113348 w 114077"/>
                  <a:gd name="connsiteY0" fmla="*/ 247428 h 272192"/>
                  <a:gd name="connsiteX1" fmla="*/ 49530 w 114077"/>
                  <a:gd name="connsiteY1" fmla="*/ 129318 h 272192"/>
                  <a:gd name="connsiteX2" fmla="*/ 90488 w 114077"/>
                  <a:gd name="connsiteY2" fmla="*/ 59785 h 272192"/>
                  <a:gd name="connsiteX3" fmla="*/ 50482 w 114077"/>
                  <a:gd name="connsiteY3" fmla="*/ 730 h 272192"/>
                  <a:gd name="connsiteX4" fmla="*/ 38100 w 114077"/>
                  <a:gd name="connsiteY4" fmla="*/ 5493 h 272192"/>
                  <a:gd name="connsiteX5" fmla="*/ 42863 w 114077"/>
                  <a:gd name="connsiteY5" fmla="*/ 17875 h 272192"/>
                  <a:gd name="connsiteX6" fmla="*/ 70485 w 114077"/>
                  <a:gd name="connsiteY6" fmla="*/ 59785 h 272192"/>
                  <a:gd name="connsiteX7" fmla="*/ 23813 w 114077"/>
                  <a:gd name="connsiteY7" fmla="*/ 118840 h 272192"/>
                  <a:gd name="connsiteX8" fmla="*/ 9525 w 114077"/>
                  <a:gd name="connsiteY8" fmla="*/ 118840 h 272192"/>
                  <a:gd name="connsiteX9" fmla="*/ 0 w 114077"/>
                  <a:gd name="connsiteY9" fmla="*/ 128365 h 272192"/>
                  <a:gd name="connsiteX10" fmla="*/ 9525 w 114077"/>
                  <a:gd name="connsiteY10" fmla="*/ 137890 h 272192"/>
                  <a:gd name="connsiteX11" fmla="*/ 25718 w 114077"/>
                  <a:gd name="connsiteY11" fmla="*/ 137890 h 272192"/>
                  <a:gd name="connsiteX12" fmla="*/ 95250 w 114077"/>
                  <a:gd name="connsiteY12" fmla="*/ 249333 h 272192"/>
                  <a:gd name="connsiteX13" fmla="*/ 94298 w 114077"/>
                  <a:gd name="connsiteY13" fmla="*/ 252190 h 272192"/>
                  <a:gd name="connsiteX14" fmla="*/ 91440 w 114077"/>
                  <a:gd name="connsiteY14" fmla="*/ 253143 h 272192"/>
                  <a:gd name="connsiteX15" fmla="*/ 66675 w 114077"/>
                  <a:gd name="connsiteY15" fmla="*/ 253143 h 272192"/>
                  <a:gd name="connsiteX16" fmla="*/ 57150 w 114077"/>
                  <a:gd name="connsiteY16" fmla="*/ 262668 h 272192"/>
                  <a:gd name="connsiteX17" fmla="*/ 66675 w 114077"/>
                  <a:gd name="connsiteY17" fmla="*/ 272193 h 272192"/>
                  <a:gd name="connsiteX18" fmla="*/ 91440 w 114077"/>
                  <a:gd name="connsiteY18" fmla="*/ 272193 h 272192"/>
                  <a:gd name="connsiteX19" fmla="*/ 108585 w 114077"/>
                  <a:gd name="connsiteY19" fmla="*/ 264573 h 272192"/>
                  <a:gd name="connsiteX20" fmla="*/ 113348 w 114077"/>
                  <a:gd name="connsiteY20" fmla="*/ 247428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77" h="272192">
                    <a:moveTo>
                      <a:pt x="113348" y="247428"/>
                    </a:moveTo>
                    <a:cubicBezTo>
                      <a:pt x="108585" y="219805"/>
                      <a:pt x="93345" y="157893"/>
                      <a:pt x="49530" y="129318"/>
                    </a:cubicBezTo>
                    <a:cubicBezTo>
                      <a:pt x="69532" y="117888"/>
                      <a:pt x="90488" y="95980"/>
                      <a:pt x="90488" y="59785"/>
                    </a:cubicBezTo>
                    <a:cubicBezTo>
                      <a:pt x="90488" y="34068"/>
                      <a:pt x="75248" y="10255"/>
                      <a:pt x="50482" y="730"/>
                    </a:cubicBezTo>
                    <a:cubicBezTo>
                      <a:pt x="45720" y="-1175"/>
                      <a:pt x="40005" y="730"/>
                      <a:pt x="38100" y="5493"/>
                    </a:cubicBezTo>
                    <a:cubicBezTo>
                      <a:pt x="36195" y="10255"/>
                      <a:pt x="38100" y="15970"/>
                      <a:pt x="42863" y="17875"/>
                    </a:cubicBezTo>
                    <a:cubicBezTo>
                      <a:pt x="60007" y="24543"/>
                      <a:pt x="70485" y="40735"/>
                      <a:pt x="70485" y="59785"/>
                    </a:cubicBezTo>
                    <a:cubicBezTo>
                      <a:pt x="70485" y="102648"/>
                      <a:pt x="31432" y="116935"/>
                      <a:pt x="23813" y="118840"/>
                    </a:cubicBezTo>
                    <a:lnTo>
                      <a:pt x="9525" y="118840"/>
                    </a:lnTo>
                    <a:cubicBezTo>
                      <a:pt x="3810" y="118840"/>
                      <a:pt x="0" y="122650"/>
                      <a:pt x="0" y="128365"/>
                    </a:cubicBezTo>
                    <a:cubicBezTo>
                      <a:pt x="0" y="134080"/>
                      <a:pt x="3810" y="137890"/>
                      <a:pt x="9525" y="137890"/>
                    </a:cubicBezTo>
                    <a:lnTo>
                      <a:pt x="25718" y="137890"/>
                    </a:lnTo>
                    <a:cubicBezTo>
                      <a:pt x="75248" y="155035"/>
                      <a:pt x="91440" y="221710"/>
                      <a:pt x="95250" y="249333"/>
                    </a:cubicBezTo>
                    <a:cubicBezTo>
                      <a:pt x="95250" y="250285"/>
                      <a:pt x="95250" y="252190"/>
                      <a:pt x="94298" y="252190"/>
                    </a:cubicBezTo>
                    <a:cubicBezTo>
                      <a:pt x="94298" y="252190"/>
                      <a:pt x="93345" y="253143"/>
                      <a:pt x="91440" y="253143"/>
                    </a:cubicBezTo>
                    <a:lnTo>
                      <a:pt x="66675" y="253143"/>
                    </a:lnTo>
                    <a:cubicBezTo>
                      <a:pt x="60960" y="253143"/>
                      <a:pt x="57150" y="256952"/>
                      <a:pt x="57150" y="262668"/>
                    </a:cubicBezTo>
                    <a:cubicBezTo>
                      <a:pt x="57150" y="268383"/>
                      <a:pt x="60960" y="272193"/>
                      <a:pt x="66675" y="272193"/>
                    </a:cubicBezTo>
                    <a:lnTo>
                      <a:pt x="91440" y="272193"/>
                    </a:lnTo>
                    <a:cubicBezTo>
                      <a:pt x="98107" y="272193"/>
                      <a:pt x="104775" y="269335"/>
                      <a:pt x="108585" y="264573"/>
                    </a:cubicBezTo>
                    <a:cubicBezTo>
                      <a:pt x="113348" y="260763"/>
                      <a:pt x="115252" y="254095"/>
                      <a:pt x="113348" y="247428"/>
                    </a:cubicBezTo>
                    <a:close/>
                  </a:path>
                </a:pathLst>
              </a:custGeom>
              <a:grpFill/>
              <a:ln w="9525" cap="flat">
                <a:noFill/>
                <a:prstDash val="solid"/>
                <a:miter/>
              </a:ln>
            </p:spPr>
            <p:txBody>
              <a:bodyPr rtlCol="0" anchor="ctr"/>
              <a:lstStyle/>
              <a:p>
                <a:endParaRPr lang="en-GB"/>
              </a:p>
            </p:txBody>
          </p:sp>
          <p:sp>
            <p:nvSpPr>
              <p:cNvPr id="20" name="Freeform: Shape 97">
                <a:extLst>
                  <a:ext uri="{FF2B5EF4-FFF2-40B4-BE49-F238E27FC236}">
                    <a16:creationId xmlns:a16="http://schemas.microsoft.com/office/drawing/2014/main" id="{9F41FA31-F058-CEC9-509D-0621F6470101}"/>
                  </a:ext>
                </a:extLst>
              </p:cNvPr>
              <p:cNvSpPr/>
              <p:nvPr/>
            </p:nvSpPr>
            <p:spPr>
              <a:xfrm>
                <a:off x="7322650" y="2178886"/>
                <a:ext cx="113590" cy="272192"/>
              </a:xfrm>
              <a:custGeom>
                <a:avLst/>
                <a:gdLst>
                  <a:gd name="connsiteX0" fmla="*/ 88825 w 113590"/>
                  <a:gd name="connsiteY0" fmla="*/ 137890 h 272192"/>
                  <a:gd name="connsiteX1" fmla="*/ 104065 w 113590"/>
                  <a:gd name="connsiteY1" fmla="*/ 137890 h 272192"/>
                  <a:gd name="connsiteX2" fmla="*/ 113590 w 113590"/>
                  <a:gd name="connsiteY2" fmla="*/ 128365 h 272192"/>
                  <a:gd name="connsiteX3" fmla="*/ 104065 w 113590"/>
                  <a:gd name="connsiteY3" fmla="*/ 118840 h 272192"/>
                  <a:gd name="connsiteX4" fmla="*/ 88825 w 113590"/>
                  <a:gd name="connsiteY4" fmla="*/ 118840 h 272192"/>
                  <a:gd name="connsiteX5" fmla="*/ 42153 w 113590"/>
                  <a:gd name="connsiteY5" fmla="*/ 59785 h 272192"/>
                  <a:gd name="connsiteX6" fmla="*/ 69775 w 113590"/>
                  <a:gd name="connsiteY6" fmla="*/ 17875 h 272192"/>
                  <a:gd name="connsiteX7" fmla="*/ 74538 w 113590"/>
                  <a:gd name="connsiteY7" fmla="*/ 5493 h 272192"/>
                  <a:gd name="connsiteX8" fmla="*/ 63108 w 113590"/>
                  <a:gd name="connsiteY8" fmla="*/ 730 h 272192"/>
                  <a:gd name="connsiteX9" fmla="*/ 23103 w 113590"/>
                  <a:gd name="connsiteY9" fmla="*/ 59785 h 272192"/>
                  <a:gd name="connsiteX10" fmla="*/ 64060 w 113590"/>
                  <a:gd name="connsiteY10" fmla="*/ 129317 h 272192"/>
                  <a:gd name="connsiteX11" fmla="*/ 243 w 113590"/>
                  <a:gd name="connsiteY11" fmla="*/ 246475 h 272192"/>
                  <a:gd name="connsiteX12" fmla="*/ 5005 w 113590"/>
                  <a:gd name="connsiteY12" fmla="*/ 264573 h 272192"/>
                  <a:gd name="connsiteX13" fmla="*/ 22150 w 113590"/>
                  <a:gd name="connsiteY13" fmla="*/ 272193 h 272192"/>
                  <a:gd name="connsiteX14" fmla="*/ 47868 w 113590"/>
                  <a:gd name="connsiteY14" fmla="*/ 272193 h 272192"/>
                  <a:gd name="connsiteX15" fmla="*/ 57393 w 113590"/>
                  <a:gd name="connsiteY15" fmla="*/ 262668 h 272192"/>
                  <a:gd name="connsiteX16" fmla="*/ 47868 w 113590"/>
                  <a:gd name="connsiteY16" fmla="*/ 253143 h 272192"/>
                  <a:gd name="connsiteX17" fmla="*/ 23103 w 113590"/>
                  <a:gd name="connsiteY17" fmla="*/ 253143 h 272192"/>
                  <a:gd name="connsiteX18" fmla="*/ 20245 w 113590"/>
                  <a:gd name="connsiteY18" fmla="*/ 252190 h 272192"/>
                  <a:gd name="connsiteX19" fmla="*/ 19293 w 113590"/>
                  <a:gd name="connsiteY19" fmla="*/ 249333 h 272192"/>
                  <a:gd name="connsiteX20" fmla="*/ 88825 w 113590"/>
                  <a:gd name="connsiteY20" fmla="*/ 137890 h 27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590" h="272192">
                    <a:moveTo>
                      <a:pt x="88825" y="137890"/>
                    </a:moveTo>
                    <a:lnTo>
                      <a:pt x="104065" y="137890"/>
                    </a:lnTo>
                    <a:cubicBezTo>
                      <a:pt x="109780" y="137890"/>
                      <a:pt x="113590" y="134080"/>
                      <a:pt x="113590" y="128365"/>
                    </a:cubicBezTo>
                    <a:cubicBezTo>
                      <a:pt x="113590" y="122650"/>
                      <a:pt x="109780" y="118840"/>
                      <a:pt x="104065" y="118840"/>
                    </a:cubicBezTo>
                    <a:lnTo>
                      <a:pt x="88825" y="118840"/>
                    </a:lnTo>
                    <a:cubicBezTo>
                      <a:pt x="81205" y="116935"/>
                      <a:pt x="42153" y="102648"/>
                      <a:pt x="42153" y="59785"/>
                    </a:cubicBezTo>
                    <a:cubicBezTo>
                      <a:pt x="42153" y="41688"/>
                      <a:pt x="53583" y="25495"/>
                      <a:pt x="69775" y="17875"/>
                    </a:cubicBezTo>
                    <a:cubicBezTo>
                      <a:pt x="74538" y="15970"/>
                      <a:pt x="77395" y="10255"/>
                      <a:pt x="74538" y="5493"/>
                    </a:cubicBezTo>
                    <a:cubicBezTo>
                      <a:pt x="71680" y="730"/>
                      <a:pt x="67870" y="-1175"/>
                      <a:pt x="63108" y="730"/>
                    </a:cubicBezTo>
                    <a:cubicBezTo>
                      <a:pt x="39295" y="10255"/>
                      <a:pt x="23103" y="34068"/>
                      <a:pt x="23103" y="59785"/>
                    </a:cubicBezTo>
                    <a:cubicBezTo>
                      <a:pt x="23103" y="95028"/>
                      <a:pt x="44058" y="116935"/>
                      <a:pt x="64060" y="129317"/>
                    </a:cubicBezTo>
                    <a:cubicBezTo>
                      <a:pt x="20245" y="156940"/>
                      <a:pt x="5005" y="218853"/>
                      <a:pt x="243" y="246475"/>
                    </a:cubicBezTo>
                    <a:cubicBezTo>
                      <a:pt x="-710" y="253143"/>
                      <a:pt x="1195" y="259810"/>
                      <a:pt x="5005" y="264573"/>
                    </a:cubicBezTo>
                    <a:cubicBezTo>
                      <a:pt x="8815" y="269335"/>
                      <a:pt x="15483" y="272193"/>
                      <a:pt x="22150" y="272193"/>
                    </a:cubicBezTo>
                    <a:lnTo>
                      <a:pt x="47868" y="272193"/>
                    </a:lnTo>
                    <a:cubicBezTo>
                      <a:pt x="53583" y="272193"/>
                      <a:pt x="57393" y="268383"/>
                      <a:pt x="57393" y="262668"/>
                    </a:cubicBezTo>
                    <a:cubicBezTo>
                      <a:pt x="57393" y="256953"/>
                      <a:pt x="53583" y="253143"/>
                      <a:pt x="47868" y="253143"/>
                    </a:cubicBezTo>
                    <a:lnTo>
                      <a:pt x="23103" y="253143"/>
                    </a:lnTo>
                    <a:cubicBezTo>
                      <a:pt x="21198" y="253143"/>
                      <a:pt x="21198" y="252190"/>
                      <a:pt x="20245" y="252190"/>
                    </a:cubicBezTo>
                    <a:cubicBezTo>
                      <a:pt x="20245" y="252190"/>
                      <a:pt x="19293" y="250285"/>
                      <a:pt x="19293" y="249333"/>
                    </a:cubicBezTo>
                    <a:cubicBezTo>
                      <a:pt x="24055" y="221710"/>
                      <a:pt x="40248" y="155035"/>
                      <a:pt x="88825" y="137890"/>
                    </a:cubicBezTo>
                    <a:close/>
                  </a:path>
                </a:pathLst>
              </a:custGeom>
              <a:grpFill/>
              <a:ln w="9525" cap="flat">
                <a:noFill/>
                <a:prstDash val="solid"/>
                <a:miter/>
              </a:ln>
            </p:spPr>
            <p:txBody>
              <a:bodyPr rtlCol="0" anchor="ctr"/>
              <a:lstStyle/>
              <a:p>
                <a:endParaRPr lang="en-GB"/>
              </a:p>
            </p:txBody>
          </p:sp>
          <p:sp>
            <p:nvSpPr>
              <p:cNvPr id="22" name="Freeform: Shape 98">
                <a:extLst>
                  <a:ext uri="{FF2B5EF4-FFF2-40B4-BE49-F238E27FC236}">
                    <a16:creationId xmlns:a16="http://schemas.microsoft.com/office/drawing/2014/main" id="{1ECAC88D-3AB2-A5DB-5C8E-8193A047A7B0}"/>
                  </a:ext>
                </a:extLst>
              </p:cNvPr>
              <p:cNvSpPr/>
              <p:nvPr/>
            </p:nvSpPr>
            <p:spPr>
              <a:xfrm>
                <a:off x="7391234" y="2129134"/>
                <a:ext cx="225624" cy="361950"/>
              </a:xfrm>
              <a:custGeom>
                <a:avLst/>
                <a:gdLst>
                  <a:gd name="connsiteX0" fmla="*/ 136446 w 225624"/>
                  <a:gd name="connsiteY0" fmla="*/ 173355 h 361950"/>
                  <a:gd name="connsiteX1" fmla="*/ 194548 w 225624"/>
                  <a:gd name="connsiteY1" fmla="*/ 81915 h 361950"/>
                  <a:gd name="connsiteX2" fmla="*/ 112633 w 225624"/>
                  <a:gd name="connsiteY2" fmla="*/ 0 h 361950"/>
                  <a:gd name="connsiteX3" fmla="*/ 30718 w 225624"/>
                  <a:gd name="connsiteY3" fmla="*/ 81915 h 361950"/>
                  <a:gd name="connsiteX4" fmla="*/ 88821 w 225624"/>
                  <a:gd name="connsiteY4" fmla="*/ 173355 h 361950"/>
                  <a:gd name="connsiteX5" fmla="*/ 238 w 225624"/>
                  <a:gd name="connsiteY5" fmla="*/ 330518 h 361950"/>
                  <a:gd name="connsiteX6" fmla="*/ 5953 w 225624"/>
                  <a:gd name="connsiteY6" fmla="*/ 352425 h 361950"/>
                  <a:gd name="connsiteX7" fmla="*/ 26908 w 225624"/>
                  <a:gd name="connsiteY7" fmla="*/ 361950 h 361950"/>
                  <a:gd name="connsiteX8" fmla="*/ 198358 w 225624"/>
                  <a:gd name="connsiteY8" fmla="*/ 361950 h 361950"/>
                  <a:gd name="connsiteX9" fmla="*/ 219313 w 225624"/>
                  <a:gd name="connsiteY9" fmla="*/ 352425 h 361950"/>
                  <a:gd name="connsiteX10" fmla="*/ 225028 w 225624"/>
                  <a:gd name="connsiteY10" fmla="*/ 330518 h 361950"/>
                  <a:gd name="connsiteX11" fmla="*/ 136446 w 225624"/>
                  <a:gd name="connsiteY11" fmla="*/ 173355 h 361950"/>
                  <a:gd name="connsiteX12" fmla="*/ 49768 w 225624"/>
                  <a:gd name="connsiteY12" fmla="*/ 81915 h 361950"/>
                  <a:gd name="connsiteX13" fmla="*/ 112633 w 225624"/>
                  <a:gd name="connsiteY13" fmla="*/ 19050 h 361950"/>
                  <a:gd name="connsiteX14" fmla="*/ 175498 w 225624"/>
                  <a:gd name="connsiteY14" fmla="*/ 81915 h 361950"/>
                  <a:gd name="connsiteX15" fmla="*/ 112633 w 225624"/>
                  <a:gd name="connsiteY15" fmla="*/ 162878 h 361950"/>
                  <a:gd name="connsiteX16" fmla="*/ 49768 w 225624"/>
                  <a:gd name="connsiteY16" fmla="*/ 81915 h 361950"/>
                  <a:gd name="connsiteX17" fmla="*/ 204073 w 225624"/>
                  <a:gd name="connsiteY17" fmla="*/ 340043 h 361950"/>
                  <a:gd name="connsiteX18" fmla="*/ 198358 w 225624"/>
                  <a:gd name="connsiteY18" fmla="*/ 342900 h 361950"/>
                  <a:gd name="connsiteX19" fmla="*/ 26908 w 225624"/>
                  <a:gd name="connsiteY19" fmla="*/ 342900 h 361950"/>
                  <a:gd name="connsiteX20" fmla="*/ 21193 w 225624"/>
                  <a:gd name="connsiteY20" fmla="*/ 340043 h 361950"/>
                  <a:gd name="connsiteX21" fmla="*/ 19288 w 225624"/>
                  <a:gd name="connsiteY21" fmla="*/ 333375 h 361950"/>
                  <a:gd name="connsiteX22" fmla="*/ 112633 w 225624"/>
                  <a:gd name="connsiteY22" fmla="*/ 182880 h 361950"/>
                  <a:gd name="connsiteX23" fmla="*/ 205978 w 225624"/>
                  <a:gd name="connsiteY23" fmla="*/ 333375 h 361950"/>
                  <a:gd name="connsiteX24" fmla="*/ 204073 w 225624"/>
                  <a:gd name="connsiteY24" fmla="*/ 340043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624" h="361950">
                    <a:moveTo>
                      <a:pt x="136446" y="173355"/>
                    </a:moveTo>
                    <a:cubicBezTo>
                      <a:pt x="160258" y="160973"/>
                      <a:pt x="194548" y="134303"/>
                      <a:pt x="194548" y="81915"/>
                    </a:cubicBezTo>
                    <a:cubicBezTo>
                      <a:pt x="194548" y="37148"/>
                      <a:pt x="157401" y="0"/>
                      <a:pt x="112633" y="0"/>
                    </a:cubicBezTo>
                    <a:cubicBezTo>
                      <a:pt x="67866" y="0"/>
                      <a:pt x="30718" y="37148"/>
                      <a:pt x="30718" y="81915"/>
                    </a:cubicBezTo>
                    <a:cubicBezTo>
                      <a:pt x="30718" y="134303"/>
                      <a:pt x="65008" y="160973"/>
                      <a:pt x="88821" y="173355"/>
                    </a:cubicBezTo>
                    <a:cubicBezTo>
                      <a:pt x="26908" y="208598"/>
                      <a:pt x="6906" y="292418"/>
                      <a:pt x="238" y="330518"/>
                    </a:cubicBezTo>
                    <a:cubicBezTo>
                      <a:pt x="-714" y="338138"/>
                      <a:pt x="1191" y="346710"/>
                      <a:pt x="5953" y="352425"/>
                    </a:cubicBezTo>
                    <a:cubicBezTo>
                      <a:pt x="10716" y="358140"/>
                      <a:pt x="18336" y="361950"/>
                      <a:pt x="26908" y="361950"/>
                    </a:cubicBezTo>
                    <a:lnTo>
                      <a:pt x="198358" y="361950"/>
                    </a:lnTo>
                    <a:cubicBezTo>
                      <a:pt x="205978" y="361950"/>
                      <a:pt x="213598" y="358140"/>
                      <a:pt x="219313" y="352425"/>
                    </a:cubicBezTo>
                    <a:cubicBezTo>
                      <a:pt x="224076" y="346710"/>
                      <a:pt x="226933" y="338138"/>
                      <a:pt x="225028" y="330518"/>
                    </a:cubicBezTo>
                    <a:cubicBezTo>
                      <a:pt x="218361" y="292418"/>
                      <a:pt x="198358" y="208598"/>
                      <a:pt x="136446" y="173355"/>
                    </a:cubicBezTo>
                    <a:close/>
                    <a:moveTo>
                      <a:pt x="49768" y="81915"/>
                    </a:moveTo>
                    <a:cubicBezTo>
                      <a:pt x="49768" y="47625"/>
                      <a:pt x="78343" y="19050"/>
                      <a:pt x="112633" y="19050"/>
                    </a:cubicBezTo>
                    <a:cubicBezTo>
                      <a:pt x="146923" y="19050"/>
                      <a:pt x="175498" y="47625"/>
                      <a:pt x="175498" y="81915"/>
                    </a:cubicBezTo>
                    <a:cubicBezTo>
                      <a:pt x="175498" y="139065"/>
                      <a:pt x="125016" y="159068"/>
                      <a:pt x="112633" y="162878"/>
                    </a:cubicBezTo>
                    <a:cubicBezTo>
                      <a:pt x="101203" y="159068"/>
                      <a:pt x="49768" y="139065"/>
                      <a:pt x="49768" y="81915"/>
                    </a:cubicBezTo>
                    <a:close/>
                    <a:moveTo>
                      <a:pt x="204073" y="340043"/>
                    </a:moveTo>
                    <a:cubicBezTo>
                      <a:pt x="203121" y="340995"/>
                      <a:pt x="201216" y="342900"/>
                      <a:pt x="198358" y="342900"/>
                    </a:cubicBezTo>
                    <a:lnTo>
                      <a:pt x="26908" y="342900"/>
                    </a:lnTo>
                    <a:cubicBezTo>
                      <a:pt x="24051" y="342900"/>
                      <a:pt x="22146" y="340995"/>
                      <a:pt x="21193" y="340043"/>
                    </a:cubicBezTo>
                    <a:cubicBezTo>
                      <a:pt x="20241" y="339090"/>
                      <a:pt x="19288" y="337185"/>
                      <a:pt x="19288" y="333375"/>
                    </a:cubicBezTo>
                    <a:cubicBezTo>
                      <a:pt x="25003" y="296228"/>
                      <a:pt x="46911" y="206693"/>
                      <a:pt x="112633" y="182880"/>
                    </a:cubicBezTo>
                    <a:cubicBezTo>
                      <a:pt x="178356" y="206693"/>
                      <a:pt x="200263" y="295275"/>
                      <a:pt x="205978" y="333375"/>
                    </a:cubicBezTo>
                    <a:cubicBezTo>
                      <a:pt x="205978" y="336233"/>
                      <a:pt x="205026" y="339090"/>
                      <a:pt x="204073" y="340043"/>
                    </a:cubicBezTo>
                    <a:close/>
                  </a:path>
                </a:pathLst>
              </a:custGeom>
              <a:grpFill/>
              <a:ln w="9525" cap="flat">
                <a:noFill/>
                <a:prstDash val="solid"/>
                <a:miter/>
              </a:ln>
            </p:spPr>
            <p:txBody>
              <a:bodyPr rtlCol="0" anchor="ctr"/>
              <a:lstStyle/>
              <a:p>
                <a:endParaRPr lang="en-GB"/>
              </a:p>
            </p:txBody>
          </p:sp>
        </p:grpSp>
      </p:grpSp>
      <p:sp>
        <p:nvSpPr>
          <p:cNvPr id="2" name="Title 1">
            <a:extLst>
              <a:ext uri="{FF2B5EF4-FFF2-40B4-BE49-F238E27FC236}">
                <a16:creationId xmlns:a16="http://schemas.microsoft.com/office/drawing/2014/main" id="{F516BCC7-BA3F-76C8-DFD9-B7FA8858A5AF}"/>
              </a:ext>
            </a:extLst>
          </p:cNvPr>
          <p:cNvSpPr>
            <a:spLocks noGrp="1"/>
          </p:cNvSpPr>
          <p:nvPr>
            <p:ph type="title"/>
          </p:nvPr>
        </p:nvSpPr>
        <p:spPr>
          <a:xfrm>
            <a:off x="1252548" y="377826"/>
            <a:ext cx="7429492" cy="660092"/>
          </a:xfrm>
        </p:spPr>
        <p:txBody>
          <a:bodyPr anchor="ctr"/>
          <a:lstStyle/>
          <a:p>
            <a:r>
              <a:rPr lang="en-BE">
                <a:solidFill>
                  <a:srgbClr val="2A2234"/>
                </a:solidFill>
              </a:rPr>
              <a:t>Bold people</a:t>
            </a:r>
            <a:r>
              <a:rPr lang="en-BE" b="0">
                <a:solidFill>
                  <a:srgbClr val="2A2234"/>
                </a:solidFill>
                <a:latin typeface="Proximus Light" pitchFamily="2" charset="77"/>
              </a:rPr>
              <a:t> in 2025</a:t>
            </a:r>
            <a:endParaRPr lang="en-BE">
              <a:solidFill>
                <a:srgbClr val="2A2234"/>
              </a:solidFill>
            </a:endParaRPr>
          </a:p>
        </p:txBody>
      </p:sp>
      <p:sp>
        <p:nvSpPr>
          <p:cNvPr id="3" name="Text Placeholder 2">
            <a:extLst>
              <a:ext uri="{FF2B5EF4-FFF2-40B4-BE49-F238E27FC236}">
                <a16:creationId xmlns:a16="http://schemas.microsoft.com/office/drawing/2014/main" id="{14DFADC1-CD01-1DF6-47BF-0330B0571AD1}"/>
              </a:ext>
            </a:extLst>
          </p:cNvPr>
          <p:cNvSpPr>
            <a:spLocks noGrp="1"/>
          </p:cNvSpPr>
          <p:nvPr>
            <p:ph type="body" sz="quarter" idx="4294967295"/>
          </p:nvPr>
        </p:nvSpPr>
        <p:spPr>
          <a:xfrm>
            <a:off x="460375" y="1408112"/>
            <a:ext cx="1908000" cy="3294065"/>
          </a:xfrm>
          <a:prstGeom prst="roundRect">
            <a:avLst>
              <a:gd name="adj" fmla="val 9984"/>
            </a:avLst>
          </a:prstGeom>
          <a:gradFill flip="none" rotWithShape="1">
            <a:gsLst>
              <a:gs pos="0">
                <a:schemeClr val="bg1"/>
              </a:gs>
              <a:gs pos="100000">
                <a:schemeClr val="accent1"/>
              </a:gs>
            </a:gsLst>
            <a:lin ang="10800000" scaled="1"/>
            <a:tileRect/>
          </a:gradFill>
        </p:spPr>
        <p:txBody>
          <a:bodyPr tIns="576000" anchor="ctr"/>
          <a:lstStyle/>
          <a:p>
            <a:pPr marL="0" indent="0" algn="ctr">
              <a:buNone/>
            </a:pPr>
            <a:r>
              <a:rPr lang="en-GB" sz="1600" b="1">
                <a:solidFill>
                  <a:schemeClr val="tx1"/>
                </a:solidFill>
                <a:latin typeface="Proximus ExtraBold" pitchFamily="2" charset="77"/>
              </a:rPr>
              <a:t>Strategic Workforce Planning </a:t>
            </a:r>
            <a:br>
              <a:rPr lang="en-GB" sz="1600" b="1">
                <a:solidFill>
                  <a:schemeClr val="tx1"/>
                </a:solidFill>
                <a:latin typeface="Proximus ExtraBold" pitchFamily="2" charset="77"/>
              </a:rPr>
            </a:br>
            <a:r>
              <a:rPr lang="en-GB" sz="1600" b="1">
                <a:solidFill>
                  <a:schemeClr val="tx1"/>
                </a:solidFill>
                <a:latin typeface="Proximus ExtraBold" pitchFamily="2" charset="77"/>
              </a:rPr>
              <a:t>(SWP)</a:t>
            </a:r>
            <a:endParaRPr lang="en-BE" sz="1600" b="1">
              <a:solidFill>
                <a:schemeClr val="tx1"/>
              </a:solidFill>
              <a:latin typeface="Proximus ExtraBold" pitchFamily="2" charset="77"/>
            </a:endParaRPr>
          </a:p>
        </p:txBody>
      </p:sp>
      <p:sp>
        <p:nvSpPr>
          <p:cNvPr id="6" name="Text Placeholder 4">
            <a:extLst>
              <a:ext uri="{FF2B5EF4-FFF2-40B4-BE49-F238E27FC236}">
                <a16:creationId xmlns:a16="http://schemas.microsoft.com/office/drawing/2014/main" id="{7719351D-0BC3-9E08-AFC8-6746EB42A548}"/>
              </a:ext>
            </a:extLst>
          </p:cNvPr>
          <p:cNvSpPr txBox="1">
            <a:spLocks/>
          </p:cNvSpPr>
          <p:nvPr/>
        </p:nvSpPr>
        <p:spPr>
          <a:xfrm>
            <a:off x="2572320" y="1393460"/>
            <a:ext cx="1884240" cy="1786167"/>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1"/>
                    </a:gs>
                  </a:gsLst>
                  <a:lin ang="3000000" scaled="0"/>
                </a:gradFill>
                <a:latin typeface="Proximus ExtraBold" pitchFamily="2" charset="77"/>
              </a:rPr>
              <a:t>1</a:t>
            </a:r>
          </a:p>
          <a:p>
            <a:pPr marL="0" indent="0" defTabSz="914241">
              <a:lnSpc>
                <a:spcPct val="110000"/>
              </a:lnSpc>
              <a:spcBef>
                <a:spcPts val="0"/>
              </a:spcBef>
              <a:spcAft>
                <a:spcPts val="1200"/>
              </a:spcAft>
              <a:buClr>
                <a:srgbClr val="5C2D91"/>
              </a:buClr>
              <a:buNone/>
              <a:defRPr/>
            </a:pPr>
            <a:r>
              <a:rPr lang="en-US" sz="1100">
                <a:solidFill>
                  <a:srgbClr val="141C24"/>
                </a:solidFill>
                <a:latin typeface="Proximus Light" pitchFamily="2" charset="77"/>
              </a:rPr>
              <a:t>Training tracks to ensure </a:t>
            </a:r>
            <a:r>
              <a:rPr lang="en-US" sz="1100" b="1">
                <a:solidFill>
                  <a:srgbClr val="141C24"/>
                </a:solidFill>
                <a:latin typeface="Proximus ExtraBold" pitchFamily="2" charset="77"/>
              </a:rPr>
              <a:t>upskilling</a:t>
            </a:r>
          </a:p>
          <a:p>
            <a:pPr marL="0" indent="0" defTabSz="914241">
              <a:lnSpc>
                <a:spcPct val="110000"/>
              </a:lnSpc>
              <a:spcBef>
                <a:spcPts val="0"/>
              </a:spcBef>
              <a:spcAft>
                <a:spcPts val="1200"/>
              </a:spcAft>
              <a:buClr>
                <a:srgbClr val="5C2D91"/>
              </a:buClr>
              <a:buNone/>
              <a:defRPr/>
            </a:pPr>
            <a:endParaRPr lang="en-US" sz="1100" b="1">
              <a:solidFill>
                <a:srgbClr val="141C24"/>
              </a:solidFill>
              <a:latin typeface="Proximus ExtraBold" pitchFamily="2" charset="77"/>
            </a:endParaRPr>
          </a:p>
        </p:txBody>
      </p:sp>
      <p:sp>
        <p:nvSpPr>
          <p:cNvPr id="8" name="Text Placeholder 4">
            <a:extLst>
              <a:ext uri="{FF2B5EF4-FFF2-40B4-BE49-F238E27FC236}">
                <a16:creationId xmlns:a16="http://schemas.microsoft.com/office/drawing/2014/main" id="{4D7646A8-819C-7245-A184-D107B19F68E9}"/>
              </a:ext>
            </a:extLst>
          </p:cNvPr>
          <p:cNvSpPr txBox="1">
            <a:spLocks/>
          </p:cNvSpPr>
          <p:nvPr/>
        </p:nvSpPr>
        <p:spPr>
          <a:xfrm>
            <a:off x="4684265" y="1387106"/>
            <a:ext cx="1884240" cy="1791863"/>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44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1"/>
                    </a:gs>
                  </a:gsLst>
                  <a:lin ang="3000000" scaled="0"/>
                </a:gradFill>
                <a:latin typeface="Proximus ExtraBold" pitchFamily="2" charset="77"/>
              </a:rPr>
              <a:t>2</a:t>
            </a:r>
            <a:endParaRPr lang="en-US" sz="1200" b="1">
              <a:gradFill>
                <a:gsLst>
                  <a:gs pos="0">
                    <a:schemeClr val="bg1"/>
                  </a:gs>
                  <a:gs pos="100000">
                    <a:schemeClr val="accent1"/>
                  </a:gs>
                </a:gsLst>
                <a:lin ang="3000000" scaled="0"/>
              </a:gradFill>
              <a:latin typeface="Proximus ExtraBold" pitchFamily="2" charset="77"/>
            </a:endParaRPr>
          </a:p>
          <a:p>
            <a:pPr marL="0" indent="0" defTabSz="914241">
              <a:lnSpc>
                <a:spcPct val="110000"/>
              </a:lnSpc>
              <a:spcBef>
                <a:spcPts val="0"/>
              </a:spcBef>
              <a:spcAft>
                <a:spcPts val="1200"/>
              </a:spcAft>
              <a:buClr>
                <a:srgbClr val="5C2D91"/>
              </a:buClr>
              <a:buNone/>
              <a:defRPr/>
            </a:pPr>
            <a:r>
              <a:rPr lang="en-US" sz="1100" b="1">
                <a:solidFill>
                  <a:srgbClr val="141C24"/>
                </a:solidFill>
                <a:latin typeface="Proximus ExtraBold" pitchFamily="2" charset="77"/>
              </a:rPr>
              <a:t>Reskilling opportunities</a:t>
            </a:r>
          </a:p>
          <a:p>
            <a:pPr marL="0" indent="0" defTabSz="914241">
              <a:lnSpc>
                <a:spcPct val="110000"/>
              </a:lnSpc>
              <a:spcBef>
                <a:spcPts val="0"/>
              </a:spcBef>
              <a:spcAft>
                <a:spcPts val="1200"/>
              </a:spcAft>
              <a:buClr>
                <a:srgbClr val="5C2D91"/>
              </a:buClr>
              <a:buNone/>
              <a:defRPr/>
            </a:pPr>
            <a:endParaRPr lang="en-US" sz="1100" b="1">
              <a:solidFill>
                <a:srgbClr val="141C24"/>
              </a:solidFill>
              <a:latin typeface="Proximus ExtraBold" pitchFamily="2" charset="77"/>
            </a:endParaRPr>
          </a:p>
        </p:txBody>
      </p:sp>
      <p:sp>
        <p:nvSpPr>
          <p:cNvPr id="10" name="Text Placeholder 4">
            <a:extLst>
              <a:ext uri="{FF2B5EF4-FFF2-40B4-BE49-F238E27FC236}">
                <a16:creationId xmlns:a16="http://schemas.microsoft.com/office/drawing/2014/main" id="{B8DA6400-BA14-9EFD-9642-67CD539471C1}"/>
              </a:ext>
            </a:extLst>
          </p:cNvPr>
          <p:cNvSpPr txBox="1">
            <a:spLocks/>
          </p:cNvSpPr>
          <p:nvPr/>
        </p:nvSpPr>
        <p:spPr>
          <a:xfrm>
            <a:off x="6796210" y="2382991"/>
            <a:ext cx="1884240" cy="3308718"/>
          </a:xfrm>
          <a:prstGeom prst="roundRect">
            <a:avLst>
              <a:gd name="adj" fmla="val 10110"/>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3200" b="1">
                <a:gradFill>
                  <a:gsLst>
                    <a:gs pos="0">
                      <a:schemeClr val="bg1"/>
                    </a:gs>
                    <a:gs pos="100000">
                      <a:schemeClr val="accent1"/>
                    </a:gs>
                  </a:gsLst>
                  <a:lin ang="3000000" scaled="0"/>
                </a:gradFill>
                <a:latin typeface="Proximus ExtraBold" pitchFamily="2" charset="77"/>
              </a:rPr>
              <a:t>3</a:t>
            </a:r>
          </a:p>
          <a:p>
            <a:pPr marL="0" indent="0" defTabSz="914241">
              <a:lnSpc>
                <a:spcPct val="110000"/>
              </a:lnSpc>
              <a:spcBef>
                <a:spcPts val="0"/>
              </a:spcBef>
              <a:spcAft>
                <a:spcPts val="1200"/>
              </a:spcAft>
              <a:buClr>
                <a:srgbClr val="5C2D91"/>
              </a:buClr>
              <a:buNone/>
              <a:defRPr/>
            </a:pPr>
            <a:r>
              <a:rPr lang="en-US" sz="1100" b="1">
                <a:solidFill>
                  <a:srgbClr val="141C24"/>
                </a:solidFill>
                <a:latin typeface="Proximus ExtraBold" pitchFamily="2" charset="77"/>
              </a:rPr>
              <a:t>Change &amp; </a:t>
            </a:r>
            <a:br>
              <a:rPr lang="en-US" sz="1100" b="1">
                <a:solidFill>
                  <a:srgbClr val="141C24"/>
                </a:solidFill>
                <a:latin typeface="Proximus ExtraBold" pitchFamily="2" charset="77"/>
              </a:rPr>
            </a:br>
            <a:r>
              <a:rPr lang="en-US" sz="1100" b="1">
                <a:solidFill>
                  <a:srgbClr val="141C24"/>
                </a:solidFill>
                <a:latin typeface="Proximus ExtraBold" pitchFamily="2" charset="77"/>
              </a:rPr>
              <a:t>training tracks</a:t>
            </a:r>
            <a:r>
              <a:rPr lang="en-US" sz="1100">
                <a:solidFill>
                  <a:srgbClr val="141C24"/>
                </a:solidFill>
                <a:latin typeface="Proximus Light" pitchFamily="2" charset="77"/>
              </a:rPr>
              <a:t> </a:t>
            </a:r>
            <a:br>
              <a:rPr lang="en-US" sz="1100">
                <a:solidFill>
                  <a:srgbClr val="141C24"/>
                </a:solidFill>
                <a:latin typeface="Proximus Light" pitchFamily="2" charset="77"/>
              </a:rPr>
            </a:br>
            <a:r>
              <a:rPr lang="en-US" sz="1100">
                <a:solidFill>
                  <a:srgbClr val="141C24"/>
                </a:solidFill>
                <a:latin typeface="Proximus Light" pitchFamily="2" charset="77"/>
              </a:rPr>
              <a:t>for </a:t>
            </a:r>
            <a:r>
              <a:rPr lang="en-US" sz="1100" err="1">
                <a:solidFill>
                  <a:srgbClr val="141C24"/>
                </a:solidFill>
                <a:latin typeface="Proximus Light" pitchFamily="2" charset="77"/>
              </a:rPr>
              <a:t>teamleaders</a:t>
            </a:r>
            <a:r>
              <a:rPr lang="en-US" sz="1100">
                <a:solidFill>
                  <a:srgbClr val="141C24"/>
                </a:solidFill>
                <a:latin typeface="Proximus Light" pitchFamily="2" charset="77"/>
              </a:rPr>
              <a:t> &amp; employees to support changes</a:t>
            </a:r>
          </a:p>
        </p:txBody>
      </p:sp>
      <p:sp>
        <p:nvSpPr>
          <p:cNvPr id="15" name="Rounded Rectangle 14">
            <a:extLst>
              <a:ext uri="{FF2B5EF4-FFF2-40B4-BE49-F238E27FC236}">
                <a16:creationId xmlns:a16="http://schemas.microsoft.com/office/drawing/2014/main" id="{86B294C9-F787-9211-C571-BF7DAABB9FEF}"/>
              </a:ext>
            </a:extLst>
          </p:cNvPr>
          <p:cNvSpPr/>
          <p:nvPr/>
        </p:nvSpPr>
        <p:spPr>
          <a:xfrm>
            <a:off x="6796210" y="-426284"/>
            <a:ext cx="1884240" cy="2611751"/>
          </a:xfrm>
          <a:prstGeom prst="roundRect">
            <a:avLst>
              <a:gd name="adj" fmla="val 10110"/>
            </a:avLst>
          </a:prstGeom>
          <a:blipFill>
            <a:blip r:embed="rId3"/>
            <a:srcRect/>
            <a:stretch>
              <a:fillRect l="-39817" t="13576" r="-39817"/>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sp>
        <p:nvSpPr>
          <p:cNvPr id="16" name="Rounded Rectangle 15">
            <a:extLst>
              <a:ext uri="{FF2B5EF4-FFF2-40B4-BE49-F238E27FC236}">
                <a16:creationId xmlns:a16="http://schemas.microsoft.com/office/drawing/2014/main" id="{01A9200A-8B48-DC72-6960-B8D6ED0A9DA2}"/>
              </a:ext>
            </a:extLst>
          </p:cNvPr>
          <p:cNvSpPr/>
          <p:nvPr/>
        </p:nvSpPr>
        <p:spPr>
          <a:xfrm>
            <a:off x="2572320" y="3364707"/>
            <a:ext cx="3996185" cy="2327002"/>
          </a:xfrm>
          <a:prstGeom prst="roundRect">
            <a:avLst>
              <a:gd name="adj" fmla="val 4767"/>
            </a:avLst>
          </a:prstGeom>
          <a:blipFill>
            <a:blip r:embed="rId4"/>
            <a:srcRect/>
            <a:stretch>
              <a:fillRect t="-13303" b="-1221"/>
            </a:stretch>
          </a:blip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en-BE" sz="1400" err="1">
              <a:solidFill>
                <a:schemeClr val="tx1"/>
              </a:solidFill>
              <a:latin typeface="Proximus Bold" panose="00000500000000000000" pitchFamily="2" charset="0"/>
              <a:cs typeface="Proximus Bold"/>
            </a:endParaRPr>
          </a:p>
        </p:txBody>
      </p:sp>
      <p:pic>
        <p:nvPicPr>
          <p:cNvPr id="4" name="Graphic 3">
            <a:extLst>
              <a:ext uri="{FF2B5EF4-FFF2-40B4-BE49-F238E27FC236}">
                <a16:creationId xmlns:a16="http://schemas.microsoft.com/office/drawing/2014/main" id="{3612B4A2-8066-1B7D-98DA-840E18657A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55625" y="2221125"/>
            <a:ext cx="317500" cy="419100"/>
          </a:xfrm>
          <a:prstGeom prst="rect">
            <a:avLst/>
          </a:prstGeom>
        </p:spPr>
      </p:pic>
    </p:spTree>
    <p:extLst>
      <p:ext uri="{BB962C8B-B14F-4D97-AF65-F5344CB8AC3E}">
        <p14:creationId xmlns:p14="http://schemas.microsoft.com/office/powerpoint/2010/main" val="1363181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7B8CE-0C2B-94A0-B0FE-EFF8090D3D19}"/>
            </a:ext>
          </a:extLst>
        </p:cNvPr>
        <p:cNvGrpSpPr/>
        <p:nvPr/>
      </p:nvGrpSpPr>
      <p:grpSpPr>
        <a:xfrm>
          <a:off x="0" y="0"/>
          <a:ext cx="0" cy="0"/>
          <a:chOff x="0" y="0"/>
          <a:chExt cx="0" cy="0"/>
        </a:xfrm>
      </p:grpSpPr>
      <p:pic>
        <p:nvPicPr>
          <p:cNvPr id="3" name="Picture 2" descr="A person sitting on a bench&#10;&#10;Description automatically generated">
            <a:extLst>
              <a:ext uri="{FF2B5EF4-FFF2-40B4-BE49-F238E27FC236}">
                <a16:creationId xmlns:a16="http://schemas.microsoft.com/office/drawing/2014/main" id="{9AE78248-F10F-EE55-4A7C-70BC284C4923}"/>
              </a:ext>
            </a:extLst>
          </p:cNvPr>
          <p:cNvPicPr>
            <a:picLocks noChangeAspect="1"/>
          </p:cNvPicPr>
          <p:nvPr/>
        </p:nvPicPr>
        <p:blipFill>
          <a:blip r:embed="rId3"/>
          <a:stretch>
            <a:fillRect/>
          </a:stretch>
        </p:blipFill>
        <p:spPr>
          <a:xfrm>
            <a:off x="0" y="0"/>
            <a:ext cx="9144000" cy="5143500"/>
          </a:xfrm>
          <a:prstGeom prst="rect">
            <a:avLst/>
          </a:prstGeom>
        </p:spPr>
      </p:pic>
      <p:pic>
        <p:nvPicPr>
          <p:cNvPr id="10" name="Graphic 9">
            <a:extLst>
              <a:ext uri="{FF2B5EF4-FFF2-40B4-BE49-F238E27FC236}">
                <a16:creationId xmlns:a16="http://schemas.microsoft.com/office/drawing/2014/main" id="{6AC458E8-4C27-88A7-753D-CAA6FF04B8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28657240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5D14ED4E-332A-5B40-4AC1-FFB2751D9032}"/>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6C67E9D-8CED-178D-0EED-0BDDA61F7A19}"/>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11500" b="1">
                <a:solidFill>
                  <a:srgbClr val="2A2234"/>
                </a:solidFill>
                <a:latin typeface="Proximus ExtraBold" pitchFamily="2" charset="77"/>
              </a:rPr>
              <a:t>NBU </a:t>
            </a:r>
            <a:r>
              <a:rPr lang="en-GB" sz="11500" b="1">
                <a:gradFill flip="none" rotWithShape="1">
                  <a:gsLst>
                    <a:gs pos="36000">
                      <a:schemeClr val="tx2"/>
                    </a:gs>
                    <a:gs pos="99000">
                      <a:schemeClr val="bg1"/>
                    </a:gs>
                  </a:gsLst>
                  <a:lin ang="18900000" scaled="1"/>
                  <a:tileRect/>
                </a:gradFill>
                <a:latin typeface="Proximus ExtraBold" pitchFamily="2" charset="77"/>
              </a:rPr>
              <a:t>4.0</a:t>
            </a:r>
          </a:p>
        </p:txBody>
      </p:sp>
      <p:sp>
        <p:nvSpPr>
          <p:cNvPr id="2" name="TextBox 1">
            <a:extLst>
              <a:ext uri="{FF2B5EF4-FFF2-40B4-BE49-F238E27FC236}">
                <a16:creationId xmlns:a16="http://schemas.microsoft.com/office/drawing/2014/main" id="{7AFF24F4-8C26-4F0E-B137-B37408083B14}"/>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128170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323AB906-A44C-4725-AEE6-0187A7E32917}"/>
            </a:ext>
          </a:extLst>
        </p:cNvPr>
        <p:cNvGrpSpPr/>
        <p:nvPr/>
      </p:nvGrpSpPr>
      <p:grpSpPr>
        <a:xfrm>
          <a:off x="0" y="0"/>
          <a:ext cx="0" cy="0"/>
          <a:chOff x="0" y="0"/>
          <a:chExt cx="0" cy="0"/>
        </a:xfrm>
      </p:grpSpPr>
      <p:pic>
        <p:nvPicPr>
          <p:cNvPr id="2" name="Graphic 1">
            <a:extLst>
              <a:ext uri="{FF2B5EF4-FFF2-40B4-BE49-F238E27FC236}">
                <a16:creationId xmlns:a16="http://schemas.microsoft.com/office/drawing/2014/main" id="{C874C962-3991-997A-0CC1-F04C2737B41E}"/>
              </a:ext>
            </a:extLst>
          </p:cNvPr>
          <p:cNvPicPr>
            <a:picLocks noChangeAspect="1"/>
          </p:cNvPicPr>
          <p:nvPr/>
        </p:nvPicPr>
        <p:blipFill>
          <a:blip r:embed="rId3"/>
          <a:srcRect/>
          <a:stretch/>
        </p:blipFill>
        <p:spPr>
          <a:xfrm rot="14253325">
            <a:off x="2892825" y="3488595"/>
            <a:ext cx="8099170" cy="9282716"/>
          </a:xfrm>
          <a:prstGeom prst="rect">
            <a:avLst/>
          </a:prstGeom>
          <a:noFill/>
        </p:spPr>
      </p:pic>
      <p:sp>
        <p:nvSpPr>
          <p:cNvPr id="71" name="Rounded Rectangle 16">
            <a:extLst>
              <a:ext uri="{FF2B5EF4-FFF2-40B4-BE49-F238E27FC236}">
                <a16:creationId xmlns:a16="http://schemas.microsoft.com/office/drawing/2014/main" id="{227CE898-B676-C362-1A34-4212C244920B}"/>
              </a:ext>
            </a:extLst>
          </p:cNvPr>
          <p:cNvSpPr/>
          <p:nvPr/>
        </p:nvSpPr>
        <p:spPr>
          <a:xfrm>
            <a:off x="3504924" y="1202503"/>
            <a:ext cx="5178700" cy="2442297"/>
          </a:xfrm>
          <a:prstGeom prst="roundRect">
            <a:avLst>
              <a:gd name="adj" fmla="val 6799"/>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408084"/>
            <a:endParaRPr lang="en-US" sz="1400">
              <a:solidFill>
                <a:schemeClr val="bg1"/>
              </a:solidFill>
              <a:latin typeface="Proximus Light" pitchFamily="2" charset="77"/>
            </a:endParaRPr>
          </a:p>
        </p:txBody>
      </p:sp>
      <p:sp>
        <p:nvSpPr>
          <p:cNvPr id="3" name="TextBox 2">
            <a:extLst>
              <a:ext uri="{FF2B5EF4-FFF2-40B4-BE49-F238E27FC236}">
                <a16:creationId xmlns:a16="http://schemas.microsoft.com/office/drawing/2014/main" id="{0C3F97DF-CCEA-C0F7-21A8-5232C106B136}"/>
              </a:ext>
            </a:extLst>
          </p:cNvPr>
          <p:cNvSpPr txBox="1"/>
          <p:nvPr/>
        </p:nvSpPr>
        <p:spPr>
          <a:xfrm>
            <a:off x="8054578" y="6004321"/>
            <a:ext cx="914400" cy="914400"/>
          </a:xfrm>
          <a:prstGeom prst="rect">
            <a:avLst/>
          </a:prstGeom>
        </p:spPr>
        <p:txBody>
          <a:bodyPr vert="horz" wrap="square" lIns="0" tIns="0" rIns="0" bIns="0" numCol="1" spcCol="0" rtlCol="0" anchor="t" anchorCtr="0">
            <a:noAutofit/>
          </a:bodyPr>
          <a:lstStyle/>
          <a:p>
            <a:pPr algn="l"/>
            <a:endParaRPr lang="en-GB"/>
          </a:p>
        </p:txBody>
      </p:sp>
      <p:sp>
        <p:nvSpPr>
          <p:cNvPr id="11" name="Title 10">
            <a:extLst>
              <a:ext uri="{FF2B5EF4-FFF2-40B4-BE49-F238E27FC236}">
                <a16:creationId xmlns:a16="http://schemas.microsoft.com/office/drawing/2014/main" id="{2A44CF41-C450-B9DD-1E70-8DA776175D83}"/>
              </a:ext>
            </a:extLst>
          </p:cNvPr>
          <p:cNvSpPr>
            <a:spLocks noGrp="1"/>
          </p:cNvSpPr>
          <p:nvPr>
            <p:ph type="title"/>
          </p:nvPr>
        </p:nvSpPr>
        <p:spPr>
          <a:xfrm>
            <a:off x="1083733" y="379412"/>
            <a:ext cx="7070108" cy="694887"/>
          </a:xfrm>
        </p:spPr>
        <p:txBody>
          <a:bodyPr>
            <a:noAutofit/>
          </a:bodyPr>
          <a:lstStyle/>
          <a:p>
            <a:r>
              <a:rPr lang="en-US" sz="2800" dirty="0">
                <a:solidFill>
                  <a:srgbClr val="2A2234"/>
                </a:solidFill>
              </a:rPr>
              <a:t>Thank you for your feedback! </a:t>
            </a:r>
          </a:p>
        </p:txBody>
      </p:sp>
      <p:sp>
        <p:nvSpPr>
          <p:cNvPr id="4" name="Rounded Rectangle 16">
            <a:extLst>
              <a:ext uri="{FF2B5EF4-FFF2-40B4-BE49-F238E27FC236}">
                <a16:creationId xmlns:a16="http://schemas.microsoft.com/office/drawing/2014/main" id="{49B30AA2-543B-63CD-8921-C9FA23C0C1AF}"/>
              </a:ext>
            </a:extLst>
          </p:cNvPr>
          <p:cNvSpPr/>
          <p:nvPr/>
        </p:nvSpPr>
        <p:spPr>
          <a:xfrm>
            <a:off x="460376" y="1202503"/>
            <a:ext cx="2561095" cy="1834156"/>
          </a:xfrm>
          <a:prstGeom prst="roundRect">
            <a:avLst>
              <a:gd name="adj" fmla="val 7438"/>
            </a:avLst>
          </a:prstGeom>
          <a:solidFill>
            <a:schemeClr val="tx1"/>
          </a:solidFill>
          <a:ln>
            <a:noFill/>
          </a:ln>
          <a:effectLst>
            <a:outerShdw blurRad="324663"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408084"/>
            <a:r>
              <a:rPr lang="en-GB" sz="1400">
                <a:solidFill>
                  <a:schemeClr val="bg1"/>
                </a:solidFill>
                <a:latin typeface="Proximus Light" pitchFamily="2" charset="77"/>
              </a:rPr>
              <a:t>Response rate </a:t>
            </a:r>
            <a:br>
              <a:rPr lang="en-GB" sz="1400">
                <a:solidFill>
                  <a:schemeClr val="bg1"/>
                </a:solidFill>
                <a:latin typeface="Proximus Light" pitchFamily="2" charset="77"/>
              </a:rPr>
            </a:br>
            <a:r>
              <a:rPr lang="en-GB" sz="3200" b="1">
                <a:solidFill>
                  <a:schemeClr val="bg1"/>
                </a:solidFill>
                <a:latin typeface="Proximus ExtraBold" pitchFamily="2" charset="77"/>
              </a:rPr>
              <a:t>82% </a:t>
            </a:r>
          </a:p>
          <a:p>
            <a:pPr algn="ctr" defTabSz="408084"/>
            <a:r>
              <a:rPr lang="en-GB" sz="1400">
                <a:solidFill>
                  <a:schemeClr val="bg1"/>
                </a:solidFill>
                <a:latin typeface="Proximus Light" pitchFamily="2" charset="77"/>
              </a:rPr>
              <a:t>even higher than </a:t>
            </a:r>
            <a:br>
              <a:rPr lang="en-GB" sz="1400">
                <a:solidFill>
                  <a:schemeClr val="bg1"/>
                </a:solidFill>
                <a:latin typeface="Proximus Light" pitchFamily="2" charset="77"/>
              </a:rPr>
            </a:br>
            <a:r>
              <a:rPr lang="en-GB" sz="1400">
                <a:solidFill>
                  <a:schemeClr val="bg1"/>
                </a:solidFill>
                <a:latin typeface="Proximus Light" pitchFamily="2" charset="77"/>
              </a:rPr>
              <a:t>last year</a:t>
            </a:r>
            <a:endParaRPr lang="en-US" sz="1400">
              <a:solidFill>
                <a:schemeClr val="bg1"/>
              </a:solidFill>
              <a:latin typeface="Proximus Light" pitchFamily="2" charset="77"/>
            </a:endParaRPr>
          </a:p>
        </p:txBody>
      </p:sp>
      <p:pic>
        <p:nvPicPr>
          <p:cNvPr id="9" name="Graphic 8">
            <a:extLst>
              <a:ext uri="{FF2B5EF4-FFF2-40B4-BE49-F238E27FC236}">
                <a16:creationId xmlns:a16="http://schemas.microsoft.com/office/drawing/2014/main" id="{280121AD-17BD-CAA1-8D21-E160271AE098}"/>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rot="5400000">
            <a:off x="1677531" y="3220311"/>
            <a:ext cx="126784" cy="205744"/>
          </a:xfrm>
          <a:prstGeom prst="rect">
            <a:avLst/>
          </a:prstGeom>
        </p:spPr>
      </p:pic>
      <p:pic>
        <p:nvPicPr>
          <p:cNvPr id="10" name="Graphic 9">
            <a:extLst>
              <a:ext uri="{FF2B5EF4-FFF2-40B4-BE49-F238E27FC236}">
                <a16:creationId xmlns:a16="http://schemas.microsoft.com/office/drawing/2014/main" id="{932E9046-EE11-1DA3-5121-F71D545159EE}"/>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3192638" y="2016708"/>
            <a:ext cx="126784" cy="205744"/>
          </a:xfrm>
          <a:prstGeom prst="rect">
            <a:avLst/>
          </a:prstGeom>
        </p:spPr>
      </p:pic>
      <p:sp>
        <p:nvSpPr>
          <p:cNvPr id="47" name="Rectangle 25">
            <a:extLst>
              <a:ext uri="{FF2B5EF4-FFF2-40B4-BE49-F238E27FC236}">
                <a16:creationId xmlns:a16="http://schemas.microsoft.com/office/drawing/2014/main" id="{E260953F-34CC-A5DB-9FB1-D1B13B838958}"/>
              </a:ext>
            </a:extLst>
          </p:cNvPr>
          <p:cNvSpPr>
            <a:spLocks noChangeArrowheads="1"/>
          </p:cNvSpPr>
          <p:nvPr/>
        </p:nvSpPr>
        <p:spPr bwMode="auto">
          <a:xfrm>
            <a:off x="3855226" y="1910546"/>
            <a:ext cx="2424743" cy="1431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310">
              <a:spcAft>
                <a:spcPts val="1800"/>
              </a:spcAft>
              <a:defRPr/>
            </a:pPr>
            <a:r>
              <a:rPr lang="en-US" altLang="en-US" sz="1200" b="1" kern="0">
                <a:solidFill>
                  <a:schemeClr val="bg1"/>
                </a:solidFill>
                <a:latin typeface="Proximus Bold" panose="00000500000000000000" pitchFamily="2" charset="0"/>
              </a:rPr>
              <a:t>Engagement</a:t>
            </a:r>
          </a:p>
          <a:p>
            <a:pPr defTabSz="914310">
              <a:spcAft>
                <a:spcPts val="1800"/>
              </a:spcAft>
              <a:defRPr/>
            </a:pPr>
            <a:r>
              <a:rPr lang="en-US" altLang="en-US" sz="1200" b="1" kern="0">
                <a:solidFill>
                  <a:schemeClr val="bg1"/>
                </a:solidFill>
                <a:latin typeface="Proximus Bold" panose="00000500000000000000" pitchFamily="2" charset="0"/>
              </a:rPr>
              <a:t>Empowerment &amp; accountability</a:t>
            </a:r>
          </a:p>
          <a:p>
            <a:pPr defTabSz="914310">
              <a:spcAft>
                <a:spcPts val="1800"/>
              </a:spcAft>
              <a:defRPr/>
            </a:pPr>
            <a:r>
              <a:rPr lang="en-US" altLang="en-US" sz="1200" b="1" kern="0">
                <a:solidFill>
                  <a:schemeClr val="bg1"/>
                </a:solidFill>
                <a:latin typeface="Proximus Bold" panose="00000500000000000000" pitchFamily="2" charset="0"/>
              </a:rPr>
              <a:t>Agility</a:t>
            </a:r>
          </a:p>
          <a:p>
            <a:pPr defTabSz="914310">
              <a:spcAft>
                <a:spcPts val="1800"/>
              </a:spcAft>
              <a:defRPr/>
            </a:pPr>
            <a:r>
              <a:rPr lang="en-US" altLang="en-US" sz="1200" b="1" kern="0">
                <a:solidFill>
                  <a:schemeClr val="bg1"/>
                </a:solidFill>
                <a:latin typeface="Proximus Bold" panose="00000500000000000000" pitchFamily="2" charset="0"/>
              </a:rPr>
              <a:t>Strategy &amp; leadership</a:t>
            </a:r>
            <a:endParaRPr lang="en-US" altLang="en-US" sz="1200" kern="0">
              <a:solidFill>
                <a:schemeClr val="bg1"/>
              </a:solidFill>
            </a:endParaRPr>
          </a:p>
        </p:txBody>
      </p:sp>
      <p:sp>
        <p:nvSpPr>
          <p:cNvPr id="51" name="Rectangle 16">
            <a:extLst>
              <a:ext uri="{FF2B5EF4-FFF2-40B4-BE49-F238E27FC236}">
                <a16:creationId xmlns:a16="http://schemas.microsoft.com/office/drawing/2014/main" id="{17646733-3F5B-57AF-170A-2DE84FB610F7}"/>
              </a:ext>
            </a:extLst>
          </p:cNvPr>
          <p:cNvSpPr>
            <a:spLocks noChangeArrowheads="1"/>
          </p:cNvSpPr>
          <p:nvPr/>
        </p:nvSpPr>
        <p:spPr bwMode="auto">
          <a:xfrm>
            <a:off x="6521696" y="1944794"/>
            <a:ext cx="198526" cy="136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310">
              <a:spcAft>
                <a:spcPts val="1800"/>
              </a:spcAft>
              <a:defRPr/>
            </a:pPr>
            <a:r>
              <a:rPr lang="en-US" altLang="en-US" sz="1100" b="1" kern="0">
                <a:solidFill>
                  <a:schemeClr val="bg1"/>
                </a:solidFill>
                <a:latin typeface="Proximus Bold" panose="00000500000000000000" pitchFamily="2" charset="0"/>
              </a:rPr>
              <a:t>77</a:t>
            </a:r>
          </a:p>
          <a:p>
            <a:pPr defTabSz="914310">
              <a:spcAft>
                <a:spcPts val="1800"/>
              </a:spcAft>
              <a:defRPr/>
            </a:pPr>
            <a:r>
              <a:rPr lang="en-US" altLang="en-US" sz="1100" b="1" kern="0">
                <a:solidFill>
                  <a:schemeClr val="bg1"/>
                </a:solidFill>
                <a:latin typeface="Proximus Bold" panose="00000500000000000000" pitchFamily="2" charset="0"/>
              </a:rPr>
              <a:t>83</a:t>
            </a:r>
          </a:p>
          <a:p>
            <a:pPr defTabSz="914310">
              <a:spcAft>
                <a:spcPts val="1800"/>
              </a:spcAft>
              <a:defRPr/>
            </a:pPr>
            <a:r>
              <a:rPr lang="en-US" altLang="en-US" sz="1100" b="1" kern="0">
                <a:solidFill>
                  <a:schemeClr val="bg1"/>
                </a:solidFill>
                <a:latin typeface="Proximus Bold" panose="00000500000000000000" pitchFamily="2" charset="0"/>
              </a:rPr>
              <a:t>73</a:t>
            </a:r>
          </a:p>
          <a:p>
            <a:pPr defTabSz="914310">
              <a:spcAft>
                <a:spcPts val="1800"/>
              </a:spcAft>
              <a:defRPr/>
            </a:pPr>
            <a:r>
              <a:rPr lang="en-US" altLang="en-US" sz="1100" b="1" kern="0">
                <a:solidFill>
                  <a:schemeClr val="bg1"/>
                </a:solidFill>
                <a:latin typeface="Proximus Bold" panose="00000500000000000000" pitchFamily="2" charset="0"/>
              </a:rPr>
              <a:t>78</a:t>
            </a:r>
          </a:p>
        </p:txBody>
      </p:sp>
      <p:cxnSp>
        <p:nvCxnSpPr>
          <p:cNvPr id="59" name="Rechte verbindingslijn 12">
            <a:extLst>
              <a:ext uri="{FF2B5EF4-FFF2-40B4-BE49-F238E27FC236}">
                <a16:creationId xmlns:a16="http://schemas.microsoft.com/office/drawing/2014/main" id="{78BBD679-C06C-5165-BF8D-C235D5C24CEA}"/>
              </a:ext>
            </a:extLst>
          </p:cNvPr>
          <p:cNvCxnSpPr>
            <a:cxnSpLocks/>
          </p:cNvCxnSpPr>
          <p:nvPr/>
        </p:nvCxnSpPr>
        <p:spPr>
          <a:xfrm flipH="1">
            <a:off x="3756109" y="2209631"/>
            <a:ext cx="4572728" cy="0"/>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0" name="Rectangle 16">
            <a:extLst>
              <a:ext uri="{FF2B5EF4-FFF2-40B4-BE49-F238E27FC236}">
                <a16:creationId xmlns:a16="http://schemas.microsoft.com/office/drawing/2014/main" id="{DB42CE37-2498-7CF3-D913-A8117BEBF9E9}"/>
              </a:ext>
            </a:extLst>
          </p:cNvPr>
          <p:cNvSpPr>
            <a:spLocks noChangeArrowheads="1"/>
          </p:cNvSpPr>
          <p:nvPr/>
        </p:nvSpPr>
        <p:spPr bwMode="auto">
          <a:xfrm>
            <a:off x="7955315" y="1924306"/>
            <a:ext cx="198526" cy="136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310">
              <a:spcAft>
                <a:spcPts val="1800"/>
              </a:spcAft>
              <a:defRPr/>
            </a:pPr>
            <a:r>
              <a:rPr lang="en-US" altLang="en-US" sz="1100" b="1" kern="0">
                <a:solidFill>
                  <a:schemeClr val="bg1"/>
                </a:solidFill>
                <a:latin typeface="Proximus Bold" panose="00000500000000000000" pitchFamily="2" charset="0"/>
              </a:rPr>
              <a:t>77</a:t>
            </a:r>
          </a:p>
          <a:p>
            <a:pPr defTabSz="914310">
              <a:spcAft>
                <a:spcPts val="1800"/>
              </a:spcAft>
              <a:defRPr/>
            </a:pPr>
            <a:r>
              <a:rPr lang="en-US" altLang="en-US" sz="1100" b="1" kern="0">
                <a:solidFill>
                  <a:schemeClr val="bg1"/>
                </a:solidFill>
                <a:latin typeface="Proximus Bold" panose="00000500000000000000" pitchFamily="2" charset="0"/>
              </a:rPr>
              <a:t>84</a:t>
            </a:r>
          </a:p>
          <a:p>
            <a:pPr defTabSz="914310">
              <a:spcAft>
                <a:spcPts val="1800"/>
              </a:spcAft>
              <a:defRPr/>
            </a:pPr>
            <a:r>
              <a:rPr lang="en-US" altLang="en-US" sz="1100" b="1" kern="0">
                <a:solidFill>
                  <a:schemeClr val="bg1"/>
                </a:solidFill>
                <a:latin typeface="Proximus Bold" panose="00000500000000000000" pitchFamily="2" charset="0"/>
              </a:rPr>
              <a:t>74</a:t>
            </a:r>
          </a:p>
          <a:p>
            <a:pPr defTabSz="914310">
              <a:spcAft>
                <a:spcPts val="1800"/>
              </a:spcAft>
              <a:defRPr/>
            </a:pPr>
            <a:r>
              <a:rPr lang="en-US" altLang="en-US" sz="1100" b="1" kern="0">
                <a:solidFill>
                  <a:schemeClr val="bg1"/>
                </a:solidFill>
                <a:latin typeface="Proximus Bold" panose="00000500000000000000" pitchFamily="2" charset="0"/>
              </a:rPr>
              <a:t>77</a:t>
            </a:r>
          </a:p>
        </p:txBody>
      </p:sp>
      <p:sp>
        <p:nvSpPr>
          <p:cNvPr id="73" name="Tekstvak 72">
            <a:extLst>
              <a:ext uri="{FF2B5EF4-FFF2-40B4-BE49-F238E27FC236}">
                <a16:creationId xmlns:a16="http://schemas.microsoft.com/office/drawing/2014/main" id="{0FC518A9-0AF9-E3F0-457A-5A8A7DCF90D4}"/>
              </a:ext>
            </a:extLst>
          </p:cNvPr>
          <p:cNvSpPr txBox="1"/>
          <p:nvPr/>
        </p:nvSpPr>
        <p:spPr>
          <a:xfrm>
            <a:off x="729147" y="3710940"/>
            <a:ext cx="2023552" cy="984885"/>
          </a:xfrm>
          <a:prstGeom prst="rect">
            <a:avLst/>
          </a:prstGeom>
          <a:noFill/>
        </p:spPr>
        <p:txBody>
          <a:bodyPr wrap="square" lIns="0" tIns="0" rIns="0" bIns="0">
            <a:spAutoFit/>
          </a:bodyPr>
          <a:lstStyle/>
          <a:p>
            <a:pPr algn="ctr" defTabSz="685800"/>
            <a:r>
              <a:rPr lang="en-US" sz="1600">
                <a:solidFill>
                  <a:schemeClr val="bg1"/>
                </a:solidFill>
                <a:latin typeface="Proximus Light" pitchFamily="2" charset="77"/>
              </a:rPr>
              <a:t>Focus for 2025 will be </a:t>
            </a:r>
            <a:r>
              <a:rPr lang="en-US" sz="1600" b="1">
                <a:solidFill>
                  <a:schemeClr val="bg1"/>
                </a:solidFill>
                <a:latin typeface="Proximus Bold" pitchFamily="2" charset="77"/>
              </a:rPr>
              <a:t>strategic alignment </a:t>
            </a:r>
            <a:br>
              <a:rPr lang="en-US" sz="1600" b="1">
                <a:solidFill>
                  <a:schemeClr val="bg1"/>
                </a:solidFill>
                <a:latin typeface="Proximus Light" pitchFamily="2" charset="77"/>
              </a:rPr>
            </a:br>
            <a:r>
              <a:rPr lang="en-US" sz="1600">
                <a:solidFill>
                  <a:schemeClr val="bg1"/>
                </a:solidFill>
                <a:latin typeface="Proximus Light" pitchFamily="2" charset="77"/>
              </a:rPr>
              <a:t>where you expressed </a:t>
            </a:r>
            <a:br>
              <a:rPr lang="en-US" sz="1600">
                <a:solidFill>
                  <a:schemeClr val="bg1"/>
                </a:solidFill>
                <a:latin typeface="Proximus Light" pitchFamily="2" charset="77"/>
              </a:rPr>
            </a:br>
            <a:r>
              <a:rPr lang="en-US" sz="1600">
                <a:solidFill>
                  <a:schemeClr val="bg1"/>
                </a:solidFill>
                <a:latin typeface="Proximus Light" pitchFamily="2" charset="77"/>
              </a:rPr>
              <a:t>some concerns</a:t>
            </a:r>
            <a:endParaRPr lang="en-BE" sz="1600">
              <a:solidFill>
                <a:schemeClr val="bg1"/>
              </a:solidFill>
              <a:latin typeface="Proximus Light" pitchFamily="2" charset="77"/>
            </a:endParaRPr>
          </a:p>
        </p:txBody>
      </p:sp>
      <p:sp>
        <p:nvSpPr>
          <p:cNvPr id="75" name="Rechthoek met aan één zijde afgeronde hoeken 74">
            <a:extLst>
              <a:ext uri="{FF2B5EF4-FFF2-40B4-BE49-F238E27FC236}">
                <a16:creationId xmlns:a16="http://schemas.microsoft.com/office/drawing/2014/main" id="{97418638-9C81-3564-A656-F9DEE5E4800E}"/>
              </a:ext>
            </a:extLst>
          </p:cNvPr>
          <p:cNvSpPr/>
          <p:nvPr/>
        </p:nvSpPr>
        <p:spPr>
          <a:xfrm>
            <a:off x="3504924" y="1202503"/>
            <a:ext cx="5178700" cy="599291"/>
          </a:xfrm>
          <a:prstGeom prst="round2SameRect">
            <a:avLst>
              <a:gd name="adj1" fmla="val 24383"/>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36000" tIns="36000" rIns="36000" bIns="72000" rtlCol="0" anchor="ctr" anchorCtr="0"/>
          <a:lstStyle/>
          <a:p>
            <a:pPr algn="ctr" defTabSz="1218418"/>
            <a:endParaRPr lang="nl-BE" sz="1400" err="1">
              <a:solidFill>
                <a:schemeClr val="tx1"/>
              </a:solidFill>
              <a:latin typeface="Proximus Bold" panose="00000500000000000000" pitchFamily="2" charset="0"/>
              <a:cs typeface="Proximus Bold"/>
            </a:endParaRPr>
          </a:p>
        </p:txBody>
      </p:sp>
      <p:sp>
        <p:nvSpPr>
          <p:cNvPr id="44" name="!!TIT_stakeholders">
            <a:extLst>
              <a:ext uri="{FF2B5EF4-FFF2-40B4-BE49-F238E27FC236}">
                <a16:creationId xmlns:a16="http://schemas.microsoft.com/office/drawing/2014/main" id="{67737F87-B5EE-F9C5-9818-A18909A9E65E}"/>
              </a:ext>
            </a:extLst>
          </p:cNvPr>
          <p:cNvSpPr txBox="1"/>
          <p:nvPr/>
        </p:nvSpPr>
        <p:spPr>
          <a:xfrm>
            <a:off x="6119120" y="1372800"/>
            <a:ext cx="895080" cy="230832"/>
          </a:xfrm>
          <a:prstGeom prst="rect">
            <a:avLst/>
          </a:prstGeom>
          <a:noFill/>
        </p:spPr>
        <p:txBody>
          <a:bodyPr wrap="square" lIns="0" tIns="0" rIns="0" bIns="0" rtlCol="0">
            <a:spAutoFit/>
          </a:bodyPr>
          <a:lstStyle/>
          <a:p>
            <a:pPr algn="ctr" defTabSz="408094">
              <a:defRPr/>
            </a:pPr>
            <a:r>
              <a:rPr lang="nl-BE" sz="1500">
                <a:latin typeface="Proximus Light" panose="00000400000000000000" pitchFamily="2" charset="0"/>
              </a:rPr>
              <a:t>Proximus</a:t>
            </a:r>
            <a:endParaRPr lang="en-US" sz="1500" b="1">
              <a:latin typeface="Proximus ExtraBold" pitchFamily="2" charset="77"/>
            </a:endParaRPr>
          </a:p>
        </p:txBody>
      </p:sp>
      <p:sp>
        <p:nvSpPr>
          <p:cNvPr id="45" name="!!TIT_stakeholders">
            <a:extLst>
              <a:ext uri="{FF2B5EF4-FFF2-40B4-BE49-F238E27FC236}">
                <a16:creationId xmlns:a16="http://schemas.microsoft.com/office/drawing/2014/main" id="{C2618057-0B58-E122-CA76-08899926EA4D}"/>
              </a:ext>
            </a:extLst>
          </p:cNvPr>
          <p:cNvSpPr txBox="1"/>
          <p:nvPr/>
        </p:nvSpPr>
        <p:spPr>
          <a:xfrm>
            <a:off x="7590086" y="1372800"/>
            <a:ext cx="895080" cy="230832"/>
          </a:xfrm>
          <a:prstGeom prst="rect">
            <a:avLst/>
          </a:prstGeom>
          <a:noFill/>
        </p:spPr>
        <p:txBody>
          <a:bodyPr wrap="square" lIns="0" tIns="0" rIns="0" bIns="0" rtlCol="0">
            <a:spAutoFit/>
          </a:bodyPr>
          <a:lstStyle/>
          <a:p>
            <a:pPr algn="ctr" defTabSz="408094">
              <a:defRPr/>
            </a:pPr>
            <a:r>
              <a:rPr lang="nl-BE" sz="1500">
                <a:latin typeface="Proximus Light" panose="00000400000000000000" pitchFamily="2" charset="0"/>
              </a:rPr>
              <a:t>NBU</a:t>
            </a:r>
            <a:endParaRPr lang="en-US" sz="1500" b="1">
              <a:latin typeface="Proximus ExtraBold" pitchFamily="2" charset="77"/>
            </a:endParaRPr>
          </a:p>
        </p:txBody>
      </p:sp>
      <p:sp>
        <p:nvSpPr>
          <p:cNvPr id="63" name="!!TIT_stakeholders">
            <a:extLst>
              <a:ext uri="{FF2B5EF4-FFF2-40B4-BE49-F238E27FC236}">
                <a16:creationId xmlns:a16="http://schemas.microsoft.com/office/drawing/2014/main" id="{8356D0F2-DF90-5632-B633-A1ACFD50F934}"/>
              </a:ext>
            </a:extLst>
          </p:cNvPr>
          <p:cNvSpPr txBox="1"/>
          <p:nvPr/>
        </p:nvSpPr>
        <p:spPr>
          <a:xfrm>
            <a:off x="4295068" y="1369722"/>
            <a:ext cx="895080" cy="230832"/>
          </a:xfrm>
          <a:prstGeom prst="rect">
            <a:avLst/>
          </a:prstGeom>
          <a:noFill/>
        </p:spPr>
        <p:txBody>
          <a:bodyPr wrap="square" lIns="0" tIns="0" rIns="0" bIns="0" rtlCol="0">
            <a:spAutoFit/>
          </a:bodyPr>
          <a:lstStyle/>
          <a:p>
            <a:pPr algn="ctr" defTabSz="408094">
              <a:defRPr/>
            </a:pPr>
            <a:r>
              <a:rPr lang="nl-BE" sz="1500" b="1">
                <a:latin typeface="Proximus Bold" pitchFamily="2" charset="77"/>
              </a:rPr>
              <a:t>Speak up</a:t>
            </a:r>
            <a:endParaRPr lang="en-US" sz="1500" b="1">
              <a:latin typeface="Proximus Bold" pitchFamily="2" charset="77"/>
            </a:endParaRPr>
          </a:p>
        </p:txBody>
      </p:sp>
      <p:pic>
        <p:nvPicPr>
          <p:cNvPr id="65" name="Graphic 64">
            <a:extLst>
              <a:ext uri="{FF2B5EF4-FFF2-40B4-BE49-F238E27FC236}">
                <a16:creationId xmlns:a16="http://schemas.microsoft.com/office/drawing/2014/main" id="{5F5BA36D-533B-71CA-15CD-E9274EF1920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95909" y="1371792"/>
            <a:ext cx="383178" cy="246329"/>
          </a:xfrm>
          <a:prstGeom prst="rect">
            <a:avLst/>
          </a:prstGeom>
        </p:spPr>
      </p:pic>
      <p:cxnSp>
        <p:nvCxnSpPr>
          <p:cNvPr id="77" name="Rechte verbindingslijn 12">
            <a:extLst>
              <a:ext uri="{FF2B5EF4-FFF2-40B4-BE49-F238E27FC236}">
                <a16:creationId xmlns:a16="http://schemas.microsoft.com/office/drawing/2014/main" id="{D64953D7-37C8-2E78-8A5D-166E8649B63B}"/>
              </a:ext>
            </a:extLst>
          </p:cNvPr>
          <p:cNvCxnSpPr>
            <a:cxnSpLocks/>
          </p:cNvCxnSpPr>
          <p:nvPr/>
        </p:nvCxnSpPr>
        <p:spPr>
          <a:xfrm flipH="1">
            <a:off x="3756109" y="2620757"/>
            <a:ext cx="4572728" cy="0"/>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8" name="Rechte verbindingslijn 12">
            <a:extLst>
              <a:ext uri="{FF2B5EF4-FFF2-40B4-BE49-F238E27FC236}">
                <a16:creationId xmlns:a16="http://schemas.microsoft.com/office/drawing/2014/main" id="{406A6EE1-2347-56F8-5968-03659FECFAD3}"/>
              </a:ext>
            </a:extLst>
          </p:cNvPr>
          <p:cNvCxnSpPr>
            <a:cxnSpLocks/>
          </p:cNvCxnSpPr>
          <p:nvPr/>
        </p:nvCxnSpPr>
        <p:spPr>
          <a:xfrm flipH="1">
            <a:off x="3756109" y="3017706"/>
            <a:ext cx="4572728" cy="0"/>
          </a:xfrm>
          <a:prstGeom prst="line">
            <a:avLst/>
          </a:prstGeom>
          <a:ln w="15875"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9" name="Rechte verbindingslijn 12">
            <a:extLst>
              <a:ext uri="{FF2B5EF4-FFF2-40B4-BE49-F238E27FC236}">
                <a16:creationId xmlns:a16="http://schemas.microsoft.com/office/drawing/2014/main" id="{DCB40D63-3F53-689C-E059-A12EAD59C7EA}"/>
              </a:ext>
            </a:extLst>
          </p:cNvPr>
          <p:cNvCxnSpPr>
            <a:cxnSpLocks/>
          </p:cNvCxnSpPr>
          <p:nvPr/>
        </p:nvCxnSpPr>
        <p:spPr>
          <a:xfrm>
            <a:off x="5761570" y="1273962"/>
            <a:ext cx="0" cy="449943"/>
          </a:xfrm>
          <a:prstGeom prst="line">
            <a:avLst/>
          </a:prstGeom>
          <a:ln w="15875" cap="rnd">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86" name="Graphic 85">
            <a:extLst>
              <a:ext uri="{FF2B5EF4-FFF2-40B4-BE49-F238E27FC236}">
                <a16:creationId xmlns:a16="http://schemas.microsoft.com/office/drawing/2014/main" id="{60EDFAA1-9A57-B9E4-14BC-01787B8C57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51250" y="1346292"/>
            <a:ext cx="342900" cy="342900"/>
          </a:xfrm>
          <a:prstGeom prst="rect">
            <a:avLst/>
          </a:prstGeom>
        </p:spPr>
      </p:pic>
      <p:pic>
        <p:nvPicPr>
          <p:cNvPr id="87" name="Graphic 86">
            <a:extLst>
              <a:ext uri="{FF2B5EF4-FFF2-40B4-BE49-F238E27FC236}">
                <a16:creationId xmlns:a16="http://schemas.microsoft.com/office/drawing/2014/main" id="{A5543B9E-6049-C315-20AC-C75C806386E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60375" y="406585"/>
            <a:ext cx="373792" cy="359948"/>
          </a:xfrm>
          <a:prstGeom prst="rect">
            <a:avLst/>
          </a:prstGeom>
        </p:spPr>
      </p:pic>
    </p:spTree>
    <p:extLst>
      <p:ext uri="{BB962C8B-B14F-4D97-AF65-F5344CB8AC3E}">
        <p14:creationId xmlns:p14="http://schemas.microsoft.com/office/powerpoint/2010/main" val="7975521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2BE5BA27-3261-702D-6035-A52A927FDD87}"/>
            </a:ext>
          </a:extLst>
        </p:cNvPr>
        <p:cNvGrpSpPr/>
        <p:nvPr/>
      </p:nvGrpSpPr>
      <p:grpSpPr>
        <a:xfrm>
          <a:off x="0" y="0"/>
          <a:ext cx="0" cy="0"/>
          <a:chOff x="0" y="0"/>
          <a:chExt cx="0" cy="0"/>
        </a:xfrm>
      </p:grpSpPr>
      <p:sp>
        <p:nvSpPr>
          <p:cNvPr id="3" name="Text Placeholder 4">
            <a:extLst>
              <a:ext uri="{FF2B5EF4-FFF2-40B4-BE49-F238E27FC236}">
                <a16:creationId xmlns:a16="http://schemas.microsoft.com/office/drawing/2014/main" id="{C9CF0A27-0C0A-B3F5-9295-31B7FA631A98}"/>
              </a:ext>
            </a:extLst>
          </p:cNvPr>
          <p:cNvSpPr txBox="1">
            <a:spLocks/>
          </p:cNvSpPr>
          <p:nvPr/>
        </p:nvSpPr>
        <p:spPr>
          <a:xfrm>
            <a:off x="1470991" y="1393460"/>
            <a:ext cx="2985569" cy="3003611"/>
          </a:xfrm>
          <a:prstGeom prst="roundRect">
            <a:avLst>
              <a:gd name="adj" fmla="val 6381"/>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1200"/>
              </a:spcAft>
              <a:buClr>
                <a:srgbClr val="5C2D91"/>
              </a:buClr>
              <a:buNone/>
              <a:defRPr/>
            </a:pPr>
            <a:r>
              <a:rPr lang="en-US" sz="2000" b="1">
                <a:gradFill flip="none" rotWithShape="1">
                  <a:gsLst>
                    <a:gs pos="0">
                      <a:schemeClr val="bg1"/>
                    </a:gs>
                    <a:gs pos="99000">
                      <a:schemeClr val="tx2"/>
                    </a:gs>
                  </a:gsLst>
                  <a:lin ang="0" scaled="1"/>
                  <a:tileRect/>
                </a:gradFill>
                <a:latin typeface="Proximus ExtraBold" pitchFamily="2" charset="77"/>
              </a:rPr>
              <a:t>Empowerment</a:t>
            </a:r>
            <a:r>
              <a:rPr lang="en-US" b="1">
                <a:gradFill flip="none" rotWithShape="1">
                  <a:gsLst>
                    <a:gs pos="0">
                      <a:schemeClr val="bg1"/>
                    </a:gs>
                    <a:gs pos="99000">
                      <a:schemeClr val="tx2"/>
                    </a:gs>
                  </a:gsLst>
                  <a:lin ang="0" scaled="1"/>
                  <a:tileRect/>
                </a:gradFill>
                <a:latin typeface="Proximus ExtraBold" pitchFamily="2" charset="77"/>
              </a:rPr>
              <a:t> </a:t>
            </a:r>
          </a:p>
          <a:p>
            <a:pPr defTabSz="914241">
              <a:lnSpc>
                <a:spcPct val="110000"/>
              </a:lnSpc>
              <a:spcBef>
                <a:spcPts val="0"/>
              </a:spcBef>
              <a:spcAft>
                <a:spcPts val="600"/>
              </a:spcAft>
              <a:buClr>
                <a:srgbClr val="5C2D91"/>
              </a:buClr>
              <a:defRPr/>
            </a:pPr>
            <a:r>
              <a:rPr lang="en-US" sz="1200">
                <a:solidFill>
                  <a:srgbClr val="141C24"/>
                </a:solidFill>
                <a:latin typeface="Proximus Light" pitchFamily="2" charset="77"/>
              </a:rPr>
              <a:t>You will have a role in our story.</a:t>
            </a:r>
          </a:p>
          <a:p>
            <a:pPr defTabSz="914241">
              <a:lnSpc>
                <a:spcPct val="110000"/>
              </a:lnSpc>
              <a:spcBef>
                <a:spcPts val="0"/>
              </a:spcBef>
              <a:spcAft>
                <a:spcPts val="600"/>
              </a:spcAft>
              <a:buClr>
                <a:srgbClr val="5C2D91"/>
              </a:buClr>
              <a:defRPr/>
            </a:pPr>
            <a:r>
              <a:rPr lang="en-US" sz="1200">
                <a:solidFill>
                  <a:srgbClr val="141C24"/>
                </a:solidFill>
                <a:latin typeface="Proximus Light" pitchFamily="2" charset="77"/>
              </a:rPr>
              <a:t>Many projects are "under construction". </a:t>
            </a:r>
          </a:p>
          <a:p>
            <a:pPr defTabSz="914241">
              <a:lnSpc>
                <a:spcPct val="110000"/>
              </a:lnSpc>
              <a:spcBef>
                <a:spcPts val="0"/>
              </a:spcBef>
              <a:spcAft>
                <a:spcPts val="600"/>
              </a:spcAft>
              <a:buClr>
                <a:srgbClr val="5C2D91"/>
              </a:buClr>
              <a:defRPr/>
            </a:pPr>
            <a:r>
              <a:rPr lang="en-US" sz="1200">
                <a:solidFill>
                  <a:srgbClr val="141C24"/>
                </a:solidFill>
                <a:latin typeface="Proximus Light" pitchFamily="2" charset="77"/>
              </a:rPr>
              <a:t>We do not want a pure "top down".</a:t>
            </a:r>
          </a:p>
          <a:p>
            <a:pPr defTabSz="914241">
              <a:lnSpc>
                <a:spcPct val="110000"/>
              </a:lnSpc>
              <a:spcBef>
                <a:spcPts val="0"/>
              </a:spcBef>
              <a:spcAft>
                <a:spcPts val="600"/>
              </a:spcAft>
              <a:buClr>
                <a:srgbClr val="5C2D91"/>
              </a:buClr>
              <a:defRPr/>
            </a:pPr>
            <a:r>
              <a:rPr lang="en-US" sz="1200">
                <a:solidFill>
                  <a:srgbClr val="141C24"/>
                </a:solidFill>
                <a:latin typeface="Proximus Light" pitchFamily="2" charset="77"/>
              </a:rPr>
              <a:t>You will play a role on the "design/set up" and of course in the implementation phase.</a:t>
            </a:r>
            <a:endParaRPr lang="en-US">
              <a:solidFill>
                <a:srgbClr val="141C24"/>
              </a:solidFill>
              <a:latin typeface="Proximus Light" pitchFamily="2" charset="77"/>
            </a:endParaRPr>
          </a:p>
        </p:txBody>
      </p:sp>
      <p:sp>
        <p:nvSpPr>
          <p:cNvPr id="6" name="Title 5">
            <a:extLst>
              <a:ext uri="{FF2B5EF4-FFF2-40B4-BE49-F238E27FC236}">
                <a16:creationId xmlns:a16="http://schemas.microsoft.com/office/drawing/2014/main" id="{E8A8FDD0-0C39-6697-0CBA-5EAE82161DF3}"/>
              </a:ext>
            </a:extLst>
          </p:cNvPr>
          <p:cNvSpPr>
            <a:spLocks noGrp="1"/>
          </p:cNvSpPr>
          <p:nvPr>
            <p:ph type="title"/>
          </p:nvPr>
        </p:nvSpPr>
        <p:spPr/>
        <p:txBody>
          <a:bodyPr/>
          <a:lstStyle/>
          <a:p>
            <a:r>
              <a:rPr lang="en-GB" sz="2800">
                <a:gradFill flip="none" rotWithShape="1">
                  <a:gsLst>
                    <a:gs pos="70000">
                      <a:schemeClr val="tx2"/>
                    </a:gs>
                    <a:gs pos="99000">
                      <a:schemeClr val="bg1"/>
                    </a:gs>
                  </a:gsLst>
                  <a:lin ang="10800000" scaled="1"/>
                  <a:tileRect/>
                </a:gradFill>
                <a:latin typeface="Proximus ExtraBold" pitchFamily="2" charset="77"/>
              </a:rPr>
              <a:t> </a:t>
            </a:r>
            <a:r>
              <a:rPr lang="en-GB" sz="2800">
                <a:solidFill>
                  <a:srgbClr val="2A2234"/>
                </a:solidFill>
                <a:latin typeface="Proximus ExtraBold" pitchFamily="2" charset="77"/>
              </a:rPr>
              <a:t>What we expect from you</a:t>
            </a:r>
            <a:endParaRPr lang="en-BE">
              <a:latin typeface="Proximus ExtraBold" pitchFamily="2" charset="77"/>
            </a:endParaRPr>
          </a:p>
        </p:txBody>
      </p:sp>
      <p:sp>
        <p:nvSpPr>
          <p:cNvPr id="7" name="Text Placeholder 4">
            <a:extLst>
              <a:ext uri="{FF2B5EF4-FFF2-40B4-BE49-F238E27FC236}">
                <a16:creationId xmlns:a16="http://schemas.microsoft.com/office/drawing/2014/main" id="{83B442DF-FAA7-14A6-B908-27F953DACACB}"/>
              </a:ext>
            </a:extLst>
          </p:cNvPr>
          <p:cNvSpPr txBox="1">
            <a:spLocks/>
          </p:cNvSpPr>
          <p:nvPr/>
        </p:nvSpPr>
        <p:spPr>
          <a:xfrm>
            <a:off x="4687442" y="1393460"/>
            <a:ext cx="2985567" cy="3003611"/>
          </a:xfrm>
          <a:prstGeom prst="roundRect">
            <a:avLst>
              <a:gd name="adj" fmla="val 6381"/>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600"/>
              </a:spcAft>
              <a:buClr>
                <a:srgbClr val="5C2D91"/>
              </a:buClr>
              <a:buNone/>
              <a:defRPr/>
            </a:pPr>
            <a:r>
              <a:rPr lang="en-US" sz="2000" b="1">
                <a:gradFill flip="none" rotWithShape="1">
                  <a:gsLst>
                    <a:gs pos="0">
                      <a:schemeClr val="bg1"/>
                    </a:gs>
                    <a:gs pos="99000">
                      <a:schemeClr val="tx2"/>
                    </a:gs>
                  </a:gsLst>
                  <a:lin ang="0" scaled="1"/>
                  <a:tileRect/>
                </a:gradFill>
                <a:latin typeface="Proximus ExtraBold" pitchFamily="2" charset="77"/>
              </a:rPr>
              <a:t>The right behaviors</a:t>
            </a:r>
            <a:r>
              <a:rPr lang="en-US" b="1">
                <a:gradFill flip="none" rotWithShape="1">
                  <a:gsLst>
                    <a:gs pos="0">
                      <a:schemeClr val="bg1"/>
                    </a:gs>
                    <a:gs pos="99000">
                      <a:schemeClr val="tx2"/>
                    </a:gs>
                  </a:gsLst>
                  <a:lin ang="0" scaled="1"/>
                  <a:tileRect/>
                </a:gradFill>
                <a:latin typeface="Proximus ExtraBold" pitchFamily="2" charset="77"/>
              </a:rPr>
              <a:t> </a:t>
            </a:r>
          </a:p>
        </p:txBody>
      </p:sp>
      <p:pic>
        <p:nvPicPr>
          <p:cNvPr id="9" name="Picture 8" descr="A screenshot of a phone&#10;&#10;Description automatically generated">
            <a:extLst>
              <a:ext uri="{FF2B5EF4-FFF2-40B4-BE49-F238E27FC236}">
                <a16:creationId xmlns:a16="http://schemas.microsoft.com/office/drawing/2014/main" id="{1A20F891-C34A-B5B4-8332-B71F794B1A85}"/>
              </a:ext>
            </a:extLst>
          </p:cNvPr>
          <p:cNvPicPr>
            <a:picLocks noChangeAspect="1"/>
          </p:cNvPicPr>
          <p:nvPr/>
        </p:nvPicPr>
        <p:blipFill>
          <a:blip r:embed="rId3"/>
          <a:srcRect l="31740" t="17127" r="31761" b="17988"/>
          <a:stretch/>
        </p:blipFill>
        <p:spPr>
          <a:xfrm>
            <a:off x="5166433" y="2091194"/>
            <a:ext cx="2027583" cy="2027583"/>
          </a:xfrm>
          <a:prstGeom prst="rect">
            <a:avLst/>
          </a:prstGeom>
        </p:spPr>
      </p:pic>
    </p:spTree>
    <p:extLst>
      <p:ext uri="{BB962C8B-B14F-4D97-AF65-F5344CB8AC3E}">
        <p14:creationId xmlns:p14="http://schemas.microsoft.com/office/powerpoint/2010/main" val="14382317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77882AE-4B6E-A8D4-8707-8FE4264E1247}"/>
            </a:ext>
          </a:extLst>
        </p:cNvPr>
        <p:cNvGrpSpPr/>
        <p:nvPr/>
      </p:nvGrpSpPr>
      <p:grpSpPr>
        <a:xfrm>
          <a:off x="0" y="0"/>
          <a:ext cx="0" cy="0"/>
          <a:chOff x="0" y="0"/>
          <a:chExt cx="0" cy="0"/>
        </a:xfrm>
      </p:grpSpPr>
      <p:sp>
        <p:nvSpPr>
          <p:cNvPr id="3" name="Text Placeholder 4">
            <a:extLst>
              <a:ext uri="{FF2B5EF4-FFF2-40B4-BE49-F238E27FC236}">
                <a16:creationId xmlns:a16="http://schemas.microsoft.com/office/drawing/2014/main" id="{8DD860E1-1C87-6C3C-7B95-830D2B1F20D8}"/>
              </a:ext>
            </a:extLst>
          </p:cNvPr>
          <p:cNvSpPr txBox="1">
            <a:spLocks/>
          </p:cNvSpPr>
          <p:nvPr/>
        </p:nvSpPr>
        <p:spPr>
          <a:xfrm>
            <a:off x="460378" y="1282701"/>
            <a:ext cx="2889615" cy="3271837"/>
          </a:xfrm>
          <a:prstGeom prst="roundRect">
            <a:avLst>
              <a:gd name="adj" fmla="val 6593"/>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0"/>
              </a:spcBef>
              <a:spcAft>
                <a:spcPts val="1200"/>
              </a:spcAft>
              <a:buClr>
                <a:srgbClr val="5C2D91"/>
              </a:buClr>
              <a:buNone/>
              <a:defRPr/>
            </a:pPr>
            <a:r>
              <a:rPr lang="en-US" sz="1600" b="1" dirty="0">
                <a:gradFill flip="none">
                  <a:gsLst>
                    <a:gs pos="0">
                      <a:srgbClr val="5C2D91"/>
                    </a:gs>
                    <a:gs pos="99000">
                      <a:srgbClr val="EE2E5D"/>
                    </a:gs>
                  </a:gsLst>
                  <a:lin ang="0" scaled="1"/>
                  <a:tileRect/>
                </a:gradFill>
                <a:latin typeface="Proximus ExtraBold"/>
              </a:rPr>
              <a:t>Fix the tempo</a:t>
            </a:r>
            <a:r>
              <a:rPr lang="en-US" sz="1100" b="1" dirty="0">
                <a:gradFill flip="none">
                  <a:gsLst>
                    <a:gs pos="0">
                      <a:srgbClr val="5C2D91"/>
                    </a:gs>
                    <a:gs pos="99000">
                      <a:srgbClr val="EE2E5D"/>
                    </a:gs>
                  </a:gsLst>
                  <a:lin ang="0" scaled="1"/>
                  <a:tileRect/>
                </a:gradFill>
                <a:latin typeface="Proximus ExtraBold"/>
              </a:rPr>
              <a:t> </a:t>
            </a:r>
          </a:p>
          <a:p>
            <a:pPr marL="175895" indent="-175895" defTabSz="914241">
              <a:lnSpc>
                <a:spcPct val="110000"/>
              </a:lnSpc>
              <a:spcBef>
                <a:spcPts val="0"/>
              </a:spcBef>
              <a:spcAft>
                <a:spcPts val="600"/>
              </a:spcAft>
              <a:buClr>
                <a:srgbClr val="5C2D91"/>
              </a:buClr>
              <a:defRPr/>
            </a:pPr>
            <a:r>
              <a:rPr lang="en-US" sz="1100" dirty="0">
                <a:solidFill>
                  <a:srgbClr val="141C24"/>
                </a:solidFill>
                <a:latin typeface="Proximus Light"/>
              </a:rPr>
              <a:t>Mixed governance at NBU MC level</a:t>
            </a:r>
          </a:p>
          <a:p>
            <a:pPr marL="175895" indent="-175895" defTabSz="914241">
              <a:lnSpc>
                <a:spcPct val="110000"/>
              </a:lnSpc>
              <a:spcBef>
                <a:spcPts val="0"/>
              </a:spcBef>
              <a:spcAft>
                <a:spcPts val="600"/>
              </a:spcAft>
              <a:buClr>
                <a:srgbClr val="5C2D91"/>
              </a:buClr>
              <a:defRPr/>
            </a:pPr>
            <a:r>
              <a:rPr lang="en-US" sz="1100" dirty="0">
                <a:solidFill>
                  <a:srgbClr val="141C24"/>
                </a:solidFill>
                <a:latin typeface="Proximus Light"/>
              </a:rPr>
              <a:t>Key initiatives are strongly followed in SP1 or in NBU MC/Projects Portfolio, or in other steerco's</a:t>
            </a:r>
          </a:p>
        </p:txBody>
      </p:sp>
      <p:sp>
        <p:nvSpPr>
          <p:cNvPr id="6" name="Title 5">
            <a:extLst>
              <a:ext uri="{FF2B5EF4-FFF2-40B4-BE49-F238E27FC236}">
                <a16:creationId xmlns:a16="http://schemas.microsoft.com/office/drawing/2014/main" id="{FD9054A2-B11E-6380-3640-A353012F6812}"/>
              </a:ext>
            </a:extLst>
          </p:cNvPr>
          <p:cNvSpPr>
            <a:spLocks noGrp="1"/>
          </p:cNvSpPr>
          <p:nvPr>
            <p:ph type="title"/>
          </p:nvPr>
        </p:nvSpPr>
        <p:spPr/>
        <p:txBody>
          <a:bodyPr/>
          <a:lstStyle/>
          <a:p>
            <a:r>
              <a:rPr lang="en-GB" sz="2800">
                <a:gradFill flip="none" rotWithShape="1">
                  <a:gsLst>
                    <a:gs pos="70000">
                      <a:schemeClr val="tx2"/>
                    </a:gs>
                    <a:gs pos="99000">
                      <a:schemeClr val="bg1"/>
                    </a:gs>
                  </a:gsLst>
                  <a:lin ang="10800000" scaled="1"/>
                  <a:tileRect/>
                </a:gradFill>
                <a:latin typeface="Proximus ExtraBold" pitchFamily="2" charset="77"/>
              </a:rPr>
              <a:t> </a:t>
            </a:r>
            <a:r>
              <a:rPr lang="en-GB" sz="2800">
                <a:solidFill>
                  <a:srgbClr val="2A2234"/>
                </a:solidFill>
                <a:latin typeface="Proximus ExtraBold" pitchFamily="2" charset="77"/>
              </a:rPr>
              <a:t>What you can expect from us</a:t>
            </a:r>
            <a:endParaRPr lang="en-BE">
              <a:latin typeface="Proximus ExtraBold" pitchFamily="2" charset="77"/>
            </a:endParaRPr>
          </a:p>
        </p:txBody>
      </p:sp>
      <p:sp>
        <p:nvSpPr>
          <p:cNvPr id="2" name="Text Placeholder 4">
            <a:extLst>
              <a:ext uri="{FF2B5EF4-FFF2-40B4-BE49-F238E27FC236}">
                <a16:creationId xmlns:a16="http://schemas.microsoft.com/office/drawing/2014/main" id="{5280F9A7-7B06-B8E0-7723-4DAD7FF223EC}"/>
              </a:ext>
            </a:extLst>
          </p:cNvPr>
          <p:cNvSpPr txBox="1">
            <a:spLocks/>
          </p:cNvSpPr>
          <p:nvPr/>
        </p:nvSpPr>
        <p:spPr>
          <a:xfrm>
            <a:off x="3581833" y="1282701"/>
            <a:ext cx="1882800" cy="1533525"/>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0"/>
              </a:spcBef>
              <a:spcAft>
                <a:spcPts val="1200"/>
              </a:spcAft>
              <a:buClr>
                <a:srgbClr val="5C2D91"/>
              </a:buClr>
              <a:buNone/>
              <a:defRPr/>
            </a:pPr>
            <a:r>
              <a:rPr lang="en-US" sz="1600" b="1" dirty="0">
                <a:gradFill flip="none" rotWithShape="1">
                  <a:gsLst>
                    <a:gs pos="0">
                      <a:schemeClr val="bg1"/>
                    </a:gs>
                    <a:gs pos="99000">
                      <a:schemeClr val="tx2"/>
                    </a:gs>
                  </a:gsLst>
                  <a:lin ang="0" scaled="1"/>
                  <a:tileRect/>
                </a:gradFill>
                <a:latin typeface="Proximus ExtraBold" pitchFamily="2" charset="77"/>
              </a:rPr>
              <a:t>Give means</a:t>
            </a:r>
            <a:endParaRPr lang="en-US" sz="1100" b="1" dirty="0">
              <a:gradFill flip="none" rotWithShape="1">
                <a:gsLst>
                  <a:gs pos="0">
                    <a:schemeClr val="bg1"/>
                  </a:gs>
                  <a:gs pos="99000">
                    <a:schemeClr val="tx2"/>
                  </a:gs>
                </a:gsLst>
                <a:lin ang="0" scaled="1"/>
                <a:tileRect/>
              </a:gradFill>
              <a:latin typeface="Proximus ExtraBold" pitchFamily="2" charset="77"/>
            </a:endParaRPr>
          </a:p>
          <a:p>
            <a:pPr marL="0" indent="0" defTabSz="914241">
              <a:lnSpc>
                <a:spcPct val="110000"/>
              </a:lnSpc>
              <a:spcBef>
                <a:spcPts val="0"/>
              </a:spcBef>
              <a:spcAft>
                <a:spcPts val="600"/>
              </a:spcAft>
              <a:buClr>
                <a:srgbClr val="5C2D91"/>
              </a:buClr>
              <a:buNone/>
              <a:defRPr/>
            </a:pPr>
            <a:r>
              <a:rPr lang="en-US" sz="1100" dirty="0">
                <a:solidFill>
                  <a:srgbClr val="141C24"/>
                </a:solidFill>
                <a:latin typeface="Proximus Light" pitchFamily="2" charset="77"/>
              </a:rPr>
              <a:t>Smart OPEX/CAPEX </a:t>
            </a:r>
            <a:br>
              <a:rPr lang="en-US" sz="1100" dirty="0">
                <a:solidFill>
                  <a:srgbClr val="141C24"/>
                </a:solidFill>
                <a:latin typeface="Proximus Light" pitchFamily="2" charset="77"/>
              </a:rPr>
            </a:br>
            <a:r>
              <a:rPr lang="en-US" sz="1100" dirty="0">
                <a:solidFill>
                  <a:srgbClr val="141C24"/>
                </a:solidFill>
                <a:latin typeface="Proximus Light" pitchFamily="2" charset="77"/>
              </a:rPr>
              <a:t>FIN dynamics</a:t>
            </a:r>
            <a:endParaRPr lang="en-US" sz="1200" dirty="0">
              <a:solidFill>
                <a:srgbClr val="141C24"/>
              </a:solidFill>
              <a:latin typeface="Proximus Light" pitchFamily="2" charset="77"/>
            </a:endParaRPr>
          </a:p>
        </p:txBody>
      </p:sp>
      <p:sp>
        <p:nvSpPr>
          <p:cNvPr id="4" name="Text Placeholder 4">
            <a:extLst>
              <a:ext uri="{FF2B5EF4-FFF2-40B4-BE49-F238E27FC236}">
                <a16:creationId xmlns:a16="http://schemas.microsoft.com/office/drawing/2014/main" id="{1A74416C-9919-4C8D-7BF0-B931C1EA4639}"/>
              </a:ext>
            </a:extLst>
          </p:cNvPr>
          <p:cNvSpPr txBox="1">
            <a:spLocks/>
          </p:cNvSpPr>
          <p:nvPr/>
        </p:nvSpPr>
        <p:spPr>
          <a:xfrm>
            <a:off x="3581833" y="3021013"/>
            <a:ext cx="1882800" cy="1533525"/>
          </a:xfrm>
          <a:prstGeom prst="roundRect">
            <a:avLst>
              <a:gd name="adj" fmla="val 10118"/>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spcBef>
                <a:spcPts val="0"/>
              </a:spcBef>
              <a:spcAft>
                <a:spcPts val="1200"/>
              </a:spcAft>
              <a:buClr>
                <a:srgbClr val="5C2D91"/>
              </a:buClr>
              <a:buNone/>
              <a:defRPr/>
            </a:pPr>
            <a:r>
              <a:rPr lang="en-US" sz="1600" b="1">
                <a:gradFill flip="none" rotWithShape="1">
                  <a:gsLst>
                    <a:gs pos="0">
                      <a:schemeClr val="bg1"/>
                    </a:gs>
                    <a:gs pos="99000">
                      <a:schemeClr val="tx2"/>
                    </a:gs>
                  </a:gsLst>
                  <a:lin ang="0" scaled="1"/>
                  <a:tileRect/>
                </a:gradFill>
                <a:latin typeface="Proximus ExtraBold" pitchFamily="2" charset="77"/>
              </a:rPr>
              <a:t>Servant leadership style</a:t>
            </a:r>
            <a:endParaRPr lang="en-US" sz="1200">
              <a:solidFill>
                <a:srgbClr val="141C24"/>
              </a:solidFill>
              <a:latin typeface="Proximus Light" pitchFamily="2" charset="77"/>
            </a:endParaRPr>
          </a:p>
        </p:txBody>
      </p:sp>
      <p:sp>
        <p:nvSpPr>
          <p:cNvPr id="8" name="Text Placeholder 4">
            <a:extLst>
              <a:ext uri="{FF2B5EF4-FFF2-40B4-BE49-F238E27FC236}">
                <a16:creationId xmlns:a16="http://schemas.microsoft.com/office/drawing/2014/main" id="{8B201A43-81F8-8051-22A1-A573AB070CDB}"/>
              </a:ext>
            </a:extLst>
          </p:cNvPr>
          <p:cNvSpPr txBox="1">
            <a:spLocks/>
          </p:cNvSpPr>
          <p:nvPr/>
        </p:nvSpPr>
        <p:spPr>
          <a:xfrm>
            <a:off x="5696473" y="1282394"/>
            <a:ext cx="2985567" cy="3272144"/>
          </a:xfrm>
          <a:prstGeom prst="roundRect">
            <a:avLst>
              <a:gd name="adj" fmla="val 6381"/>
            </a:avLst>
          </a:prstGeom>
          <a:solidFill>
            <a:schemeClr val="tx1"/>
          </a:solidFill>
          <a:effectLst>
            <a:outerShdw blurRad="508000" dist="38100" dir="5400000" algn="t" rotWithShape="0">
              <a:prstClr val="black">
                <a:alpha val="15000"/>
              </a:prstClr>
            </a:outerShdw>
          </a:effectLst>
        </p:spPr>
        <p:txBody>
          <a:bodyPr lIns="180000" tIns="180000" rIns="180000" bIns="180000" anchor="t"/>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914241">
              <a:lnSpc>
                <a:spcPct val="110000"/>
              </a:lnSpc>
              <a:spcBef>
                <a:spcPts val="0"/>
              </a:spcBef>
              <a:spcAft>
                <a:spcPts val="600"/>
              </a:spcAft>
              <a:buClr>
                <a:srgbClr val="5C2D91"/>
              </a:buClr>
              <a:buNone/>
              <a:defRPr/>
            </a:pPr>
            <a:r>
              <a:rPr lang="en-US" sz="2000" b="1">
                <a:gradFill flip="none" rotWithShape="1">
                  <a:gsLst>
                    <a:gs pos="0">
                      <a:schemeClr val="bg1"/>
                    </a:gs>
                    <a:gs pos="99000">
                      <a:schemeClr val="tx2"/>
                    </a:gs>
                  </a:gsLst>
                  <a:lin ang="0" scaled="1"/>
                  <a:tileRect/>
                </a:gradFill>
                <a:latin typeface="Proximus ExtraBold" pitchFamily="2" charset="77"/>
              </a:rPr>
              <a:t>The right behaviors</a:t>
            </a:r>
            <a:r>
              <a:rPr lang="en-US" b="1">
                <a:gradFill flip="none" rotWithShape="1">
                  <a:gsLst>
                    <a:gs pos="0">
                      <a:schemeClr val="bg1"/>
                    </a:gs>
                    <a:gs pos="99000">
                      <a:schemeClr val="tx2"/>
                    </a:gs>
                  </a:gsLst>
                  <a:lin ang="0" scaled="1"/>
                  <a:tileRect/>
                </a:gradFill>
                <a:latin typeface="Proximus ExtraBold" pitchFamily="2" charset="77"/>
              </a:rPr>
              <a:t> </a:t>
            </a:r>
          </a:p>
        </p:txBody>
      </p:sp>
      <p:pic>
        <p:nvPicPr>
          <p:cNvPr id="10" name="Picture 9" descr="A screenshot of a phone&#10;&#10;Description automatically generated">
            <a:extLst>
              <a:ext uri="{FF2B5EF4-FFF2-40B4-BE49-F238E27FC236}">
                <a16:creationId xmlns:a16="http://schemas.microsoft.com/office/drawing/2014/main" id="{C4E8E540-746B-6400-BE0E-5DC6A47A536B}"/>
              </a:ext>
            </a:extLst>
          </p:cNvPr>
          <p:cNvPicPr>
            <a:picLocks noChangeAspect="1"/>
          </p:cNvPicPr>
          <p:nvPr/>
        </p:nvPicPr>
        <p:blipFill>
          <a:blip r:embed="rId3"/>
          <a:srcRect l="31740" t="17127" r="31761" b="17988"/>
          <a:stretch/>
        </p:blipFill>
        <p:spPr>
          <a:xfrm>
            <a:off x="6175464" y="2049463"/>
            <a:ext cx="2027583" cy="2027583"/>
          </a:xfrm>
          <a:prstGeom prst="rect">
            <a:avLst/>
          </a:prstGeom>
        </p:spPr>
      </p:pic>
    </p:spTree>
    <p:extLst>
      <p:ext uri="{BB962C8B-B14F-4D97-AF65-F5344CB8AC3E}">
        <p14:creationId xmlns:p14="http://schemas.microsoft.com/office/powerpoint/2010/main" val="16440835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5061B-43B0-627A-F74B-AB186FD352F2}"/>
            </a:ext>
          </a:extLst>
        </p:cNvPr>
        <p:cNvGrpSpPr/>
        <p:nvPr/>
      </p:nvGrpSpPr>
      <p:grpSpPr>
        <a:xfrm>
          <a:off x="0" y="0"/>
          <a:ext cx="0" cy="0"/>
          <a:chOff x="0" y="0"/>
          <a:chExt cx="0" cy="0"/>
        </a:xfrm>
      </p:grpSpPr>
      <p:pic>
        <p:nvPicPr>
          <p:cNvPr id="7" name="Graphic 6">
            <a:extLst>
              <a:ext uri="{FF2B5EF4-FFF2-40B4-BE49-F238E27FC236}">
                <a16:creationId xmlns:a16="http://schemas.microsoft.com/office/drawing/2014/main" id="{87411D91-2D39-8C0E-F691-FBD34F7B4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11553063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A9558A72-15A3-27BF-143B-AECF6E8F8A7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C023176-F1A5-58A5-0102-162B292E70EF}"/>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11500" b="1">
                <a:solidFill>
                  <a:srgbClr val="2A2234"/>
                </a:solidFill>
                <a:latin typeface="Proximus ExtraBold" pitchFamily="2" charset="77"/>
              </a:rPr>
              <a:t>Q&amp;A</a:t>
            </a:r>
            <a:endParaRPr lang="en-GB" sz="11500" b="1">
              <a:gradFill flip="none" rotWithShape="1">
                <a:gsLst>
                  <a:gs pos="36000">
                    <a:schemeClr val="tx2"/>
                  </a:gs>
                  <a:gs pos="99000">
                    <a:schemeClr val="bg1"/>
                  </a:gs>
                </a:gsLst>
                <a:lin ang="18900000" scaled="1"/>
                <a:tileRect/>
              </a:gradFill>
              <a:latin typeface="Proximus ExtraBold" pitchFamily="2" charset="77"/>
            </a:endParaRPr>
          </a:p>
        </p:txBody>
      </p:sp>
      <p:sp>
        <p:nvSpPr>
          <p:cNvPr id="2" name="TextBox 1">
            <a:extLst>
              <a:ext uri="{FF2B5EF4-FFF2-40B4-BE49-F238E27FC236}">
                <a16:creationId xmlns:a16="http://schemas.microsoft.com/office/drawing/2014/main" id="{1D231AD3-318A-0E21-EFB2-11047B03005B}"/>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grpSp>
        <p:nvGrpSpPr>
          <p:cNvPr id="3" name="Group 2">
            <a:extLst>
              <a:ext uri="{FF2B5EF4-FFF2-40B4-BE49-F238E27FC236}">
                <a16:creationId xmlns:a16="http://schemas.microsoft.com/office/drawing/2014/main" id="{8D2A8E67-A265-0FCF-8F26-1D6E893DAEEF}"/>
              </a:ext>
            </a:extLst>
          </p:cNvPr>
          <p:cNvGrpSpPr/>
          <p:nvPr/>
        </p:nvGrpSpPr>
        <p:grpSpPr>
          <a:xfrm>
            <a:off x="-2572879" y="1330467"/>
            <a:ext cx="2376000" cy="2850482"/>
            <a:chOff x="1034715" y="1437623"/>
            <a:chExt cx="2376000" cy="2850482"/>
          </a:xfrm>
        </p:grpSpPr>
        <p:sp>
          <p:nvSpPr>
            <p:cNvPr id="5" name="Rounded Rectangle 4">
              <a:extLst>
                <a:ext uri="{FF2B5EF4-FFF2-40B4-BE49-F238E27FC236}">
                  <a16:creationId xmlns:a16="http://schemas.microsoft.com/office/drawing/2014/main" id="{ED9D5A0D-F83A-B166-891C-33DBC45EFA51}"/>
                </a:ext>
              </a:extLst>
            </p:cNvPr>
            <p:cNvSpPr/>
            <p:nvPr/>
          </p:nvSpPr>
          <p:spPr>
            <a:xfrm>
              <a:off x="1034715" y="2120415"/>
              <a:ext cx="2376000" cy="2167690"/>
            </a:xfrm>
            <a:prstGeom prst="roundRect">
              <a:avLst>
                <a:gd name="adj" fmla="val 8018"/>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vert="horz" lIns="108000" tIns="108000" rIns="108000" bIns="108000" rtlCol="0" anchor="t" anchorCtr="0"/>
            <a:lstStyle/>
            <a:p>
              <a:pPr algn="ctr" defTabSz="1218418"/>
              <a:endParaRPr lang="en-BE" sz="1200" b="1" err="1">
                <a:solidFill>
                  <a:schemeClr val="tx1"/>
                </a:solidFill>
                <a:latin typeface="Proximus Bold" panose="00000500000000000000" pitchFamily="2" charset="0"/>
                <a:cs typeface="Proximus Bold"/>
              </a:endParaRPr>
            </a:p>
          </p:txBody>
        </p:sp>
        <p:grpSp>
          <p:nvGrpSpPr>
            <p:cNvPr id="6" name="Group 5">
              <a:extLst>
                <a:ext uri="{FF2B5EF4-FFF2-40B4-BE49-F238E27FC236}">
                  <a16:creationId xmlns:a16="http://schemas.microsoft.com/office/drawing/2014/main" id="{1B39F9D3-D207-36DB-281F-00A76A5DA7D7}"/>
                </a:ext>
              </a:extLst>
            </p:cNvPr>
            <p:cNvGrpSpPr/>
            <p:nvPr/>
          </p:nvGrpSpPr>
          <p:grpSpPr>
            <a:xfrm>
              <a:off x="1758834" y="3919743"/>
              <a:ext cx="948471" cy="263470"/>
              <a:chOff x="5411538" y="379361"/>
              <a:chExt cx="613934" cy="170541"/>
            </a:xfrm>
            <a:solidFill>
              <a:srgbClr val="000000"/>
            </a:solidFill>
          </p:grpSpPr>
          <p:sp>
            <p:nvSpPr>
              <p:cNvPr id="8" name="Freeform 7">
                <a:extLst>
                  <a:ext uri="{FF2B5EF4-FFF2-40B4-BE49-F238E27FC236}">
                    <a16:creationId xmlns:a16="http://schemas.microsoft.com/office/drawing/2014/main" id="{BDB4F2B2-614B-A8FF-061F-9A890F95CCE7}"/>
                  </a:ext>
                </a:extLst>
              </p:cNvPr>
              <p:cNvSpPr/>
              <p:nvPr/>
            </p:nvSpPr>
            <p:spPr>
              <a:xfrm>
                <a:off x="5606512" y="379361"/>
                <a:ext cx="418960" cy="140242"/>
              </a:xfrm>
              <a:custGeom>
                <a:avLst/>
                <a:gdLst>
                  <a:gd name="connsiteX0" fmla="*/ 245445 w 418960"/>
                  <a:gd name="connsiteY0" fmla="*/ 119186 h 140242"/>
                  <a:gd name="connsiteX1" fmla="*/ 217638 w 418960"/>
                  <a:gd name="connsiteY1" fmla="*/ 89932 h 140242"/>
                  <a:gd name="connsiteX2" fmla="*/ 245445 w 418960"/>
                  <a:gd name="connsiteY2" fmla="*/ 60517 h 140242"/>
                  <a:gd name="connsiteX3" fmla="*/ 273252 w 418960"/>
                  <a:gd name="connsiteY3" fmla="*/ 89932 h 140242"/>
                  <a:gd name="connsiteX4" fmla="*/ 245445 w 418960"/>
                  <a:gd name="connsiteY4" fmla="*/ 119186 h 140242"/>
                  <a:gd name="connsiteX5" fmla="*/ 366641 w 418960"/>
                  <a:gd name="connsiteY5" fmla="*/ 119347 h 140242"/>
                  <a:gd name="connsiteX6" fmla="*/ 337226 w 418960"/>
                  <a:gd name="connsiteY6" fmla="*/ 89932 h 140242"/>
                  <a:gd name="connsiteX7" fmla="*/ 366641 w 418960"/>
                  <a:gd name="connsiteY7" fmla="*/ 60357 h 140242"/>
                  <a:gd name="connsiteX8" fmla="*/ 395895 w 418960"/>
                  <a:gd name="connsiteY8" fmla="*/ 89932 h 140242"/>
                  <a:gd name="connsiteX9" fmla="*/ 366641 w 418960"/>
                  <a:gd name="connsiteY9" fmla="*/ 119347 h 140242"/>
                  <a:gd name="connsiteX10" fmla="*/ 366641 w 418960"/>
                  <a:gd name="connsiteY10" fmla="*/ 119347 h 140242"/>
                  <a:gd name="connsiteX11" fmla="*/ 153825 w 418960"/>
                  <a:gd name="connsiteY11" fmla="*/ 137269 h 140242"/>
                  <a:gd name="connsiteX12" fmla="*/ 176569 w 418960"/>
                  <a:gd name="connsiteY12" fmla="*/ 137269 h 140242"/>
                  <a:gd name="connsiteX13" fmla="*/ 176569 w 418960"/>
                  <a:gd name="connsiteY13" fmla="*/ 42434 h 140242"/>
                  <a:gd name="connsiteX14" fmla="*/ 153825 w 418960"/>
                  <a:gd name="connsiteY14" fmla="*/ 42434 h 140242"/>
                  <a:gd name="connsiteX15" fmla="*/ 153825 w 418960"/>
                  <a:gd name="connsiteY15" fmla="*/ 137269 h 140242"/>
                  <a:gd name="connsiteX16" fmla="*/ 153825 w 418960"/>
                  <a:gd name="connsiteY16" fmla="*/ 137269 h 140242"/>
                  <a:gd name="connsiteX17" fmla="*/ 366641 w 418960"/>
                  <a:gd name="connsiteY17" fmla="*/ 39782 h 140242"/>
                  <a:gd name="connsiteX18" fmla="*/ 314080 w 418960"/>
                  <a:gd name="connsiteY18" fmla="*/ 90013 h 140242"/>
                  <a:gd name="connsiteX19" fmla="*/ 366641 w 418960"/>
                  <a:gd name="connsiteY19" fmla="*/ 140243 h 140242"/>
                  <a:gd name="connsiteX20" fmla="*/ 418960 w 418960"/>
                  <a:gd name="connsiteY20" fmla="*/ 90013 h 140242"/>
                  <a:gd name="connsiteX21" fmla="*/ 366641 w 418960"/>
                  <a:gd name="connsiteY21" fmla="*/ 39782 h 140242"/>
                  <a:gd name="connsiteX22" fmla="*/ 23709 w 418960"/>
                  <a:gd name="connsiteY22" fmla="*/ 70805 h 140242"/>
                  <a:gd name="connsiteX23" fmla="*/ 44122 w 418960"/>
                  <a:gd name="connsiteY23" fmla="*/ 59312 h 140242"/>
                  <a:gd name="connsiteX24" fmla="*/ 65420 w 418960"/>
                  <a:gd name="connsiteY24" fmla="*/ 75627 h 140242"/>
                  <a:gd name="connsiteX25" fmla="*/ 88164 w 418960"/>
                  <a:gd name="connsiteY25" fmla="*/ 75627 h 140242"/>
                  <a:gd name="connsiteX26" fmla="*/ 44042 w 418960"/>
                  <a:gd name="connsiteY26" fmla="*/ 39782 h 140242"/>
                  <a:gd name="connsiteX27" fmla="*/ 482 w 418960"/>
                  <a:gd name="connsiteY27" fmla="*/ 70805 h 140242"/>
                  <a:gd name="connsiteX28" fmla="*/ 66304 w 418960"/>
                  <a:gd name="connsiteY28" fmla="*/ 109381 h 140242"/>
                  <a:gd name="connsiteX29" fmla="*/ 45890 w 418960"/>
                  <a:gd name="connsiteY29" fmla="*/ 120713 h 140242"/>
                  <a:gd name="connsiteX30" fmla="*/ 22744 w 418960"/>
                  <a:gd name="connsiteY30" fmla="*/ 105684 h 140242"/>
                  <a:gd name="connsiteX31" fmla="*/ 0 w 418960"/>
                  <a:gd name="connsiteY31" fmla="*/ 105684 h 140242"/>
                  <a:gd name="connsiteX32" fmla="*/ 45890 w 418960"/>
                  <a:gd name="connsiteY32" fmla="*/ 140243 h 140242"/>
                  <a:gd name="connsiteX33" fmla="*/ 90334 w 418960"/>
                  <a:gd name="connsiteY33" fmla="*/ 109381 h 140242"/>
                  <a:gd name="connsiteX34" fmla="*/ 23709 w 418960"/>
                  <a:gd name="connsiteY34" fmla="*/ 70805 h 140242"/>
                  <a:gd name="connsiteX35" fmla="*/ 23709 w 418960"/>
                  <a:gd name="connsiteY35" fmla="*/ 70805 h 140242"/>
                  <a:gd name="connsiteX36" fmla="*/ 273252 w 418960"/>
                  <a:gd name="connsiteY36" fmla="*/ 54088 h 140242"/>
                  <a:gd name="connsiteX37" fmla="*/ 241185 w 418960"/>
                  <a:gd name="connsiteY37" fmla="*/ 39782 h 140242"/>
                  <a:gd name="connsiteX38" fmla="*/ 194893 w 418960"/>
                  <a:gd name="connsiteY38" fmla="*/ 90013 h 140242"/>
                  <a:gd name="connsiteX39" fmla="*/ 241185 w 418960"/>
                  <a:gd name="connsiteY39" fmla="*/ 140243 h 140242"/>
                  <a:gd name="connsiteX40" fmla="*/ 273252 w 418960"/>
                  <a:gd name="connsiteY40" fmla="*/ 125696 h 140242"/>
                  <a:gd name="connsiteX41" fmla="*/ 273252 w 418960"/>
                  <a:gd name="connsiteY41" fmla="*/ 137350 h 140242"/>
                  <a:gd name="connsiteX42" fmla="*/ 295997 w 418960"/>
                  <a:gd name="connsiteY42" fmla="*/ 137350 h 140242"/>
                  <a:gd name="connsiteX43" fmla="*/ 295997 w 418960"/>
                  <a:gd name="connsiteY43" fmla="*/ 4661 h 140242"/>
                  <a:gd name="connsiteX44" fmla="*/ 273252 w 418960"/>
                  <a:gd name="connsiteY44" fmla="*/ 4661 h 140242"/>
                  <a:gd name="connsiteX45" fmla="*/ 273252 w 418960"/>
                  <a:gd name="connsiteY45" fmla="*/ 54088 h 140242"/>
                  <a:gd name="connsiteX46" fmla="*/ 273252 w 418960"/>
                  <a:gd name="connsiteY46" fmla="*/ 54088 h 140242"/>
                  <a:gd name="connsiteX47" fmla="*/ 108738 w 418960"/>
                  <a:gd name="connsiteY47" fmla="*/ 137269 h 140242"/>
                  <a:gd name="connsiteX48" fmla="*/ 131483 w 418960"/>
                  <a:gd name="connsiteY48" fmla="*/ 137269 h 140242"/>
                  <a:gd name="connsiteX49" fmla="*/ 131483 w 418960"/>
                  <a:gd name="connsiteY49" fmla="*/ 4661 h 140242"/>
                  <a:gd name="connsiteX50" fmla="*/ 108738 w 418960"/>
                  <a:gd name="connsiteY50" fmla="*/ 4661 h 140242"/>
                  <a:gd name="connsiteX51" fmla="*/ 108738 w 418960"/>
                  <a:gd name="connsiteY51" fmla="*/ 137269 h 140242"/>
                  <a:gd name="connsiteX52" fmla="*/ 108738 w 418960"/>
                  <a:gd name="connsiteY52" fmla="*/ 137269 h 140242"/>
                  <a:gd name="connsiteX53" fmla="*/ 165318 w 418960"/>
                  <a:gd name="connsiteY53" fmla="*/ 0 h 140242"/>
                  <a:gd name="connsiteX54" fmla="*/ 154147 w 418960"/>
                  <a:gd name="connsiteY54" fmla="*/ 4581 h 140242"/>
                  <a:gd name="connsiteX55" fmla="*/ 149566 w 418960"/>
                  <a:gd name="connsiteY55" fmla="*/ 15752 h 140242"/>
                  <a:gd name="connsiteX56" fmla="*/ 154147 w 418960"/>
                  <a:gd name="connsiteY56" fmla="*/ 26923 h 140242"/>
                  <a:gd name="connsiteX57" fmla="*/ 165318 w 418960"/>
                  <a:gd name="connsiteY57" fmla="*/ 31504 h 140242"/>
                  <a:gd name="connsiteX58" fmla="*/ 181070 w 418960"/>
                  <a:gd name="connsiteY58" fmla="*/ 15752 h 140242"/>
                  <a:gd name="connsiteX59" fmla="*/ 165318 w 418960"/>
                  <a:gd name="connsiteY59" fmla="*/ 0 h 140242"/>
                  <a:gd name="connsiteX60" fmla="*/ 165318 w 418960"/>
                  <a:gd name="connsiteY60" fmla="*/ 0 h 140242"/>
                  <a:gd name="connsiteX61" fmla="*/ 165318 w 418960"/>
                  <a:gd name="connsiteY61" fmla="*/ 0 h 1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8960" h="140242">
                    <a:moveTo>
                      <a:pt x="245445" y="119186"/>
                    </a:moveTo>
                    <a:cubicBezTo>
                      <a:pt x="230898" y="119186"/>
                      <a:pt x="217638" y="108095"/>
                      <a:pt x="217638" y="89932"/>
                    </a:cubicBezTo>
                    <a:cubicBezTo>
                      <a:pt x="217638" y="71447"/>
                      <a:pt x="230898" y="60517"/>
                      <a:pt x="245445" y="60517"/>
                    </a:cubicBezTo>
                    <a:cubicBezTo>
                      <a:pt x="259751" y="60517"/>
                      <a:pt x="273252" y="71608"/>
                      <a:pt x="273252" y="89932"/>
                    </a:cubicBezTo>
                    <a:cubicBezTo>
                      <a:pt x="273252" y="108095"/>
                      <a:pt x="259831" y="119186"/>
                      <a:pt x="245445" y="119186"/>
                    </a:cubicBezTo>
                    <a:close/>
                    <a:moveTo>
                      <a:pt x="366641" y="119347"/>
                    </a:moveTo>
                    <a:cubicBezTo>
                      <a:pt x="350165" y="119347"/>
                      <a:pt x="337226" y="107372"/>
                      <a:pt x="337226" y="89932"/>
                    </a:cubicBezTo>
                    <a:cubicBezTo>
                      <a:pt x="337226" y="72010"/>
                      <a:pt x="350165" y="60357"/>
                      <a:pt x="366641" y="60357"/>
                    </a:cubicBezTo>
                    <a:cubicBezTo>
                      <a:pt x="382714" y="60357"/>
                      <a:pt x="395895" y="72171"/>
                      <a:pt x="395895" y="89932"/>
                    </a:cubicBezTo>
                    <a:cubicBezTo>
                      <a:pt x="395895" y="107372"/>
                      <a:pt x="382795" y="119347"/>
                      <a:pt x="366641" y="119347"/>
                    </a:cubicBezTo>
                    <a:lnTo>
                      <a:pt x="366641" y="119347"/>
                    </a:lnTo>
                    <a:close/>
                    <a:moveTo>
                      <a:pt x="153825" y="137269"/>
                    </a:moveTo>
                    <a:lnTo>
                      <a:pt x="176569" y="137269"/>
                    </a:lnTo>
                    <a:lnTo>
                      <a:pt x="176569" y="42434"/>
                    </a:lnTo>
                    <a:lnTo>
                      <a:pt x="153825" y="42434"/>
                    </a:lnTo>
                    <a:lnTo>
                      <a:pt x="153825" y="137269"/>
                    </a:lnTo>
                    <a:lnTo>
                      <a:pt x="153825" y="137269"/>
                    </a:lnTo>
                    <a:close/>
                    <a:moveTo>
                      <a:pt x="366641" y="39782"/>
                    </a:moveTo>
                    <a:cubicBezTo>
                      <a:pt x="336342" y="39782"/>
                      <a:pt x="314080" y="60437"/>
                      <a:pt x="314080" y="90013"/>
                    </a:cubicBezTo>
                    <a:cubicBezTo>
                      <a:pt x="314080" y="117659"/>
                      <a:pt x="336342" y="140243"/>
                      <a:pt x="366641" y="140243"/>
                    </a:cubicBezTo>
                    <a:cubicBezTo>
                      <a:pt x="396939" y="140243"/>
                      <a:pt x="418960" y="117659"/>
                      <a:pt x="418960" y="90013"/>
                    </a:cubicBezTo>
                    <a:cubicBezTo>
                      <a:pt x="419041" y="60357"/>
                      <a:pt x="396939" y="39782"/>
                      <a:pt x="366641" y="39782"/>
                    </a:cubicBezTo>
                    <a:close/>
                    <a:moveTo>
                      <a:pt x="23709" y="70805"/>
                    </a:moveTo>
                    <a:cubicBezTo>
                      <a:pt x="23709" y="64134"/>
                      <a:pt x="31585" y="59312"/>
                      <a:pt x="44122" y="59312"/>
                    </a:cubicBezTo>
                    <a:cubicBezTo>
                      <a:pt x="57544" y="59312"/>
                      <a:pt x="65420" y="67590"/>
                      <a:pt x="65420" y="75627"/>
                    </a:cubicBezTo>
                    <a:lnTo>
                      <a:pt x="88164" y="75627"/>
                    </a:lnTo>
                    <a:cubicBezTo>
                      <a:pt x="88164" y="54490"/>
                      <a:pt x="69840" y="39782"/>
                      <a:pt x="44042" y="39782"/>
                    </a:cubicBezTo>
                    <a:cubicBezTo>
                      <a:pt x="18404" y="39782"/>
                      <a:pt x="482" y="53927"/>
                      <a:pt x="482" y="70805"/>
                    </a:cubicBezTo>
                    <a:cubicBezTo>
                      <a:pt x="482" y="109140"/>
                      <a:pt x="66304" y="93549"/>
                      <a:pt x="66304" y="109381"/>
                    </a:cubicBezTo>
                    <a:cubicBezTo>
                      <a:pt x="66304" y="115489"/>
                      <a:pt x="58026" y="120713"/>
                      <a:pt x="45890" y="120713"/>
                    </a:cubicBezTo>
                    <a:cubicBezTo>
                      <a:pt x="32630" y="120713"/>
                      <a:pt x="22744" y="113882"/>
                      <a:pt x="22744" y="105684"/>
                    </a:cubicBezTo>
                    <a:lnTo>
                      <a:pt x="0" y="105684"/>
                    </a:lnTo>
                    <a:cubicBezTo>
                      <a:pt x="0" y="126821"/>
                      <a:pt x="20092" y="140243"/>
                      <a:pt x="45890" y="140243"/>
                    </a:cubicBezTo>
                    <a:cubicBezTo>
                      <a:pt x="71528" y="140243"/>
                      <a:pt x="90334" y="126982"/>
                      <a:pt x="90334" y="109381"/>
                    </a:cubicBezTo>
                    <a:cubicBezTo>
                      <a:pt x="90414" y="72010"/>
                      <a:pt x="23709" y="87441"/>
                      <a:pt x="23709" y="70805"/>
                    </a:cubicBezTo>
                    <a:lnTo>
                      <a:pt x="23709" y="70805"/>
                    </a:lnTo>
                    <a:close/>
                    <a:moveTo>
                      <a:pt x="273252" y="54088"/>
                    </a:moveTo>
                    <a:cubicBezTo>
                      <a:pt x="264653" y="44604"/>
                      <a:pt x="253964" y="39782"/>
                      <a:pt x="241185" y="39782"/>
                    </a:cubicBezTo>
                    <a:cubicBezTo>
                      <a:pt x="218200" y="39782"/>
                      <a:pt x="194893" y="57544"/>
                      <a:pt x="194893" y="90013"/>
                    </a:cubicBezTo>
                    <a:cubicBezTo>
                      <a:pt x="194893" y="122080"/>
                      <a:pt x="218200" y="140243"/>
                      <a:pt x="241185" y="140243"/>
                    </a:cubicBezTo>
                    <a:cubicBezTo>
                      <a:pt x="254044" y="140243"/>
                      <a:pt x="264733" y="135340"/>
                      <a:pt x="273252" y="125696"/>
                    </a:cubicBezTo>
                    <a:lnTo>
                      <a:pt x="273252" y="137350"/>
                    </a:lnTo>
                    <a:lnTo>
                      <a:pt x="295997" y="137350"/>
                    </a:lnTo>
                    <a:lnTo>
                      <a:pt x="295997" y="4661"/>
                    </a:lnTo>
                    <a:lnTo>
                      <a:pt x="273252" y="4661"/>
                    </a:lnTo>
                    <a:lnTo>
                      <a:pt x="273252" y="54088"/>
                    </a:lnTo>
                    <a:lnTo>
                      <a:pt x="273252" y="54088"/>
                    </a:lnTo>
                    <a:close/>
                    <a:moveTo>
                      <a:pt x="108738" y="137269"/>
                    </a:moveTo>
                    <a:lnTo>
                      <a:pt x="131483" y="137269"/>
                    </a:lnTo>
                    <a:lnTo>
                      <a:pt x="131483" y="4661"/>
                    </a:lnTo>
                    <a:lnTo>
                      <a:pt x="108738" y="4661"/>
                    </a:lnTo>
                    <a:lnTo>
                      <a:pt x="108738" y="137269"/>
                    </a:lnTo>
                    <a:lnTo>
                      <a:pt x="108738" y="137269"/>
                    </a:lnTo>
                    <a:close/>
                    <a:moveTo>
                      <a:pt x="165318" y="0"/>
                    </a:moveTo>
                    <a:cubicBezTo>
                      <a:pt x="161139" y="0"/>
                      <a:pt x="157120" y="1607"/>
                      <a:pt x="154147" y="4581"/>
                    </a:cubicBezTo>
                    <a:cubicBezTo>
                      <a:pt x="151173" y="7555"/>
                      <a:pt x="149485" y="11573"/>
                      <a:pt x="149566" y="15752"/>
                    </a:cubicBezTo>
                    <a:cubicBezTo>
                      <a:pt x="149566" y="19931"/>
                      <a:pt x="151173" y="23950"/>
                      <a:pt x="154147" y="26923"/>
                    </a:cubicBezTo>
                    <a:cubicBezTo>
                      <a:pt x="157120" y="29897"/>
                      <a:pt x="161139" y="31585"/>
                      <a:pt x="165318" y="31504"/>
                    </a:cubicBezTo>
                    <a:cubicBezTo>
                      <a:pt x="173998" y="31504"/>
                      <a:pt x="181070" y="24432"/>
                      <a:pt x="181070" y="15752"/>
                    </a:cubicBezTo>
                    <a:cubicBezTo>
                      <a:pt x="181070" y="7072"/>
                      <a:pt x="174078" y="0"/>
                      <a:pt x="165318" y="0"/>
                    </a:cubicBezTo>
                    <a:cubicBezTo>
                      <a:pt x="165398" y="0"/>
                      <a:pt x="165318" y="0"/>
                      <a:pt x="165318" y="0"/>
                    </a:cubicBezTo>
                    <a:lnTo>
                      <a:pt x="165318" y="0"/>
                    </a:lnTo>
                    <a:close/>
                  </a:path>
                </a:pathLst>
              </a:custGeom>
              <a:solidFill>
                <a:schemeClr val="tx1"/>
              </a:solidFill>
              <a:ln w="794" cap="flat">
                <a:noFill/>
                <a:prstDash val="solid"/>
                <a:miter/>
              </a:ln>
            </p:spPr>
            <p:txBody>
              <a:bodyPr rtlCol="0" anchor="ctr"/>
              <a:lstStyle/>
              <a:p>
                <a:endParaRPr lang="en-BE"/>
              </a:p>
            </p:txBody>
          </p:sp>
          <p:sp>
            <p:nvSpPr>
              <p:cNvPr id="9" name="Freeform 8">
                <a:extLst>
                  <a:ext uri="{FF2B5EF4-FFF2-40B4-BE49-F238E27FC236}">
                    <a16:creationId xmlns:a16="http://schemas.microsoft.com/office/drawing/2014/main" id="{1C0DCF85-0207-EAB2-5DEA-85E6AEF72471}"/>
                  </a:ext>
                </a:extLst>
              </p:cNvPr>
              <p:cNvSpPr/>
              <p:nvPr/>
            </p:nvSpPr>
            <p:spPr>
              <a:xfrm>
                <a:off x="5411538" y="381933"/>
                <a:ext cx="167969" cy="167969"/>
              </a:xfrm>
              <a:custGeom>
                <a:avLst/>
                <a:gdLst>
                  <a:gd name="connsiteX0" fmla="*/ 167970 w 167969"/>
                  <a:gd name="connsiteY0" fmla="*/ 83985 h 167969"/>
                  <a:gd name="connsiteX1" fmla="*/ 83985 w 167969"/>
                  <a:gd name="connsiteY1" fmla="*/ 167970 h 167969"/>
                  <a:gd name="connsiteX2" fmla="*/ 0 w 167969"/>
                  <a:gd name="connsiteY2" fmla="*/ 83985 h 167969"/>
                  <a:gd name="connsiteX3" fmla="*/ 83985 w 167969"/>
                  <a:gd name="connsiteY3" fmla="*/ 0 h 167969"/>
                  <a:gd name="connsiteX4" fmla="*/ 167970 w 167969"/>
                  <a:gd name="connsiteY4" fmla="*/ 83985 h 16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69" h="167969">
                    <a:moveTo>
                      <a:pt x="167970" y="83985"/>
                    </a:moveTo>
                    <a:cubicBezTo>
                      <a:pt x="167970" y="130369"/>
                      <a:pt x="130369" y="167970"/>
                      <a:pt x="83985" y="167970"/>
                    </a:cubicBezTo>
                    <a:cubicBezTo>
                      <a:pt x="37601" y="167970"/>
                      <a:pt x="0" y="130369"/>
                      <a:pt x="0" y="83985"/>
                    </a:cubicBezTo>
                    <a:cubicBezTo>
                      <a:pt x="0" y="37601"/>
                      <a:pt x="37601" y="0"/>
                      <a:pt x="83985" y="0"/>
                    </a:cubicBezTo>
                    <a:cubicBezTo>
                      <a:pt x="130369" y="0"/>
                      <a:pt x="167970" y="37601"/>
                      <a:pt x="167970" y="83985"/>
                    </a:cubicBezTo>
                    <a:close/>
                  </a:path>
                </a:pathLst>
              </a:custGeom>
              <a:solidFill>
                <a:schemeClr val="tx1"/>
              </a:solidFill>
              <a:ln w="794" cap="flat">
                <a:noFill/>
                <a:prstDash val="solid"/>
                <a:miter/>
              </a:ln>
            </p:spPr>
            <p:txBody>
              <a:bodyPr rtlCol="0" anchor="ctr"/>
              <a:lstStyle/>
              <a:p>
                <a:endParaRPr lang="en-BE"/>
              </a:p>
            </p:txBody>
          </p:sp>
          <p:sp>
            <p:nvSpPr>
              <p:cNvPr id="10" name="Freeform 9">
                <a:extLst>
                  <a:ext uri="{FF2B5EF4-FFF2-40B4-BE49-F238E27FC236}">
                    <a16:creationId xmlns:a16="http://schemas.microsoft.com/office/drawing/2014/main" id="{BB1965A3-DF87-343E-45EA-5EDAA4A50D16}"/>
                  </a:ext>
                </a:extLst>
              </p:cNvPr>
              <p:cNvSpPr/>
              <p:nvPr/>
            </p:nvSpPr>
            <p:spPr>
              <a:xfrm>
                <a:off x="5457669" y="424046"/>
                <a:ext cx="75626" cy="83904"/>
              </a:xfrm>
              <a:custGeom>
                <a:avLst/>
                <a:gdLst>
                  <a:gd name="connsiteX0" fmla="*/ 55535 w 75626"/>
                  <a:gd name="connsiteY0" fmla="*/ 58106 h 83904"/>
                  <a:gd name="connsiteX1" fmla="*/ 38416 w 75626"/>
                  <a:gd name="connsiteY1" fmla="*/ 67590 h 83904"/>
                  <a:gd name="connsiteX2" fmla="*/ 19047 w 75626"/>
                  <a:gd name="connsiteY2" fmla="*/ 54972 h 83904"/>
                  <a:gd name="connsiteX3" fmla="*/ 0 w 75626"/>
                  <a:gd name="connsiteY3" fmla="*/ 54972 h 83904"/>
                  <a:gd name="connsiteX4" fmla="*/ 38416 w 75626"/>
                  <a:gd name="connsiteY4" fmla="*/ 83905 h 83904"/>
                  <a:gd name="connsiteX5" fmla="*/ 75627 w 75626"/>
                  <a:gd name="connsiteY5" fmla="*/ 58106 h 83904"/>
                  <a:gd name="connsiteX6" fmla="*/ 19851 w 75626"/>
                  <a:gd name="connsiteY6" fmla="*/ 25879 h 83904"/>
                  <a:gd name="connsiteX7" fmla="*/ 36969 w 75626"/>
                  <a:gd name="connsiteY7" fmla="*/ 16315 h 83904"/>
                  <a:gd name="connsiteX8" fmla="*/ 54811 w 75626"/>
                  <a:gd name="connsiteY8" fmla="*/ 29977 h 83904"/>
                  <a:gd name="connsiteX9" fmla="*/ 73859 w 75626"/>
                  <a:gd name="connsiteY9" fmla="*/ 29977 h 83904"/>
                  <a:gd name="connsiteX10" fmla="*/ 36969 w 75626"/>
                  <a:gd name="connsiteY10" fmla="*/ 0 h 83904"/>
                  <a:gd name="connsiteX11" fmla="*/ 563 w 75626"/>
                  <a:gd name="connsiteY11" fmla="*/ 25959 h 83904"/>
                  <a:gd name="connsiteX12" fmla="*/ 55535 w 75626"/>
                  <a:gd name="connsiteY12" fmla="*/ 58106 h 83904"/>
                  <a:gd name="connsiteX13" fmla="*/ 55535 w 75626"/>
                  <a:gd name="connsiteY13" fmla="*/ 58106 h 8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26" h="83904">
                    <a:moveTo>
                      <a:pt x="55535" y="58106"/>
                    </a:moveTo>
                    <a:cubicBezTo>
                      <a:pt x="55535" y="63170"/>
                      <a:pt x="48623" y="67590"/>
                      <a:pt x="38416" y="67590"/>
                    </a:cubicBezTo>
                    <a:cubicBezTo>
                      <a:pt x="27325" y="67590"/>
                      <a:pt x="19047" y="61884"/>
                      <a:pt x="19047" y="54972"/>
                    </a:cubicBezTo>
                    <a:lnTo>
                      <a:pt x="0" y="54972"/>
                    </a:lnTo>
                    <a:cubicBezTo>
                      <a:pt x="0" y="72653"/>
                      <a:pt x="16797" y="83905"/>
                      <a:pt x="38416" y="83905"/>
                    </a:cubicBezTo>
                    <a:cubicBezTo>
                      <a:pt x="59874" y="83905"/>
                      <a:pt x="75627" y="72814"/>
                      <a:pt x="75627" y="58106"/>
                    </a:cubicBezTo>
                    <a:cubicBezTo>
                      <a:pt x="75627" y="26923"/>
                      <a:pt x="19851" y="39782"/>
                      <a:pt x="19851" y="25879"/>
                    </a:cubicBezTo>
                    <a:cubicBezTo>
                      <a:pt x="19851" y="20333"/>
                      <a:pt x="26441" y="16315"/>
                      <a:pt x="36969" y="16315"/>
                    </a:cubicBezTo>
                    <a:cubicBezTo>
                      <a:pt x="48221" y="16315"/>
                      <a:pt x="54811" y="23226"/>
                      <a:pt x="54811" y="29977"/>
                    </a:cubicBezTo>
                    <a:lnTo>
                      <a:pt x="73859" y="29977"/>
                    </a:lnTo>
                    <a:cubicBezTo>
                      <a:pt x="73859" y="12296"/>
                      <a:pt x="58589" y="0"/>
                      <a:pt x="36969" y="0"/>
                    </a:cubicBezTo>
                    <a:cubicBezTo>
                      <a:pt x="15511" y="0"/>
                      <a:pt x="563" y="11814"/>
                      <a:pt x="563" y="25959"/>
                    </a:cubicBezTo>
                    <a:cubicBezTo>
                      <a:pt x="482" y="57946"/>
                      <a:pt x="55535" y="44926"/>
                      <a:pt x="55535" y="58106"/>
                    </a:cubicBezTo>
                    <a:lnTo>
                      <a:pt x="55535" y="58106"/>
                    </a:lnTo>
                    <a:close/>
                  </a:path>
                </a:pathLst>
              </a:custGeom>
              <a:solidFill>
                <a:schemeClr val="accent6"/>
              </a:solidFill>
              <a:ln w="794" cap="flat">
                <a:noFill/>
                <a:prstDash val="solid"/>
                <a:miter/>
              </a:ln>
            </p:spPr>
            <p:txBody>
              <a:bodyPr rtlCol="0" anchor="ctr"/>
              <a:lstStyle/>
              <a:p>
                <a:endParaRPr lang="en-BE"/>
              </a:p>
            </p:txBody>
          </p:sp>
        </p:grpSp>
        <p:pic>
          <p:nvPicPr>
            <p:cNvPr id="7" name="Afbeelding 4">
              <a:extLst>
                <a:ext uri="{FF2B5EF4-FFF2-40B4-BE49-F238E27FC236}">
                  <a16:creationId xmlns:a16="http://schemas.microsoft.com/office/drawing/2014/main" id="{78C2A4F4-96A7-88D9-0731-5F4114DF5F8D}"/>
                </a:ext>
              </a:extLst>
            </p:cNvPr>
            <p:cNvPicPr>
              <a:picLocks/>
            </p:cNvPicPr>
            <p:nvPr/>
          </p:nvPicPr>
          <p:blipFill rotWithShape="1">
            <a:blip r:embed="rId3">
              <a:extLst>
                <a:ext uri="{96DAC541-7B7A-43D3-8B79-37D633B846F1}">
                  <asvg:svgBlip xmlns:asvg="http://schemas.microsoft.com/office/drawing/2016/SVG/main" r:embed="rId4"/>
                </a:ext>
              </a:extLst>
            </a:blip>
            <a:srcRect/>
            <a:stretch/>
          </p:blipFill>
          <p:spPr>
            <a:xfrm>
              <a:off x="1034715" y="1437623"/>
              <a:ext cx="2376000" cy="2376000"/>
            </a:xfrm>
            <a:prstGeom prst="rect">
              <a:avLst/>
            </a:prstGeom>
            <a:effectLst>
              <a:outerShdw blurRad="497290" sx="104000" sy="104000" algn="ctr" rotWithShape="0">
                <a:prstClr val="black">
                  <a:alpha val="9112"/>
                </a:prstClr>
              </a:outerShdw>
            </a:effectLst>
          </p:spPr>
        </p:pic>
      </p:grpSp>
    </p:spTree>
    <p:extLst>
      <p:ext uri="{BB962C8B-B14F-4D97-AF65-F5344CB8AC3E}">
        <p14:creationId xmlns:p14="http://schemas.microsoft.com/office/powerpoint/2010/main" val="32955306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B4D84D4D-A99B-8F99-6405-BAE4265EBF5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0379992-8BF4-508E-A226-B1D913557F48}"/>
              </a:ext>
            </a:extLst>
          </p:cNvPr>
          <p:cNvSpPr txBox="1"/>
          <p:nvPr/>
        </p:nvSpPr>
        <p:spPr>
          <a:xfrm>
            <a:off x="460374" y="379413"/>
            <a:ext cx="8220075" cy="4316412"/>
          </a:xfrm>
          <a:prstGeom prst="rect">
            <a:avLst/>
          </a:prstGeom>
        </p:spPr>
        <p:txBody>
          <a:bodyPr vert="horz" wrap="square" lIns="0" tIns="0" rIns="0" bIns="0" numCol="1" spcCol="0" rtlCol="0" anchor="ctr" anchorCtr="0">
            <a:noAutofit/>
          </a:bodyPr>
          <a:lstStyle/>
          <a:p>
            <a:pPr algn="ctr"/>
            <a:r>
              <a:rPr lang="en-GB" sz="8800" b="1">
                <a:gradFill flip="none" rotWithShape="1">
                  <a:gsLst>
                    <a:gs pos="0">
                      <a:schemeClr val="bg1"/>
                    </a:gs>
                    <a:gs pos="100000">
                      <a:schemeClr val="tx2"/>
                    </a:gs>
                  </a:gsLst>
                  <a:lin ang="0" scaled="1"/>
                  <a:tileRect/>
                </a:gradFill>
                <a:latin typeface="Proximus ExtraBold" pitchFamily="2" charset="77"/>
              </a:rPr>
              <a:t>Thank you!</a:t>
            </a:r>
          </a:p>
        </p:txBody>
      </p:sp>
      <p:sp>
        <p:nvSpPr>
          <p:cNvPr id="2" name="TextBox 1">
            <a:extLst>
              <a:ext uri="{FF2B5EF4-FFF2-40B4-BE49-F238E27FC236}">
                <a16:creationId xmlns:a16="http://schemas.microsoft.com/office/drawing/2014/main" id="{424A1247-F1CA-F225-F1C4-D9114BFA12DD}"/>
              </a:ext>
            </a:extLst>
          </p:cNvPr>
          <p:cNvSpPr txBox="1"/>
          <p:nvPr/>
        </p:nvSpPr>
        <p:spPr>
          <a:xfrm>
            <a:off x="133643" y="562708"/>
            <a:ext cx="3087859" cy="1540412"/>
          </a:xfrm>
          <a:prstGeom prst="rect">
            <a:avLst/>
          </a:prstGeom>
        </p:spPr>
        <p:txBody>
          <a:bodyPr vert="horz" wrap="square" lIns="0" tIns="0" rIns="0" bIns="0" numCol="1" spcCol="0" rtlCol="0" anchor="t" anchorCtr="0">
            <a:noAutofit/>
          </a:bodyPr>
          <a:lstStyle/>
          <a:p>
            <a:pPr algn="l"/>
            <a:endParaRPr lang="en-GB" sz="1400" err="1">
              <a:solidFill>
                <a:schemeClr val="accent6"/>
              </a:solidFill>
            </a:endParaRPr>
          </a:p>
        </p:txBody>
      </p:sp>
    </p:spTree>
    <p:extLst>
      <p:ext uri="{BB962C8B-B14F-4D97-AF65-F5344CB8AC3E}">
        <p14:creationId xmlns:p14="http://schemas.microsoft.com/office/powerpoint/2010/main" val="21990292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F3F4F9"/>
        </a:solidFill>
        <a:effectLst/>
      </p:bgPr>
    </p:bg>
    <p:spTree>
      <p:nvGrpSpPr>
        <p:cNvPr id="1" name="">
          <a:extLst>
            <a:ext uri="{FF2B5EF4-FFF2-40B4-BE49-F238E27FC236}">
              <a16:creationId xmlns:a16="http://schemas.microsoft.com/office/drawing/2014/main" id="{9C846327-F9D1-6D6F-62F6-6461422E83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7EAD97-F2B1-5549-2AA1-2DDE88C3EFB2}"/>
              </a:ext>
            </a:extLst>
          </p:cNvPr>
          <p:cNvSpPr>
            <a:spLocks noGrp="1"/>
          </p:cNvSpPr>
          <p:nvPr>
            <p:ph type="title"/>
          </p:nvPr>
        </p:nvSpPr>
        <p:spPr>
          <a:xfrm>
            <a:off x="451379" y="1243750"/>
            <a:ext cx="8221663" cy="2656001"/>
          </a:xfrm>
        </p:spPr>
        <p:txBody>
          <a:bodyPr anchor="ctr"/>
          <a:lstStyle/>
          <a:p>
            <a:pPr>
              <a:lnSpc>
                <a:spcPct val="90000"/>
              </a:lnSpc>
            </a:pPr>
            <a:r>
              <a:rPr lang="en-US" sz="5800">
                <a:solidFill>
                  <a:srgbClr val="2A2234"/>
                </a:solidFill>
              </a:rPr>
              <a:t>All NBU</a:t>
            </a:r>
            <a:r>
              <a:rPr lang="en-BE" sz="5800">
                <a:solidFill>
                  <a:srgbClr val="2A2234"/>
                </a:solidFill>
              </a:rPr>
              <a:t> </a:t>
            </a:r>
            <a:br>
              <a:rPr lang="en-BE" sz="5800">
                <a:solidFill>
                  <a:srgbClr val="2A2234"/>
                </a:solidFill>
              </a:rPr>
            </a:br>
            <a:r>
              <a:rPr lang="en-BE" sz="5800">
                <a:solidFill>
                  <a:srgbClr val="2A2234"/>
                </a:solidFill>
              </a:rPr>
              <a:t>Strategy </a:t>
            </a:r>
            <a:br>
              <a:rPr lang="en-BE" sz="5800">
                <a:solidFill>
                  <a:srgbClr val="2A2234"/>
                </a:solidFill>
              </a:rPr>
            </a:br>
            <a:r>
              <a:rPr lang="en-BE" sz="5800">
                <a:solidFill>
                  <a:srgbClr val="2A2234"/>
                </a:solidFill>
              </a:rPr>
              <a:t>Cascade</a:t>
            </a:r>
            <a:br>
              <a:rPr lang="en-BE" sz="5800">
                <a:solidFill>
                  <a:srgbClr val="2A2234"/>
                </a:solidFill>
              </a:rPr>
            </a:br>
            <a:endParaRPr lang="en-BE" sz="5800">
              <a:solidFill>
                <a:srgbClr val="2A2234"/>
              </a:solidFill>
            </a:endParaRPr>
          </a:p>
        </p:txBody>
      </p:sp>
      <p:sp>
        <p:nvSpPr>
          <p:cNvPr id="3" name="!!Subtitle 2">
            <a:extLst>
              <a:ext uri="{FF2B5EF4-FFF2-40B4-BE49-F238E27FC236}">
                <a16:creationId xmlns:a16="http://schemas.microsoft.com/office/drawing/2014/main" id="{7C09E49E-D54F-3D20-58CA-F005A0EFA005}"/>
              </a:ext>
            </a:extLst>
          </p:cNvPr>
          <p:cNvSpPr>
            <a:spLocks noGrp="1"/>
          </p:cNvSpPr>
          <p:nvPr>
            <p:ph type="subTitle" idx="1"/>
          </p:nvPr>
        </p:nvSpPr>
        <p:spPr>
          <a:xfrm>
            <a:off x="469308" y="3672590"/>
            <a:ext cx="8221663" cy="735037"/>
          </a:xfrm>
        </p:spPr>
        <p:txBody>
          <a:bodyPr/>
          <a:lstStyle/>
          <a:p>
            <a:r>
              <a:rPr lang="en-BE" sz="1600">
                <a:solidFill>
                  <a:srgbClr val="2A2234"/>
                </a:solidFill>
              </a:rPr>
              <a:t>04.02.2025</a:t>
            </a:r>
          </a:p>
        </p:txBody>
      </p:sp>
      <p:pic>
        <p:nvPicPr>
          <p:cNvPr id="6" name="!!px_logo">
            <a:extLst>
              <a:ext uri="{FF2B5EF4-FFF2-40B4-BE49-F238E27FC236}">
                <a16:creationId xmlns:a16="http://schemas.microsoft.com/office/drawing/2014/main" id="{22EF5F6E-E95A-71DE-1BD0-68F85D7810D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0375" y="4279105"/>
            <a:ext cx="684532" cy="554831"/>
          </a:xfrm>
          <a:prstGeom prst="rect">
            <a:avLst/>
          </a:prstGeom>
        </p:spPr>
      </p:pic>
      <p:pic>
        <p:nvPicPr>
          <p:cNvPr id="8" name="Graphic 7">
            <a:extLst>
              <a:ext uri="{FF2B5EF4-FFF2-40B4-BE49-F238E27FC236}">
                <a16:creationId xmlns:a16="http://schemas.microsoft.com/office/drawing/2014/main" id="{D37DF569-15FB-F1A9-84EB-DB7E94A325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1403" y="413544"/>
            <a:ext cx="3762474" cy="4316413"/>
          </a:xfrm>
          <a:prstGeom prst="rect">
            <a:avLst/>
          </a:prstGeom>
        </p:spPr>
      </p:pic>
    </p:spTree>
    <p:extLst>
      <p:ext uri="{BB962C8B-B14F-4D97-AF65-F5344CB8AC3E}">
        <p14:creationId xmlns:p14="http://schemas.microsoft.com/office/powerpoint/2010/main" val="94410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5D93F-8D6B-6B48-83A4-A6D54B433F3A}"/>
            </a:ext>
          </a:extLst>
        </p:cNvPr>
        <p:cNvGrpSpPr/>
        <p:nvPr/>
      </p:nvGrpSpPr>
      <p:grpSpPr>
        <a:xfrm>
          <a:off x="0" y="0"/>
          <a:ext cx="0" cy="0"/>
          <a:chOff x="0" y="0"/>
          <a:chExt cx="0" cy="0"/>
        </a:xfrm>
      </p:grpSpPr>
      <p:pic>
        <p:nvPicPr>
          <p:cNvPr id="7" name="Graphic 6">
            <a:extLst>
              <a:ext uri="{FF2B5EF4-FFF2-40B4-BE49-F238E27FC236}">
                <a16:creationId xmlns:a16="http://schemas.microsoft.com/office/drawing/2014/main" id="{7579D97A-C236-33CD-43C1-DCD4678BBA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61345" y="1861095"/>
            <a:ext cx="1421311" cy="1421311"/>
          </a:xfrm>
          <a:prstGeom prst="rect">
            <a:avLst/>
          </a:prstGeom>
        </p:spPr>
      </p:pic>
    </p:spTree>
    <p:extLst>
      <p:ext uri="{BB962C8B-B14F-4D97-AF65-F5344CB8AC3E}">
        <p14:creationId xmlns:p14="http://schemas.microsoft.com/office/powerpoint/2010/main" val="4289759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A3FBAFE4-0067-131C-7690-B4BD618BEF4E}"/>
            </a:ext>
          </a:extLst>
        </p:cNvPr>
        <p:cNvGrpSpPr/>
        <p:nvPr/>
      </p:nvGrpSpPr>
      <p:grpSpPr>
        <a:xfrm>
          <a:off x="0" y="0"/>
          <a:ext cx="0" cy="0"/>
          <a:chOff x="0" y="0"/>
          <a:chExt cx="0" cy="0"/>
        </a:xfrm>
      </p:grpSpPr>
      <p:sp>
        <p:nvSpPr>
          <p:cNvPr id="59394" name="!!TXT_technology">
            <a:extLst>
              <a:ext uri="{FF2B5EF4-FFF2-40B4-BE49-F238E27FC236}">
                <a16:creationId xmlns:a16="http://schemas.microsoft.com/office/drawing/2014/main" id="{97479C62-4525-2E80-4567-C5ABBF7F3449}"/>
              </a:ext>
            </a:extLst>
          </p:cNvPr>
          <p:cNvSpPr txBox="1"/>
          <p:nvPr/>
        </p:nvSpPr>
        <p:spPr>
          <a:xfrm>
            <a:off x="5872134" y="3043444"/>
            <a:ext cx="2631281" cy="337913"/>
          </a:xfrm>
          <a:prstGeom prst="rect">
            <a:avLst/>
          </a:prstGeom>
          <a:noFill/>
        </p:spPr>
        <p:txBody>
          <a:bodyPr wrap="square" lIns="0" tIns="0" rIns="0" bIns="0" rtlCol="0">
            <a:spAutoFit/>
          </a:bodyPr>
          <a:lstStyle/>
          <a:p>
            <a:pPr algn="ctr" defTabSz="408094">
              <a:lnSpc>
                <a:spcPct val="110000"/>
              </a:lnSpc>
              <a:defRPr/>
            </a:pPr>
            <a:r>
              <a:rPr lang="en-US" sz="1050">
                <a:solidFill>
                  <a:srgbClr val="000000"/>
                </a:solidFill>
                <a:latin typeface="Proximus Light" panose="00000400000000000000" pitchFamily="2" charset="0"/>
              </a:rPr>
              <a:t>Engineer </a:t>
            </a:r>
            <a:r>
              <a:rPr lang="en-US" sz="1050" b="1">
                <a:solidFill>
                  <a:srgbClr val="000000"/>
                </a:solidFill>
                <a:latin typeface="Proximus ExtraBold" pitchFamily="2" charset="77"/>
              </a:rPr>
              <a:t>technology assets</a:t>
            </a:r>
          </a:p>
          <a:p>
            <a:pPr algn="ctr" defTabSz="408094">
              <a:lnSpc>
                <a:spcPct val="110000"/>
              </a:lnSpc>
              <a:defRPr/>
            </a:pPr>
            <a:r>
              <a:rPr lang="en-US" sz="1050">
                <a:solidFill>
                  <a:srgbClr val="000000"/>
                </a:solidFill>
                <a:latin typeface="Proximus Light" panose="00000400000000000000" pitchFamily="2" charset="0"/>
              </a:rPr>
              <a:t>to enable digital ecosystems</a:t>
            </a:r>
          </a:p>
        </p:txBody>
      </p:sp>
      <p:grpSp>
        <p:nvGrpSpPr>
          <p:cNvPr id="59395" name="Group 24">
            <a:extLst>
              <a:ext uri="{FF2B5EF4-FFF2-40B4-BE49-F238E27FC236}">
                <a16:creationId xmlns:a16="http://schemas.microsoft.com/office/drawing/2014/main" id="{14E00551-E8E4-976E-BAA8-165464BFE961}"/>
              </a:ext>
            </a:extLst>
          </p:cNvPr>
          <p:cNvGrpSpPr/>
          <p:nvPr/>
        </p:nvGrpSpPr>
        <p:grpSpPr>
          <a:xfrm>
            <a:off x="6868521" y="2324276"/>
            <a:ext cx="648000" cy="648000"/>
            <a:chOff x="9471976" y="4753455"/>
            <a:chExt cx="864000" cy="864000"/>
          </a:xfrm>
        </p:grpSpPr>
        <p:sp>
          <p:nvSpPr>
            <p:cNvPr id="59397" name="!!OVAL_technology">
              <a:extLst>
                <a:ext uri="{FF2B5EF4-FFF2-40B4-BE49-F238E27FC236}">
                  <a16:creationId xmlns:a16="http://schemas.microsoft.com/office/drawing/2014/main" id="{15091E09-BF86-1278-F51E-C2F9D6844817}"/>
                </a:ext>
              </a:extLst>
            </p:cNvPr>
            <p:cNvSpPr>
              <a:spLocks noChangeAspect="1"/>
            </p:cNvSpPr>
            <p:nvPr/>
          </p:nvSpPr>
          <p:spPr>
            <a:xfrm>
              <a:off x="9471976" y="4753455"/>
              <a:ext cx="864000" cy="864000"/>
            </a:xfrm>
            <a:prstGeom prst="ellipse">
              <a:avLst/>
            </a:prstGeom>
            <a:gradFill flip="none" rotWithShape="1">
              <a:gsLst>
                <a:gs pos="0">
                  <a:srgbClr val="1AA7C5"/>
                </a:gs>
                <a:gs pos="100000">
                  <a:srgbClr val="41AC7E"/>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398" name="!!ICON_technology">
              <a:extLst>
                <a:ext uri="{FF2B5EF4-FFF2-40B4-BE49-F238E27FC236}">
                  <a16:creationId xmlns:a16="http://schemas.microsoft.com/office/drawing/2014/main" id="{E3041BF8-AB41-BA35-9F77-CE67C834652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664780" y="4937121"/>
              <a:ext cx="480000" cy="480000"/>
            </a:xfrm>
            <a:prstGeom prst="rect">
              <a:avLst/>
            </a:prstGeom>
          </p:spPr>
        </p:pic>
      </p:grpSp>
      <p:sp>
        <p:nvSpPr>
          <p:cNvPr id="59400" name="!!TXT_network">
            <a:extLst>
              <a:ext uri="{FF2B5EF4-FFF2-40B4-BE49-F238E27FC236}">
                <a16:creationId xmlns:a16="http://schemas.microsoft.com/office/drawing/2014/main" id="{E8DA3709-F0BC-47CA-9D78-7297BB80C475}"/>
              </a:ext>
            </a:extLst>
          </p:cNvPr>
          <p:cNvSpPr txBox="1"/>
          <p:nvPr/>
        </p:nvSpPr>
        <p:spPr>
          <a:xfrm>
            <a:off x="6247615" y="1803046"/>
            <a:ext cx="1889815" cy="337978"/>
          </a:xfrm>
          <a:prstGeom prst="rect">
            <a:avLst/>
          </a:prstGeom>
          <a:noFill/>
        </p:spPr>
        <p:txBody>
          <a:bodyPr wrap="square" lIns="0" tIns="0" rIns="0" bIns="0" rtlCol="0">
            <a:spAutoFit/>
          </a:bodyPr>
          <a:lstStyle/>
          <a:p>
            <a:pPr algn="ctr" defTabSz="408094">
              <a:lnSpc>
                <a:spcPct val="110000"/>
              </a:lnSpc>
              <a:defRPr/>
            </a:pPr>
            <a:r>
              <a:rPr lang="en-US" sz="1050">
                <a:solidFill>
                  <a:srgbClr val="000000"/>
                </a:solidFill>
                <a:latin typeface="Proximus Light" panose="00000400000000000000" pitchFamily="2" charset="0"/>
              </a:rPr>
              <a:t>Roll out </a:t>
            </a:r>
            <a:r>
              <a:rPr lang="en-US" sz="1050" b="1">
                <a:solidFill>
                  <a:srgbClr val="000000"/>
                </a:solidFill>
                <a:latin typeface="Proximus ExtraBold" pitchFamily="2" charset="77"/>
              </a:rPr>
              <a:t>#1 gigabit</a:t>
            </a:r>
            <a:br>
              <a:rPr lang="en-US" sz="1050" b="1">
                <a:solidFill>
                  <a:srgbClr val="000000"/>
                </a:solidFill>
                <a:latin typeface="Proximus Bold"/>
              </a:rPr>
            </a:br>
            <a:r>
              <a:rPr lang="en-US" sz="1050" b="1">
                <a:solidFill>
                  <a:srgbClr val="000000"/>
                </a:solidFill>
                <a:latin typeface="Proximus ExtraBold" pitchFamily="2" charset="77"/>
              </a:rPr>
              <a:t>network</a:t>
            </a:r>
            <a:r>
              <a:rPr lang="en-US" sz="1050" b="1">
                <a:solidFill>
                  <a:srgbClr val="000000"/>
                </a:solidFill>
                <a:latin typeface="Proximus Bold"/>
              </a:rPr>
              <a:t> </a:t>
            </a:r>
            <a:r>
              <a:rPr lang="en-US" sz="1050">
                <a:solidFill>
                  <a:srgbClr val="000000"/>
                </a:solidFill>
                <a:latin typeface="Proximus Light" panose="00000400000000000000" pitchFamily="2" charset="0"/>
              </a:rPr>
              <a:t>for Belgium</a:t>
            </a:r>
          </a:p>
        </p:txBody>
      </p:sp>
      <p:grpSp>
        <p:nvGrpSpPr>
          <p:cNvPr id="59402" name="Group 22">
            <a:extLst>
              <a:ext uri="{FF2B5EF4-FFF2-40B4-BE49-F238E27FC236}">
                <a16:creationId xmlns:a16="http://schemas.microsoft.com/office/drawing/2014/main" id="{300BB547-52A3-EAC3-81BB-F4668C97DA30}"/>
              </a:ext>
            </a:extLst>
          </p:cNvPr>
          <p:cNvGrpSpPr/>
          <p:nvPr/>
        </p:nvGrpSpPr>
        <p:grpSpPr>
          <a:xfrm>
            <a:off x="6868521" y="1122450"/>
            <a:ext cx="648000" cy="648000"/>
            <a:chOff x="9471976" y="3124606"/>
            <a:chExt cx="864000" cy="864000"/>
          </a:xfrm>
        </p:grpSpPr>
        <p:sp>
          <p:nvSpPr>
            <p:cNvPr id="59404" name="!!OVAL_network">
              <a:extLst>
                <a:ext uri="{FF2B5EF4-FFF2-40B4-BE49-F238E27FC236}">
                  <a16:creationId xmlns:a16="http://schemas.microsoft.com/office/drawing/2014/main" id="{036162B7-2978-7D0D-4698-4EFAE3FEB133}"/>
                </a:ext>
              </a:extLst>
            </p:cNvPr>
            <p:cNvSpPr>
              <a:spLocks noChangeAspect="1"/>
            </p:cNvSpPr>
            <p:nvPr/>
          </p:nvSpPr>
          <p:spPr>
            <a:xfrm>
              <a:off x="9471976" y="3124606"/>
              <a:ext cx="864000" cy="864000"/>
            </a:xfrm>
            <a:prstGeom prst="ellipse">
              <a:avLst/>
            </a:prstGeom>
            <a:gradFill flip="none" rotWithShape="1">
              <a:gsLst>
                <a:gs pos="0">
                  <a:srgbClr val="E70462"/>
                </a:gs>
                <a:gs pos="100000">
                  <a:srgbClr val="BA2F58"/>
                </a:gs>
              </a:gsLst>
              <a:lin ang="162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06" name="!!ICON_network">
              <a:extLst>
                <a:ext uri="{FF2B5EF4-FFF2-40B4-BE49-F238E27FC236}">
                  <a16:creationId xmlns:a16="http://schemas.microsoft.com/office/drawing/2014/main" id="{0C06AC26-56E1-3473-2B8D-FD91C3E703D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709933" y="3357535"/>
              <a:ext cx="385883" cy="378164"/>
            </a:xfrm>
            <a:prstGeom prst="rect">
              <a:avLst/>
            </a:prstGeom>
          </p:spPr>
        </p:pic>
      </p:grpSp>
      <p:sp>
        <p:nvSpPr>
          <p:cNvPr id="59408" name="!!TXT_engaging">
            <a:extLst>
              <a:ext uri="{FF2B5EF4-FFF2-40B4-BE49-F238E27FC236}">
                <a16:creationId xmlns:a16="http://schemas.microsoft.com/office/drawing/2014/main" id="{44039A89-E94A-8F70-E754-2FE0D72B5BB2}"/>
              </a:ext>
            </a:extLst>
          </p:cNvPr>
          <p:cNvSpPr txBox="1"/>
          <p:nvPr/>
        </p:nvSpPr>
        <p:spPr>
          <a:xfrm>
            <a:off x="5972773" y="4260435"/>
            <a:ext cx="2430000" cy="337978"/>
          </a:xfrm>
          <a:prstGeom prst="rect">
            <a:avLst/>
          </a:prstGeom>
          <a:noFill/>
        </p:spPr>
        <p:txBody>
          <a:bodyPr wrap="square" lIns="0" tIns="0" rIns="0" bIns="0" rtlCol="0">
            <a:spAutoFit/>
          </a:bodyPr>
          <a:lstStyle/>
          <a:p>
            <a:pPr algn="ctr" defTabSz="408094">
              <a:lnSpc>
                <a:spcPct val="110000"/>
              </a:lnSpc>
              <a:defRPr/>
            </a:pPr>
            <a:r>
              <a:rPr lang="en-US" sz="1050">
                <a:solidFill>
                  <a:srgbClr val="000000"/>
                </a:solidFill>
                <a:latin typeface="Proximus Light" panose="00000400000000000000" pitchFamily="2" charset="0"/>
              </a:rPr>
              <a:t>Foster an </a:t>
            </a:r>
            <a:r>
              <a:rPr lang="en-US" sz="1050" b="1">
                <a:solidFill>
                  <a:srgbClr val="000000"/>
                </a:solidFill>
                <a:latin typeface="Proximus ExtraBold" pitchFamily="2" charset="77"/>
              </a:rPr>
              <a:t>engaging culture </a:t>
            </a:r>
            <a:r>
              <a:rPr lang="en-US" sz="1050">
                <a:solidFill>
                  <a:srgbClr val="000000"/>
                </a:solidFill>
                <a:latin typeface="Proximus Light" panose="00000400000000000000" pitchFamily="2" charset="0"/>
              </a:rPr>
              <a:t>&amp; empowering ways of </a:t>
            </a:r>
            <a:r>
              <a:rPr lang="en-US" sz="1050" b="1">
                <a:solidFill>
                  <a:srgbClr val="000000"/>
                </a:solidFill>
                <a:latin typeface="Proximus ExtraBold" pitchFamily="2" charset="77"/>
              </a:rPr>
              <a:t>working</a:t>
            </a:r>
          </a:p>
        </p:txBody>
      </p:sp>
      <p:grpSp>
        <p:nvGrpSpPr>
          <p:cNvPr id="59410" name="Group 20">
            <a:extLst>
              <a:ext uri="{FF2B5EF4-FFF2-40B4-BE49-F238E27FC236}">
                <a16:creationId xmlns:a16="http://schemas.microsoft.com/office/drawing/2014/main" id="{EC0647AA-A68A-1F36-AF22-371176FD12C6}"/>
              </a:ext>
            </a:extLst>
          </p:cNvPr>
          <p:cNvGrpSpPr/>
          <p:nvPr/>
        </p:nvGrpSpPr>
        <p:grpSpPr>
          <a:xfrm>
            <a:off x="6868797" y="3565091"/>
            <a:ext cx="648000" cy="648000"/>
            <a:chOff x="9471976" y="1496600"/>
            <a:chExt cx="864000" cy="864000"/>
          </a:xfrm>
        </p:grpSpPr>
        <p:sp>
          <p:nvSpPr>
            <p:cNvPr id="59411" name="!!OVAL_engaging">
              <a:extLst>
                <a:ext uri="{FF2B5EF4-FFF2-40B4-BE49-F238E27FC236}">
                  <a16:creationId xmlns:a16="http://schemas.microsoft.com/office/drawing/2014/main" id="{CD3A6A7B-D197-EEAA-397E-BF5AFE113542}"/>
                </a:ext>
              </a:extLst>
            </p:cNvPr>
            <p:cNvSpPr>
              <a:spLocks noChangeAspect="1"/>
            </p:cNvSpPr>
            <p:nvPr/>
          </p:nvSpPr>
          <p:spPr>
            <a:xfrm>
              <a:off x="9471976" y="1496600"/>
              <a:ext cx="864000" cy="864000"/>
            </a:xfrm>
            <a:prstGeom prst="ellipse">
              <a:avLst/>
            </a:prstGeom>
            <a:gradFill flip="none" rotWithShape="1">
              <a:gsLst>
                <a:gs pos="0">
                  <a:srgbClr val="18A7CA"/>
                </a:gs>
                <a:gs pos="100000">
                  <a:srgbClr val="2E63CE"/>
                </a:gs>
              </a:gsLst>
              <a:lin ang="135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14" name="!!ICON_engaging">
              <a:extLst>
                <a:ext uri="{FF2B5EF4-FFF2-40B4-BE49-F238E27FC236}">
                  <a16:creationId xmlns:a16="http://schemas.microsoft.com/office/drawing/2014/main" id="{77BC0D10-52E8-923A-3A98-07D6FABDA86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674231" y="1668781"/>
              <a:ext cx="461176" cy="461176"/>
            </a:xfrm>
            <a:prstGeom prst="rect">
              <a:avLst/>
            </a:prstGeom>
          </p:spPr>
        </p:pic>
      </p:grpSp>
      <p:sp>
        <p:nvSpPr>
          <p:cNvPr id="59415" name="!!TXT_strengths">
            <a:extLst>
              <a:ext uri="{FF2B5EF4-FFF2-40B4-BE49-F238E27FC236}">
                <a16:creationId xmlns:a16="http://schemas.microsoft.com/office/drawing/2014/main" id="{38F0A5E1-F891-1414-46D3-01EC68B11774}"/>
              </a:ext>
            </a:extLst>
          </p:cNvPr>
          <p:cNvSpPr txBox="1"/>
          <p:nvPr/>
        </p:nvSpPr>
        <p:spPr>
          <a:xfrm>
            <a:off x="6238120" y="500274"/>
            <a:ext cx="1899310" cy="461665"/>
          </a:xfrm>
          <a:prstGeom prst="rect">
            <a:avLst/>
          </a:prstGeom>
          <a:noFill/>
        </p:spPr>
        <p:txBody>
          <a:bodyPr wrap="square" lIns="0" tIns="0" rIns="0" bIns="0" rtlCol="0">
            <a:spAutoFit/>
          </a:bodyPr>
          <a:lstStyle/>
          <a:p>
            <a:pPr algn="ctr" defTabSz="408094">
              <a:defRPr/>
            </a:pPr>
            <a:r>
              <a:rPr lang="nl-BE" sz="1500">
                <a:solidFill>
                  <a:srgbClr val="000000"/>
                </a:solidFill>
                <a:latin typeface="Proximus Light" panose="00000400000000000000" pitchFamily="2" charset="0"/>
              </a:rPr>
              <a:t>through </a:t>
            </a:r>
            <a:r>
              <a:rPr lang="nl-BE" sz="1500" b="1">
                <a:solidFill>
                  <a:srgbClr val="000000"/>
                </a:solidFill>
                <a:latin typeface="Proximus ExtraBold" pitchFamily="2" charset="77"/>
              </a:rPr>
              <a:t>exceptional</a:t>
            </a:r>
          </a:p>
          <a:p>
            <a:pPr algn="ctr" defTabSz="408094">
              <a:defRPr/>
            </a:pPr>
            <a:r>
              <a:rPr lang="nl-BE" sz="1500" b="1">
                <a:solidFill>
                  <a:srgbClr val="000000"/>
                </a:solidFill>
                <a:latin typeface="Proximus ExtraBold" pitchFamily="2" charset="77"/>
              </a:rPr>
              <a:t>strengths</a:t>
            </a:r>
          </a:p>
        </p:txBody>
      </p:sp>
      <p:sp>
        <p:nvSpPr>
          <p:cNvPr id="59416" name="!!TXT_brands">
            <a:extLst>
              <a:ext uri="{FF2B5EF4-FFF2-40B4-BE49-F238E27FC236}">
                <a16:creationId xmlns:a16="http://schemas.microsoft.com/office/drawing/2014/main" id="{1D94719F-CCF7-A59D-9972-6484DEA5A10D}"/>
              </a:ext>
            </a:extLst>
          </p:cNvPr>
          <p:cNvSpPr txBox="1"/>
          <p:nvPr/>
        </p:nvSpPr>
        <p:spPr>
          <a:xfrm>
            <a:off x="2752790" y="4257603"/>
            <a:ext cx="2631281" cy="337978"/>
          </a:xfrm>
          <a:prstGeom prst="rect">
            <a:avLst/>
          </a:prstGeom>
          <a:noFill/>
        </p:spPr>
        <p:txBody>
          <a:bodyPr wrap="square" lIns="0" tIns="0" rIns="0" bIns="0" rtlCol="0">
            <a:spAutoFit/>
          </a:bodyPr>
          <a:lstStyle/>
          <a:p>
            <a:pPr algn="ctr" defTabSz="408094">
              <a:lnSpc>
                <a:spcPct val="110000"/>
              </a:lnSpc>
              <a:defRPr/>
            </a:pPr>
            <a:r>
              <a:rPr lang="en-US" sz="1050" b="1">
                <a:solidFill>
                  <a:srgbClr val="000000"/>
                </a:solidFill>
                <a:latin typeface="Proximus ExtraBold" pitchFamily="2" charset="77"/>
              </a:rPr>
              <a:t>Grow</a:t>
            </a:r>
            <a:r>
              <a:rPr lang="en-US" sz="1050">
                <a:solidFill>
                  <a:srgbClr val="000000"/>
                </a:solidFill>
                <a:latin typeface="Proximus Light" panose="00000400000000000000" pitchFamily="2" charset="0"/>
              </a:rPr>
              <a:t> profitably</a:t>
            </a:r>
            <a:r>
              <a:rPr lang="en-US" sz="1050" b="1">
                <a:solidFill>
                  <a:srgbClr val="000000"/>
                </a:solidFill>
                <a:latin typeface="Proximus Light" panose="00000400000000000000" pitchFamily="2" charset="0"/>
              </a:rPr>
              <a:t> </a:t>
            </a:r>
            <a:r>
              <a:rPr lang="en-US" sz="1050" b="1">
                <a:solidFill>
                  <a:srgbClr val="000000"/>
                </a:solidFill>
                <a:latin typeface="Proximus ExtraBold" pitchFamily="2" charset="77"/>
              </a:rPr>
              <a:t>locally </a:t>
            </a:r>
            <a:r>
              <a:rPr lang="en-US" sz="1050">
                <a:solidFill>
                  <a:srgbClr val="000000"/>
                </a:solidFill>
                <a:latin typeface="Proximus Light" pitchFamily="2" charset="77"/>
              </a:rPr>
              <a:t>&amp;</a:t>
            </a:r>
          </a:p>
          <a:p>
            <a:pPr algn="ctr" defTabSz="408094">
              <a:lnSpc>
                <a:spcPct val="110000"/>
              </a:lnSpc>
              <a:defRPr/>
            </a:pPr>
            <a:r>
              <a:rPr lang="en-US" sz="1050" b="1">
                <a:solidFill>
                  <a:srgbClr val="000000"/>
                </a:solidFill>
                <a:latin typeface="Proximus ExtraBold" pitchFamily="2" charset="77"/>
              </a:rPr>
              <a:t>globally</a:t>
            </a:r>
            <a:r>
              <a:rPr lang="en-US" sz="1050" b="1">
                <a:solidFill>
                  <a:srgbClr val="000000"/>
                </a:solidFill>
                <a:latin typeface="Proximus Bold"/>
              </a:rPr>
              <a:t> </a:t>
            </a:r>
            <a:r>
              <a:rPr lang="en-US" sz="1050">
                <a:solidFill>
                  <a:srgbClr val="000000"/>
                </a:solidFill>
                <a:latin typeface="Proximus Light" panose="00000400000000000000" pitchFamily="2" charset="0"/>
              </a:rPr>
              <a:t>through strong brands</a:t>
            </a:r>
          </a:p>
        </p:txBody>
      </p:sp>
      <p:grpSp>
        <p:nvGrpSpPr>
          <p:cNvPr id="59417" name="Group 19">
            <a:extLst>
              <a:ext uri="{FF2B5EF4-FFF2-40B4-BE49-F238E27FC236}">
                <a16:creationId xmlns:a16="http://schemas.microsoft.com/office/drawing/2014/main" id="{538D28B4-5B45-A871-99C1-CD761F79828A}"/>
              </a:ext>
            </a:extLst>
          </p:cNvPr>
          <p:cNvGrpSpPr/>
          <p:nvPr/>
        </p:nvGrpSpPr>
        <p:grpSpPr>
          <a:xfrm>
            <a:off x="3744428" y="3565091"/>
            <a:ext cx="648000" cy="648000"/>
            <a:chOff x="5577921" y="4753455"/>
            <a:chExt cx="864000" cy="864000"/>
          </a:xfrm>
        </p:grpSpPr>
        <p:sp>
          <p:nvSpPr>
            <p:cNvPr id="59418" name="!!OVAL_brands">
              <a:extLst>
                <a:ext uri="{FF2B5EF4-FFF2-40B4-BE49-F238E27FC236}">
                  <a16:creationId xmlns:a16="http://schemas.microsoft.com/office/drawing/2014/main" id="{D40C7E63-5EDE-F0C3-3379-3D96833BAD14}"/>
                </a:ext>
              </a:extLst>
            </p:cNvPr>
            <p:cNvSpPr>
              <a:spLocks noChangeAspect="1"/>
            </p:cNvSpPr>
            <p:nvPr/>
          </p:nvSpPr>
          <p:spPr>
            <a:xfrm>
              <a:off x="5577921" y="4753455"/>
              <a:ext cx="864000" cy="864000"/>
            </a:xfrm>
            <a:prstGeom prst="ellipse">
              <a:avLst/>
            </a:prstGeom>
            <a:gradFill flip="none" rotWithShape="1">
              <a:gsLst>
                <a:gs pos="0">
                  <a:srgbClr val="623DAC"/>
                </a:gs>
                <a:gs pos="100000">
                  <a:srgbClr val="A42F88"/>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19" name="!!ICON_brands">
              <a:extLst>
                <a:ext uri="{FF2B5EF4-FFF2-40B4-BE49-F238E27FC236}">
                  <a16:creationId xmlns:a16="http://schemas.microsoft.com/office/drawing/2014/main" id="{14583768-0BDC-55C1-E379-7F17614AF5D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790747" y="4964026"/>
              <a:ext cx="436153" cy="357647"/>
            </a:xfrm>
            <a:prstGeom prst="rect">
              <a:avLst/>
            </a:prstGeom>
          </p:spPr>
        </p:pic>
      </p:grpSp>
      <p:sp>
        <p:nvSpPr>
          <p:cNvPr id="59420" name="!!TXT_experience">
            <a:extLst>
              <a:ext uri="{FF2B5EF4-FFF2-40B4-BE49-F238E27FC236}">
                <a16:creationId xmlns:a16="http://schemas.microsoft.com/office/drawing/2014/main" id="{B4B843C8-FB99-DB38-752B-7C77950DB103}"/>
              </a:ext>
            </a:extLst>
          </p:cNvPr>
          <p:cNvSpPr txBox="1"/>
          <p:nvPr/>
        </p:nvSpPr>
        <p:spPr>
          <a:xfrm>
            <a:off x="3123523" y="3043444"/>
            <a:ext cx="1889815" cy="337913"/>
          </a:xfrm>
          <a:prstGeom prst="rect">
            <a:avLst/>
          </a:prstGeom>
          <a:noFill/>
        </p:spPr>
        <p:txBody>
          <a:bodyPr wrap="square" lIns="0" tIns="0" rIns="0" bIns="0" rtlCol="0">
            <a:spAutoFit/>
          </a:bodyPr>
          <a:lstStyle/>
          <a:p>
            <a:pPr algn="ctr" defTabSz="408094">
              <a:lnSpc>
                <a:spcPct val="110000"/>
              </a:lnSpc>
              <a:defRPr/>
            </a:pPr>
            <a:r>
              <a:rPr lang="en-US" sz="1050" b="1">
                <a:solidFill>
                  <a:srgbClr val="000000"/>
                </a:solidFill>
                <a:latin typeface="Proximus ExtraBold" pitchFamily="2" charset="77"/>
              </a:rPr>
              <a:t>Delight customers </a:t>
            </a:r>
            <a:r>
              <a:rPr lang="en-US" sz="1050">
                <a:solidFill>
                  <a:srgbClr val="000000"/>
                </a:solidFill>
                <a:latin typeface="Proximus Light" panose="00000400000000000000" pitchFamily="2" charset="0"/>
              </a:rPr>
              <a:t>with unrivalled experience</a:t>
            </a:r>
          </a:p>
        </p:txBody>
      </p:sp>
      <p:grpSp>
        <p:nvGrpSpPr>
          <p:cNvPr id="59421" name="Group 18">
            <a:extLst>
              <a:ext uri="{FF2B5EF4-FFF2-40B4-BE49-F238E27FC236}">
                <a16:creationId xmlns:a16="http://schemas.microsoft.com/office/drawing/2014/main" id="{805527BE-EF1C-B2E0-1320-E6FC1794C915}"/>
              </a:ext>
            </a:extLst>
          </p:cNvPr>
          <p:cNvGrpSpPr/>
          <p:nvPr/>
        </p:nvGrpSpPr>
        <p:grpSpPr>
          <a:xfrm>
            <a:off x="3744428" y="2324276"/>
            <a:ext cx="648000" cy="648000"/>
            <a:chOff x="5577921" y="3124606"/>
            <a:chExt cx="864000" cy="864000"/>
          </a:xfrm>
        </p:grpSpPr>
        <p:sp>
          <p:nvSpPr>
            <p:cNvPr id="59422" name="!!OVAL_experience">
              <a:extLst>
                <a:ext uri="{FF2B5EF4-FFF2-40B4-BE49-F238E27FC236}">
                  <a16:creationId xmlns:a16="http://schemas.microsoft.com/office/drawing/2014/main" id="{028E7544-FCEA-3AE3-73F0-2979BBA4F215}"/>
                </a:ext>
              </a:extLst>
            </p:cNvPr>
            <p:cNvSpPr>
              <a:spLocks noChangeAspect="1"/>
            </p:cNvSpPr>
            <p:nvPr/>
          </p:nvSpPr>
          <p:spPr>
            <a:xfrm>
              <a:off x="5577921" y="3124606"/>
              <a:ext cx="864000" cy="864000"/>
            </a:xfrm>
            <a:prstGeom prst="ellipse">
              <a:avLst/>
            </a:prstGeom>
            <a:gradFill flip="none" rotWithShape="1">
              <a:gsLst>
                <a:gs pos="0">
                  <a:srgbClr val="F98705"/>
                </a:gs>
                <a:gs pos="100000">
                  <a:srgbClr val="E06324"/>
                </a:gs>
              </a:gsLst>
              <a:lin ang="16200000" scaled="1"/>
              <a:tileRect/>
            </a:gradFill>
            <a:ln>
              <a:noFill/>
            </a:ln>
            <a:effectLst/>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23" name="!!ICON_experience">
              <a:extLst>
                <a:ext uri="{FF2B5EF4-FFF2-40B4-BE49-F238E27FC236}">
                  <a16:creationId xmlns:a16="http://schemas.microsoft.com/office/drawing/2014/main" id="{FF3AE577-A275-F961-0B9C-CA7B5D7857A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811677" y="3301212"/>
              <a:ext cx="395293" cy="459643"/>
            </a:xfrm>
            <a:prstGeom prst="rect">
              <a:avLst/>
            </a:prstGeom>
          </p:spPr>
        </p:pic>
      </p:grpSp>
      <p:sp>
        <p:nvSpPr>
          <p:cNvPr id="59424" name="!!TXT_sustainable">
            <a:extLst>
              <a:ext uri="{FF2B5EF4-FFF2-40B4-BE49-F238E27FC236}">
                <a16:creationId xmlns:a16="http://schemas.microsoft.com/office/drawing/2014/main" id="{F8F6F11E-4E9E-DAB9-A6B1-BAC2FB6273C7}"/>
              </a:ext>
            </a:extLst>
          </p:cNvPr>
          <p:cNvSpPr txBox="1"/>
          <p:nvPr/>
        </p:nvSpPr>
        <p:spPr>
          <a:xfrm>
            <a:off x="2853428" y="1817602"/>
            <a:ext cx="2430000" cy="337978"/>
          </a:xfrm>
          <a:prstGeom prst="rect">
            <a:avLst/>
          </a:prstGeom>
          <a:noFill/>
        </p:spPr>
        <p:txBody>
          <a:bodyPr wrap="square" lIns="0" tIns="0" rIns="0" bIns="0" rtlCol="0">
            <a:spAutoFit/>
          </a:bodyPr>
          <a:lstStyle/>
          <a:p>
            <a:pPr algn="ctr" defTabSz="408094">
              <a:lnSpc>
                <a:spcPct val="110000"/>
              </a:lnSpc>
              <a:defRPr/>
            </a:pPr>
            <a:r>
              <a:rPr lang="en-US" sz="1050">
                <a:solidFill>
                  <a:srgbClr val="000000"/>
                </a:solidFill>
                <a:latin typeface="Proximus Light" panose="00000400000000000000" pitchFamily="2" charset="0"/>
              </a:rPr>
              <a:t>Act for an inclusive </a:t>
            </a:r>
            <a:r>
              <a:rPr lang="en-US" sz="1050" b="1">
                <a:solidFill>
                  <a:srgbClr val="000000"/>
                </a:solidFill>
                <a:latin typeface="Proximus ExtraBold" pitchFamily="2" charset="77"/>
              </a:rPr>
              <a:t>society</a:t>
            </a:r>
            <a:r>
              <a:rPr lang="en-US" sz="1050">
                <a:solidFill>
                  <a:srgbClr val="000000"/>
                </a:solidFill>
                <a:latin typeface="Proximus Light" panose="00000400000000000000" pitchFamily="2" charset="0"/>
              </a:rPr>
              <a:t> &amp;</a:t>
            </a:r>
          </a:p>
          <a:p>
            <a:pPr algn="ctr" defTabSz="408094">
              <a:lnSpc>
                <a:spcPct val="110000"/>
              </a:lnSpc>
              <a:defRPr/>
            </a:pPr>
            <a:r>
              <a:rPr lang="en-US" sz="1050">
                <a:solidFill>
                  <a:srgbClr val="000000"/>
                </a:solidFill>
                <a:latin typeface="Proximus Light" panose="00000400000000000000" pitchFamily="2" charset="0"/>
              </a:rPr>
              <a:t>be </a:t>
            </a:r>
            <a:r>
              <a:rPr lang="en-US" sz="1050" b="1">
                <a:solidFill>
                  <a:srgbClr val="000000"/>
                </a:solidFill>
                <a:latin typeface="Proximus ExtraBold" pitchFamily="2" charset="77"/>
              </a:rPr>
              <a:t>su</a:t>
            </a:r>
            <a:r>
              <a:rPr lang="en-US" sz="1050" b="1">
                <a:solidFill>
                  <a:srgbClr val="000000"/>
                </a:solidFill>
                <a:latin typeface="Proximus Bold" pitchFamily="2" charset="77"/>
              </a:rPr>
              <a:t>stainable</a:t>
            </a:r>
            <a:r>
              <a:rPr lang="en-US" sz="1050">
                <a:solidFill>
                  <a:srgbClr val="000000"/>
                </a:solidFill>
                <a:latin typeface="Proximus Light" panose="00000400000000000000" pitchFamily="2" charset="0"/>
              </a:rPr>
              <a:t> in everything we do</a:t>
            </a:r>
          </a:p>
        </p:txBody>
      </p:sp>
      <p:sp>
        <p:nvSpPr>
          <p:cNvPr id="59425" name="!!TIT_stakeholders">
            <a:extLst>
              <a:ext uri="{FF2B5EF4-FFF2-40B4-BE49-F238E27FC236}">
                <a16:creationId xmlns:a16="http://schemas.microsoft.com/office/drawing/2014/main" id="{2397896E-0211-3DFB-E0E3-86331B0243DC}"/>
              </a:ext>
            </a:extLst>
          </p:cNvPr>
          <p:cNvSpPr txBox="1"/>
          <p:nvPr/>
        </p:nvSpPr>
        <p:spPr>
          <a:xfrm>
            <a:off x="2853431" y="503482"/>
            <a:ext cx="2429999" cy="461665"/>
          </a:xfrm>
          <a:prstGeom prst="rect">
            <a:avLst/>
          </a:prstGeom>
          <a:noFill/>
        </p:spPr>
        <p:txBody>
          <a:bodyPr wrap="square" lIns="0" tIns="0" rIns="0" bIns="0" rtlCol="0">
            <a:spAutoFit/>
          </a:bodyPr>
          <a:lstStyle/>
          <a:p>
            <a:pPr algn="ctr" defTabSz="408094">
              <a:defRPr/>
            </a:pPr>
            <a:r>
              <a:rPr lang="en-US" sz="1500">
                <a:solidFill>
                  <a:srgbClr val="000000"/>
                </a:solidFill>
                <a:latin typeface="Proximus Light" panose="00000400000000000000" pitchFamily="2" charset="0"/>
              </a:rPr>
              <a:t>We deliver </a:t>
            </a:r>
            <a:r>
              <a:rPr lang="en-US" sz="1500" b="1">
                <a:solidFill>
                  <a:srgbClr val="000000"/>
                </a:solidFill>
                <a:latin typeface="Proximus ExtraBold" pitchFamily="2" charset="77"/>
              </a:rPr>
              <a:t>great value </a:t>
            </a:r>
            <a:br>
              <a:rPr lang="en-BE" sz="1500" b="1">
                <a:solidFill>
                  <a:srgbClr val="000000"/>
                </a:solidFill>
                <a:latin typeface="Proximus ExtraBold" pitchFamily="2" charset="77"/>
              </a:rPr>
            </a:br>
            <a:r>
              <a:rPr lang="en-US" sz="1500" b="1">
                <a:solidFill>
                  <a:srgbClr val="000000"/>
                </a:solidFill>
                <a:latin typeface="Proximus ExtraBold" pitchFamily="2" charset="77"/>
              </a:rPr>
              <a:t>for</a:t>
            </a:r>
            <a:r>
              <a:rPr lang="en-BE" sz="1500" b="1">
                <a:solidFill>
                  <a:srgbClr val="000000"/>
                </a:solidFill>
                <a:latin typeface="Proximus ExtraBold" pitchFamily="2" charset="77"/>
              </a:rPr>
              <a:t> </a:t>
            </a:r>
            <a:r>
              <a:rPr lang="en-US" sz="1500" b="1">
                <a:solidFill>
                  <a:srgbClr val="000000"/>
                </a:solidFill>
                <a:latin typeface="Proximus ExtraBold" pitchFamily="2" charset="77"/>
              </a:rPr>
              <a:t>our stakeholders</a:t>
            </a:r>
          </a:p>
        </p:txBody>
      </p:sp>
      <p:grpSp>
        <p:nvGrpSpPr>
          <p:cNvPr id="59426" name="Group 15">
            <a:extLst>
              <a:ext uri="{FF2B5EF4-FFF2-40B4-BE49-F238E27FC236}">
                <a16:creationId xmlns:a16="http://schemas.microsoft.com/office/drawing/2014/main" id="{179E5B7D-826F-9CDF-5BE1-46383A095591}"/>
              </a:ext>
            </a:extLst>
          </p:cNvPr>
          <p:cNvGrpSpPr/>
          <p:nvPr/>
        </p:nvGrpSpPr>
        <p:grpSpPr>
          <a:xfrm>
            <a:off x="3744428" y="1122450"/>
            <a:ext cx="648000" cy="648000"/>
            <a:chOff x="5713050" y="1751390"/>
            <a:chExt cx="2399998" cy="2399998"/>
          </a:xfrm>
        </p:grpSpPr>
        <p:sp>
          <p:nvSpPr>
            <p:cNvPr id="59427" name="!!OVAL_sustainable">
              <a:extLst>
                <a:ext uri="{FF2B5EF4-FFF2-40B4-BE49-F238E27FC236}">
                  <a16:creationId xmlns:a16="http://schemas.microsoft.com/office/drawing/2014/main" id="{3687532E-C3C7-47D6-80FC-C29EF5C804F2}"/>
                </a:ext>
              </a:extLst>
            </p:cNvPr>
            <p:cNvSpPr>
              <a:spLocks noChangeAspect="1"/>
            </p:cNvSpPr>
            <p:nvPr/>
          </p:nvSpPr>
          <p:spPr>
            <a:xfrm>
              <a:off x="5713050" y="1751390"/>
              <a:ext cx="2399998" cy="2399998"/>
            </a:xfrm>
            <a:prstGeom prst="ellipse">
              <a:avLst/>
            </a:prstGeom>
            <a:gradFill flip="none" rotWithShape="1">
              <a:gsLst>
                <a:gs pos="0">
                  <a:srgbClr val="5CB34B"/>
                </a:gs>
                <a:gs pos="100000">
                  <a:srgbClr val="54A265"/>
                </a:gs>
              </a:gsLst>
              <a:lin ang="2700000" scaled="1"/>
              <a:tileRect/>
            </a:gradFill>
            <a:ln>
              <a:noFill/>
            </a:ln>
            <a:scene3d>
              <a:camera prst="orthographicFront">
                <a:rot lat="0" lon="0" rev="0"/>
              </a:camera>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08094">
                <a:defRPr/>
              </a:pPr>
              <a:endParaRPr lang="nl-BE" sz="2160">
                <a:solidFill>
                  <a:srgbClr val="000000"/>
                </a:solidFill>
                <a:latin typeface="Proximus Bold"/>
              </a:endParaRPr>
            </a:p>
          </p:txBody>
        </p:sp>
        <p:pic>
          <p:nvPicPr>
            <p:cNvPr id="59428" name="!!ICON_sustainable">
              <a:extLst>
                <a:ext uri="{FF2B5EF4-FFF2-40B4-BE49-F238E27FC236}">
                  <a16:creationId xmlns:a16="http://schemas.microsoft.com/office/drawing/2014/main" id="{BBF986DC-44A4-D3CE-905D-7FF4D0DA681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280911" y="2286698"/>
              <a:ext cx="1199999" cy="1333332"/>
            </a:xfrm>
            <a:prstGeom prst="rect">
              <a:avLst/>
            </a:prstGeom>
          </p:spPr>
        </p:pic>
      </p:grpSp>
      <p:sp>
        <p:nvSpPr>
          <p:cNvPr id="3" name="Slide Number Placeholder 2">
            <a:extLst>
              <a:ext uri="{FF2B5EF4-FFF2-40B4-BE49-F238E27FC236}">
                <a16:creationId xmlns:a16="http://schemas.microsoft.com/office/drawing/2014/main" id="{7D8ED881-7D65-0F5B-44F7-B97858E0D2B8}"/>
              </a:ext>
            </a:extLst>
          </p:cNvPr>
          <p:cNvSpPr>
            <a:spLocks noGrp="1"/>
          </p:cNvSpPr>
          <p:nvPr>
            <p:ph type="sldNum" sz="quarter" idx="4294967295"/>
          </p:nvPr>
        </p:nvSpPr>
        <p:spPr>
          <a:xfrm>
            <a:off x="0" y="0"/>
            <a:ext cx="0" cy="0"/>
          </a:xfrm>
        </p:spPr>
        <p:txBody>
          <a:bodyPr/>
          <a:lstStyle/>
          <a:p>
            <a:pPr>
              <a:defRPr/>
            </a:pPr>
            <a:fld id="{A5A28417-1FDF-4C80-BE97-B86BA3047D42}" type="slidenum">
              <a:rPr lang="nl-BE" smtClean="0"/>
              <a:pPr>
                <a:defRPr/>
              </a:pPr>
              <a:t>8</a:t>
            </a:fld>
            <a:endParaRPr lang="nl-BE"/>
          </a:p>
        </p:txBody>
      </p:sp>
      <p:pic>
        <p:nvPicPr>
          <p:cNvPr id="4" name="Graphic 3">
            <a:extLst>
              <a:ext uri="{FF2B5EF4-FFF2-40B4-BE49-F238E27FC236}">
                <a16:creationId xmlns:a16="http://schemas.microsoft.com/office/drawing/2014/main" id="{BF1F1C81-2B09-460D-630F-DA706F63A75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7556" y="1292837"/>
            <a:ext cx="2226935" cy="2554801"/>
          </a:xfrm>
          <a:prstGeom prst="rect">
            <a:avLst/>
          </a:prstGeom>
        </p:spPr>
      </p:pic>
      <p:sp>
        <p:nvSpPr>
          <p:cNvPr id="2" name="!!Title 1">
            <a:extLst>
              <a:ext uri="{FF2B5EF4-FFF2-40B4-BE49-F238E27FC236}">
                <a16:creationId xmlns:a16="http://schemas.microsoft.com/office/drawing/2014/main" id="{58B45E38-E3E3-38EB-3E43-AF49D7693085}"/>
              </a:ext>
            </a:extLst>
          </p:cNvPr>
          <p:cNvSpPr txBox="1">
            <a:spLocks/>
          </p:cNvSpPr>
          <p:nvPr/>
        </p:nvSpPr>
        <p:spPr>
          <a:xfrm>
            <a:off x="-7532711" y="1008037"/>
            <a:ext cx="8221663" cy="2125619"/>
          </a:xfrm>
          <a:prstGeom prst="rect">
            <a:avLst/>
          </a:prstGeom>
        </p:spPr>
        <p:txBody>
          <a:bodyPr/>
          <a:lstStyle>
            <a:lvl1pPr algn="l" defTabSz="914287" rtl="0" eaLnBrk="1" latinLnBrk="0" hangingPunct="1">
              <a:spcBef>
                <a:spcPct val="0"/>
              </a:spcBef>
              <a:buNone/>
              <a:defRPr sz="2599" b="1" i="0" kern="1200">
                <a:solidFill>
                  <a:schemeClr val="bg1"/>
                </a:solidFill>
                <a:latin typeface="Proximus Bold" panose="020B0604020202020204" charset="0"/>
                <a:ea typeface="+mj-ea"/>
                <a:cs typeface="Proximus Bold" panose="020B060402020202020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BE" sz="4200">
                <a:solidFill>
                  <a:srgbClr val="2A2234"/>
                </a:solidFill>
              </a:rPr>
              <a:t>Network </a:t>
            </a:r>
            <a:br>
              <a:rPr lang="en-BE" sz="4200">
                <a:solidFill>
                  <a:srgbClr val="2A2234"/>
                </a:solidFill>
              </a:rPr>
            </a:br>
            <a:r>
              <a:rPr lang="en-BE" sz="4200">
                <a:solidFill>
                  <a:srgbClr val="2A2234"/>
                </a:solidFill>
              </a:rPr>
              <a:t>Business Unit</a:t>
            </a:r>
            <a:br>
              <a:rPr lang="en-BE" sz="4200">
                <a:solidFill>
                  <a:srgbClr val="2A2234"/>
                </a:solidFill>
              </a:rPr>
            </a:br>
            <a:r>
              <a:rPr lang="en-BE" sz="4200">
                <a:solidFill>
                  <a:srgbClr val="2A2234"/>
                </a:solidFill>
              </a:rPr>
              <a:t>Strategy Cascade</a:t>
            </a:r>
          </a:p>
        </p:txBody>
      </p:sp>
      <p:sp>
        <p:nvSpPr>
          <p:cNvPr id="5" name="!!Subtitle 2">
            <a:extLst>
              <a:ext uri="{FF2B5EF4-FFF2-40B4-BE49-F238E27FC236}">
                <a16:creationId xmlns:a16="http://schemas.microsoft.com/office/drawing/2014/main" id="{4FEF5C02-A543-E42F-8B7B-1F21C4A2E86C}"/>
              </a:ext>
            </a:extLst>
          </p:cNvPr>
          <p:cNvSpPr txBox="1">
            <a:spLocks/>
          </p:cNvSpPr>
          <p:nvPr/>
        </p:nvSpPr>
        <p:spPr>
          <a:xfrm>
            <a:off x="-7532711" y="3400424"/>
            <a:ext cx="8221663" cy="735037"/>
          </a:xfrm>
          <a:prstGeom prst="rect">
            <a:avLst/>
          </a:prstGeom>
        </p:spPr>
        <p:txBody>
          <a:bodyPr/>
          <a:lstStyle>
            <a:lvl1pPr marL="176400" indent="-176400" algn="l" defTabSz="914287" rtl="0" eaLnBrk="1" latinLnBrk="0" hangingPunct="1">
              <a:lnSpc>
                <a:spcPct val="100000"/>
              </a:lnSpc>
              <a:spcBef>
                <a:spcPts val="600"/>
              </a:spcBef>
              <a:spcAft>
                <a:spcPts val="0"/>
              </a:spcAft>
              <a:buClr>
                <a:schemeClr val="bg1"/>
              </a:buClr>
              <a:buSzPct val="100000"/>
              <a:buFont typeface="Arial" panose="020B0604020202020204" pitchFamily="34" charset="0"/>
              <a:buChar char="•"/>
              <a:tabLst/>
              <a:defRPr sz="1400" kern="1200">
                <a:solidFill>
                  <a:srgbClr val="000000"/>
                </a:solidFill>
                <a:latin typeface="Proximus Bold" panose="00000500000000000000" pitchFamily="2" charset="0"/>
                <a:ea typeface="+mn-ea"/>
                <a:cs typeface="+mn-cs"/>
              </a:defRPr>
            </a:lvl1pPr>
            <a:lvl2pPr marL="360000" indent="-176192"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Bold" panose="00000500000000000000" pitchFamily="2" charset="0"/>
                <a:ea typeface="+mn-ea"/>
                <a:cs typeface="+mn-cs"/>
              </a:defRPr>
            </a:lvl2pPr>
            <a:lvl3pPr marL="536400" indent="-177779" algn="l" defTabSz="914287" rtl="0" eaLnBrk="1" latinLnBrk="0" hangingPunct="1">
              <a:spcBef>
                <a:spcPts val="600"/>
              </a:spcBef>
              <a:spcAft>
                <a:spcPts val="0"/>
              </a:spcAft>
              <a:buClr>
                <a:schemeClr val="bg1"/>
              </a:buClr>
              <a:buSzPct val="100000"/>
              <a:buFont typeface="Arial" panose="020B0604020202020204" pitchFamily="34" charset="0"/>
              <a:buChar char="•"/>
              <a:tabLst/>
              <a:defRPr sz="1200" kern="1200">
                <a:solidFill>
                  <a:srgbClr val="000000"/>
                </a:solidFill>
                <a:latin typeface="Proximus Light" panose="00000400000000000000" pitchFamily="50" charset="0"/>
                <a:ea typeface="+mn-ea"/>
                <a:cs typeface="+mn-cs"/>
              </a:defRPr>
            </a:lvl3pPr>
            <a:lvl4pPr marL="0" indent="0" algn="l" defTabSz="914287" rtl="0" eaLnBrk="1" latinLnBrk="0" hangingPunct="1">
              <a:spcBef>
                <a:spcPts val="1200"/>
              </a:spcBef>
              <a:spcAft>
                <a:spcPts val="0"/>
              </a:spcAft>
              <a:buClr>
                <a:schemeClr val="bg1"/>
              </a:buClr>
              <a:buSzPct val="100000"/>
              <a:buFont typeface="Arial" panose="020B0604020202020204" pitchFamily="34" charset="0"/>
              <a:buNone/>
              <a:tabLst/>
              <a:defRPr sz="1400" kern="1200">
                <a:solidFill>
                  <a:srgbClr val="000000"/>
                </a:solidFill>
                <a:latin typeface="+mn-lt"/>
                <a:ea typeface="+mn-ea"/>
                <a:cs typeface="+mn-cs"/>
              </a:defRPr>
            </a:lvl4pPr>
            <a:lvl5pPr marL="0" indent="0" algn="l" defTabSz="914287" rtl="0" eaLnBrk="1" latinLnBrk="0" hangingPunct="1">
              <a:spcBef>
                <a:spcPts val="1800"/>
              </a:spcBef>
              <a:spcAft>
                <a:spcPts val="0"/>
              </a:spcAft>
              <a:buClr>
                <a:schemeClr val="bg1"/>
              </a:buClr>
              <a:buSzPct val="100000"/>
              <a:buFont typeface="Arial" panose="020B0604020202020204" pitchFamily="34" charset="0"/>
              <a:buNone/>
              <a:tabLst/>
              <a:defRPr sz="1600" kern="1200">
                <a:solidFill>
                  <a:schemeClr val="bg1"/>
                </a:solidFill>
                <a:latin typeface="Proximus Light" panose="020B0604020202020204" charset="0"/>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BE" sz="1600">
                <a:solidFill>
                  <a:srgbClr val="2A2234"/>
                </a:solidFill>
              </a:rPr>
              <a:t>04.02.2025</a:t>
            </a:r>
          </a:p>
        </p:txBody>
      </p:sp>
      <p:pic>
        <p:nvPicPr>
          <p:cNvPr id="6" name="!!px_logo">
            <a:extLst>
              <a:ext uri="{FF2B5EF4-FFF2-40B4-BE49-F238E27FC236}">
                <a16:creationId xmlns:a16="http://schemas.microsoft.com/office/drawing/2014/main" id="{507D1DFC-BB0F-B439-B047-1CFCABBFE658}"/>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532711" y="4279105"/>
            <a:ext cx="684532" cy="554831"/>
          </a:xfrm>
          <a:prstGeom prst="rect">
            <a:avLst/>
          </a:prstGeom>
        </p:spPr>
      </p:pic>
    </p:spTree>
    <p:extLst>
      <p:ext uri="{BB962C8B-B14F-4D97-AF65-F5344CB8AC3E}">
        <p14:creationId xmlns:p14="http://schemas.microsoft.com/office/powerpoint/2010/main" val="859508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3F4F9"/>
        </a:solidFill>
        <a:effectLst/>
      </p:bgPr>
    </p:bg>
    <p:spTree>
      <p:nvGrpSpPr>
        <p:cNvPr id="1" name="">
          <a:extLst>
            <a:ext uri="{FF2B5EF4-FFF2-40B4-BE49-F238E27FC236}">
              <a16:creationId xmlns:a16="http://schemas.microsoft.com/office/drawing/2014/main" id="{3936CA40-3CE6-C843-D0BC-97A7D88CEE20}"/>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4873CEB2-E375-1696-1443-C35CC9E39F2C}"/>
              </a:ext>
            </a:extLst>
          </p:cNvPr>
          <p:cNvSpPr>
            <a:spLocks noGrp="1"/>
          </p:cNvSpPr>
          <p:nvPr>
            <p:ph type="title"/>
          </p:nvPr>
        </p:nvSpPr>
        <p:spPr>
          <a:xfrm>
            <a:off x="460377" y="0"/>
            <a:ext cx="8221663" cy="1923750"/>
          </a:xfrm>
        </p:spPr>
        <p:txBody>
          <a:bodyPr anchor="ctr"/>
          <a:lstStyle/>
          <a:p>
            <a:pPr algn="ctr"/>
            <a:r>
              <a:rPr lang="en-US" sz="5200">
                <a:gradFill flip="none" rotWithShape="1">
                  <a:gsLst>
                    <a:gs pos="0">
                      <a:schemeClr val="tx2"/>
                    </a:gs>
                    <a:gs pos="74000">
                      <a:schemeClr val="bg1"/>
                    </a:gs>
                  </a:gsLst>
                  <a:lin ang="10800000" scaled="1"/>
                  <a:tileRect/>
                </a:gradFill>
                <a:latin typeface="Proximus ExtraBold" pitchFamily="2" charset="77"/>
              </a:rPr>
              <a:t>Challenging context</a:t>
            </a:r>
            <a:endParaRPr lang="en-BE" sz="5200">
              <a:gradFill flip="none" rotWithShape="1">
                <a:gsLst>
                  <a:gs pos="0">
                    <a:schemeClr val="tx2"/>
                  </a:gs>
                  <a:gs pos="74000">
                    <a:schemeClr val="bg1"/>
                  </a:gs>
                </a:gsLst>
                <a:lin ang="10800000" scaled="1"/>
                <a:tileRect/>
              </a:gradFill>
              <a:latin typeface="Proximus ExtraBold" pitchFamily="2" charset="77"/>
            </a:endParaRPr>
          </a:p>
        </p:txBody>
      </p:sp>
      <p:sp>
        <p:nvSpPr>
          <p:cNvPr id="5" name="Text Placeholder 4">
            <a:extLst>
              <a:ext uri="{FF2B5EF4-FFF2-40B4-BE49-F238E27FC236}">
                <a16:creationId xmlns:a16="http://schemas.microsoft.com/office/drawing/2014/main" id="{D0B0EFE8-8D4C-09FB-7F13-21AC5B0E958A}"/>
              </a:ext>
            </a:extLst>
          </p:cNvPr>
          <p:cNvSpPr>
            <a:spLocks noGrp="1"/>
          </p:cNvSpPr>
          <p:nvPr>
            <p:ph type="body" sz="quarter" idx="13"/>
          </p:nvPr>
        </p:nvSpPr>
        <p:spPr>
          <a:xfrm>
            <a:off x="1196838" y="1743675"/>
            <a:ext cx="2384367" cy="1296000"/>
          </a:xfrm>
          <a:gradFill>
            <a:gsLst>
              <a:gs pos="0">
                <a:schemeClr val="tx2"/>
              </a:gs>
              <a:gs pos="99000">
                <a:schemeClr val="bg1"/>
              </a:gs>
            </a:gsLst>
            <a:lin ang="2700000" scaled="1"/>
          </a:gradFill>
        </p:spPr>
        <p:txBody>
          <a:bodyPr anchor="ctr"/>
          <a:lstStyle/>
          <a:p>
            <a:pPr algn="ctr">
              <a:spcBef>
                <a:spcPts val="0"/>
              </a:spcBef>
            </a:pPr>
            <a:r>
              <a:rPr lang="en-US" sz="1600" b="1">
                <a:solidFill>
                  <a:schemeClr val="tx1"/>
                </a:solidFill>
                <a:latin typeface="Proximus Bold" pitchFamily="2" charset="77"/>
              </a:rPr>
              <a:t>Competition </a:t>
            </a:r>
          </a:p>
          <a:p>
            <a:pPr algn="ctr">
              <a:spcBef>
                <a:spcPts val="0"/>
              </a:spcBef>
            </a:pPr>
            <a:r>
              <a:rPr lang="en-US" sz="1600" b="1">
                <a:solidFill>
                  <a:schemeClr val="tx1"/>
                </a:solidFill>
                <a:latin typeface="Proximus Bold" pitchFamily="2" charset="77"/>
              </a:rPr>
              <a:t>DIGI</a:t>
            </a:r>
            <a:endParaRPr lang="en-BE" sz="1600" b="1">
              <a:solidFill>
                <a:schemeClr val="tx1"/>
              </a:solidFill>
              <a:latin typeface="Proximus Bold" pitchFamily="2" charset="77"/>
            </a:endParaRPr>
          </a:p>
        </p:txBody>
      </p:sp>
      <p:sp>
        <p:nvSpPr>
          <p:cNvPr id="6" name="Text Placeholder 5">
            <a:extLst>
              <a:ext uri="{FF2B5EF4-FFF2-40B4-BE49-F238E27FC236}">
                <a16:creationId xmlns:a16="http://schemas.microsoft.com/office/drawing/2014/main" id="{1B6AC534-0D99-6F1B-6F5F-6481A19F952A}"/>
              </a:ext>
            </a:extLst>
          </p:cNvPr>
          <p:cNvSpPr>
            <a:spLocks noGrp="1"/>
          </p:cNvSpPr>
          <p:nvPr>
            <p:ph type="body" sz="quarter" idx="14"/>
          </p:nvPr>
        </p:nvSpPr>
        <p:spPr>
          <a:xfrm>
            <a:off x="3748047" y="1743675"/>
            <a:ext cx="2384367" cy="1296000"/>
          </a:xfrm>
          <a:gradFill>
            <a:gsLst>
              <a:gs pos="0">
                <a:schemeClr val="tx2"/>
              </a:gs>
              <a:gs pos="99000">
                <a:schemeClr val="bg1"/>
              </a:gs>
            </a:gsLst>
            <a:lin ang="2700000" scaled="1"/>
          </a:gradFill>
        </p:spPr>
        <p:txBody>
          <a:bodyPr anchor="ctr"/>
          <a:lstStyle/>
          <a:p>
            <a:pPr algn="ctr">
              <a:spcBef>
                <a:spcPts val="0"/>
              </a:spcBef>
            </a:pPr>
            <a:r>
              <a:rPr lang="en-US" sz="1600" b="1">
                <a:solidFill>
                  <a:schemeClr val="tx1"/>
                </a:solidFill>
                <a:latin typeface="Proximus Bold" pitchFamily="2" charset="77"/>
              </a:rPr>
              <a:t>New</a:t>
            </a:r>
          </a:p>
          <a:p>
            <a:pPr algn="ctr">
              <a:spcBef>
                <a:spcPts val="0"/>
              </a:spcBef>
            </a:pPr>
            <a:r>
              <a:rPr lang="en-US" sz="1600" b="1">
                <a:solidFill>
                  <a:schemeClr val="tx1"/>
                </a:solidFill>
                <a:latin typeface="Proximus Bold" pitchFamily="2" charset="77"/>
              </a:rPr>
              <a:t>collaborations</a:t>
            </a:r>
            <a:r>
              <a:rPr lang="en-BE" sz="1600" b="1">
                <a:solidFill>
                  <a:schemeClr val="tx1"/>
                </a:solidFill>
                <a:latin typeface="Proximus Bold" pitchFamily="2" charset="77"/>
              </a:rPr>
              <a:t> </a:t>
            </a:r>
            <a:br>
              <a:rPr lang="en-BE" sz="1600" b="1">
                <a:solidFill>
                  <a:schemeClr val="tx1"/>
                </a:solidFill>
                <a:latin typeface="Proximus Bold" pitchFamily="2" charset="77"/>
              </a:rPr>
            </a:br>
            <a:endParaRPr lang="en-BE" sz="1600" b="1">
              <a:solidFill>
                <a:schemeClr val="tx1"/>
              </a:solidFill>
              <a:latin typeface="Proximus Bold" pitchFamily="2" charset="77"/>
            </a:endParaRPr>
          </a:p>
        </p:txBody>
      </p:sp>
      <p:sp>
        <p:nvSpPr>
          <p:cNvPr id="7" name="Text Placeholder 6">
            <a:extLst>
              <a:ext uri="{FF2B5EF4-FFF2-40B4-BE49-F238E27FC236}">
                <a16:creationId xmlns:a16="http://schemas.microsoft.com/office/drawing/2014/main" id="{28392F01-4566-B416-C388-B1ADA5ACE3A0}"/>
              </a:ext>
            </a:extLst>
          </p:cNvPr>
          <p:cNvSpPr>
            <a:spLocks noGrp="1"/>
          </p:cNvSpPr>
          <p:nvPr>
            <p:ph type="body" sz="quarter" idx="15"/>
          </p:nvPr>
        </p:nvSpPr>
        <p:spPr>
          <a:xfrm>
            <a:off x="6299255" y="1743675"/>
            <a:ext cx="2384367" cy="1296000"/>
          </a:xfrm>
          <a:gradFill>
            <a:gsLst>
              <a:gs pos="0">
                <a:schemeClr val="tx2"/>
              </a:gs>
              <a:gs pos="99000">
                <a:schemeClr val="bg1"/>
              </a:gs>
            </a:gsLst>
            <a:lin ang="2700000" scaled="1"/>
          </a:gradFill>
        </p:spPr>
        <p:txBody>
          <a:bodyPr anchor="ctr"/>
          <a:lstStyle/>
          <a:p>
            <a:pPr algn="ctr"/>
            <a:r>
              <a:rPr lang="en-US" sz="1600" b="1">
                <a:solidFill>
                  <a:schemeClr val="tx1"/>
                </a:solidFill>
                <a:latin typeface="Proximus Bold" pitchFamily="2" charset="77"/>
              </a:rPr>
              <a:t>Coax</a:t>
            </a:r>
            <a:endParaRPr lang="en-BE" sz="1600" b="1">
              <a:solidFill>
                <a:schemeClr val="tx1"/>
              </a:solidFill>
              <a:latin typeface="Proximus Bold" pitchFamily="2" charset="77"/>
            </a:endParaRPr>
          </a:p>
        </p:txBody>
      </p:sp>
      <p:sp>
        <p:nvSpPr>
          <p:cNvPr id="9" name="Text Placeholder 8">
            <a:extLst>
              <a:ext uri="{FF2B5EF4-FFF2-40B4-BE49-F238E27FC236}">
                <a16:creationId xmlns:a16="http://schemas.microsoft.com/office/drawing/2014/main" id="{F560665C-D783-F962-34D6-0DA08992EA49}"/>
              </a:ext>
            </a:extLst>
          </p:cNvPr>
          <p:cNvSpPr>
            <a:spLocks noGrp="1"/>
          </p:cNvSpPr>
          <p:nvPr>
            <p:ph type="body" sz="quarter" idx="16"/>
          </p:nvPr>
        </p:nvSpPr>
        <p:spPr>
          <a:xfrm>
            <a:off x="1189528" y="3399825"/>
            <a:ext cx="2384367" cy="1296000"/>
          </a:xfrm>
          <a:gradFill flip="none" rotWithShape="1">
            <a:gsLst>
              <a:gs pos="0">
                <a:schemeClr val="tx2"/>
              </a:gs>
              <a:gs pos="99000">
                <a:schemeClr val="bg1"/>
              </a:gs>
            </a:gsLst>
            <a:lin ang="13500000" scaled="1"/>
            <a:tileRect/>
          </a:gradFill>
        </p:spPr>
        <p:txBody>
          <a:bodyPr anchor="ctr"/>
          <a:lstStyle/>
          <a:p>
            <a:pPr algn="ctr">
              <a:spcBef>
                <a:spcPts val="0"/>
              </a:spcBef>
              <a:spcAft>
                <a:spcPts val="0"/>
              </a:spcAft>
            </a:pPr>
            <a:r>
              <a:rPr lang="en-US" sz="1600" b="1">
                <a:solidFill>
                  <a:schemeClr val="tx1"/>
                </a:solidFill>
                <a:latin typeface="Proximus Bold" pitchFamily="2" charset="77"/>
              </a:rPr>
              <a:t>Welcome </a:t>
            </a:r>
          </a:p>
          <a:p>
            <a:pPr algn="ctr">
              <a:spcBef>
                <a:spcPts val="0"/>
              </a:spcBef>
              <a:spcAft>
                <a:spcPts val="0"/>
              </a:spcAft>
            </a:pPr>
            <a:r>
              <a:rPr lang="en-US" sz="1600" b="1">
                <a:solidFill>
                  <a:schemeClr val="tx1"/>
                </a:solidFill>
                <a:latin typeface="Proximus Bold" pitchFamily="2" charset="77"/>
              </a:rPr>
              <a:t>Fiberklaar</a:t>
            </a:r>
            <a:endParaRPr lang="en-BE" sz="1600" b="1">
              <a:solidFill>
                <a:schemeClr val="tx1"/>
              </a:solidFill>
              <a:latin typeface="Proximus Bold" pitchFamily="2" charset="77"/>
            </a:endParaRPr>
          </a:p>
        </p:txBody>
      </p:sp>
      <p:sp>
        <p:nvSpPr>
          <p:cNvPr id="10" name="Text Placeholder 9">
            <a:extLst>
              <a:ext uri="{FF2B5EF4-FFF2-40B4-BE49-F238E27FC236}">
                <a16:creationId xmlns:a16="http://schemas.microsoft.com/office/drawing/2014/main" id="{3ABDF627-CEBC-5408-5CB3-F5ABCD95B6BE}"/>
              </a:ext>
            </a:extLst>
          </p:cNvPr>
          <p:cNvSpPr>
            <a:spLocks noGrp="1"/>
          </p:cNvSpPr>
          <p:nvPr>
            <p:ph type="body" sz="quarter" idx="17"/>
          </p:nvPr>
        </p:nvSpPr>
        <p:spPr>
          <a:xfrm>
            <a:off x="3748046" y="3399825"/>
            <a:ext cx="2384367" cy="1296000"/>
          </a:xfrm>
          <a:gradFill flip="none" rotWithShape="1">
            <a:gsLst>
              <a:gs pos="0">
                <a:schemeClr val="tx2"/>
              </a:gs>
              <a:gs pos="99000">
                <a:schemeClr val="bg1"/>
              </a:gs>
            </a:gsLst>
            <a:lin ang="13500000" scaled="1"/>
            <a:tileRect/>
          </a:gradFill>
        </p:spPr>
        <p:txBody>
          <a:bodyPr anchor="ctr"/>
          <a:lstStyle/>
          <a:p>
            <a:pPr algn="ctr">
              <a:spcBef>
                <a:spcPts val="0"/>
              </a:spcBef>
            </a:pPr>
            <a:r>
              <a:rPr lang="en-US" sz="1600" b="1">
                <a:solidFill>
                  <a:schemeClr val="tx1"/>
                </a:solidFill>
                <a:latin typeface="Proximus Bold" pitchFamily="2" charset="77"/>
              </a:rPr>
              <a:t>Proximus</a:t>
            </a:r>
          </a:p>
          <a:p>
            <a:pPr algn="ctr">
              <a:spcBef>
                <a:spcPts val="0"/>
              </a:spcBef>
            </a:pPr>
            <a:r>
              <a:rPr lang="en-US" sz="1600" b="1">
                <a:solidFill>
                  <a:schemeClr val="tx1"/>
                </a:solidFill>
                <a:latin typeface="Proximus Bold" pitchFamily="2" charset="77"/>
              </a:rPr>
              <a:t>governance</a:t>
            </a:r>
            <a:endParaRPr lang="en-BE" sz="1600" b="1">
              <a:solidFill>
                <a:schemeClr val="tx1"/>
              </a:solidFill>
              <a:latin typeface="Proximus Bold" pitchFamily="2" charset="77"/>
            </a:endParaRPr>
          </a:p>
        </p:txBody>
      </p:sp>
      <p:sp>
        <p:nvSpPr>
          <p:cNvPr id="11" name="Text Placeholder 10">
            <a:extLst>
              <a:ext uri="{FF2B5EF4-FFF2-40B4-BE49-F238E27FC236}">
                <a16:creationId xmlns:a16="http://schemas.microsoft.com/office/drawing/2014/main" id="{26E06D84-A81B-E0A9-6451-ABD75B637D06}"/>
              </a:ext>
            </a:extLst>
          </p:cNvPr>
          <p:cNvSpPr>
            <a:spLocks noGrp="1"/>
          </p:cNvSpPr>
          <p:nvPr>
            <p:ph type="body" sz="quarter" idx="18"/>
          </p:nvPr>
        </p:nvSpPr>
        <p:spPr>
          <a:xfrm>
            <a:off x="6291945" y="3399825"/>
            <a:ext cx="2384367" cy="1296000"/>
          </a:xfrm>
          <a:gradFill flip="none" rotWithShape="1">
            <a:gsLst>
              <a:gs pos="0">
                <a:schemeClr val="tx2"/>
              </a:gs>
              <a:gs pos="99000">
                <a:schemeClr val="bg1"/>
              </a:gs>
            </a:gsLst>
            <a:lin ang="13500000" scaled="1"/>
            <a:tileRect/>
          </a:gradFill>
        </p:spPr>
        <p:txBody>
          <a:bodyPr anchor="ctr"/>
          <a:lstStyle/>
          <a:p>
            <a:pPr algn="ctr"/>
            <a:r>
              <a:rPr lang="en-BE" sz="1600" b="1">
                <a:solidFill>
                  <a:schemeClr val="tx1"/>
                </a:solidFill>
                <a:latin typeface="Proximus Bold" pitchFamily="2" charset="77"/>
              </a:rPr>
              <a:t>Proximus </a:t>
            </a:r>
            <a:br>
              <a:rPr lang="en-BE" sz="1600" b="1">
                <a:solidFill>
                  <a:schemeClr val="tx1"/>
                </a:solidFill>
                <a:latin typeface="Proximus Bold" pitchFamily="2" charset="77"/>
              </a:rPr>
            </a:br>
            <a:r>
              <a:rPr lang="en-BE" sz="1600" b="1">
                <a:solidFill>
                  <a:schemeClr val="tx1"/>
                </a:solidFill>
                <a:latin typeface="Proximus Bold" pitchFamily="2" charset="77"/>
              </a:rPr>
              <a:t>Global </a:t>
            </a:r>
            <a:endParaRPr lang="en-BE" sz="1600">
              <a:solidFill>
                <a:schemeClr val="tx1"/>
              </a:solidFill>
              <a:latin typeface="Proximus Light" pitchFamily="2" charset="77"/>
            </a:endParaRPr>
          </a:p>
        </p:txBody>
      </p:sp>
      <p:sp>
        <p:nvSpPr>
          <p:cNvPr id="2" name="Text Placeholder 4">
            <a:extLst>
              <a:ext uri="{FF2B5EF4-FFF2-40B4-BE49-F238E27FC236}">
                <a16:creationId xmlns:a16="http://schemas.microsoft.com/office/drawing/2014/main" id="{6292D080-8A08-08EA-4E87-CEA85C16E3E4}"/>
              </a:ext>
            </a:extLst>
          </p:cNvPr>
          <p:cNvSpPr txBox="1">
            <a:spLocks/>
          </p:cNvSpPr>
          <p:nvPr/>
        </p:nvSpPr>
        <p:spPr>
          <a:xfrm rot="16200000">
            <a:off x="97186" y="2102658"/>
            <a:ext cx="1296001" cy="569622"/>
          </a:xfrm>
          <a:prstGeom prst="roundRect">
            <a:avLst>
              <a:gd name="adj" fmla="val 14699"/>
            </a:avLst>
          </a:prstGeom>
          <a:solidFill>
            <a:schemeClr val="bg1"/>
          </a:solidFill>
          <a:effectLst/>
        </p:spPr>
        <p:txBody>
          <a:bodyPr vert="horz" lIns="144000" tIns="144000" rIns="144000" bIns="14400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0"/>
              </a:spcBef>
            </a:pPr>
            <a:r>
              <a:rPr lang="en-US" sz="1200">
                <a:solidFill>
                  <a:schemeClr val="tx1"/>
                </a:solidFill>
                <a:latin typeface="Proximus Light" pitchFamily="2" charset="77"/>
              </a:rPr>
              <a:t>External</a:t>
            </a:r>
          </a:p>
        </p:txBody>
      </p:sp>
      <p:sp>
        <p:nvSpPr>
          <p:cNvPr id="4" name="Text Placeholder 4">
            <a:extLst>
              <a:ext uri="{FF2B5EF4-FFF2-40B4-BE49-F238E27FC236}">
                <a16:creationId xmlns:a16="http://schemas.microsoft.com/office/drawing/2014/main" id="{481FCFF4-9B76-7502-5B87-72B537CA3C12}"/>
              </a:ext>
            </a:extLst>
          </p:cNvPr>
          <p:cNvSpPr txBox="1">
            <a:spLocks/>
          </p:cNvSpPr>
          <p:nvPr/>
        </p:nvSpPr>
        <p:spPr>
          <a:xfrm rot="16200000">
            <a:off x="104498" y="3763014"/>
            <a:ext cx="1296001" cy="569622"/>
          </a:xfrm>
          <a:prstGeom prst="roundRect">
            <a:avLst>
              <a:gd name="adj" fmla="val 14699"/>
            </a:avLst>
          </a:prstGeom>
          <a:solidFill>
            <a:schemeClr val="bg1"/>
          </a:solidFill>
          <a:effectLst/>
        </p:spPr>
        <p:txBody>
          <a:bodyPr vert="horz" lIns="144000" tIns="144000" rIns="144000" bIns="144000" numCol="1" spcCol="0" rtlCol="0" anchor="ctr" anchorCtr="0">
            <a:noAutofit/>
          </a:bodyPr>
          <a:lstStyle>
            <a:lvl1pPr marL="0" indent="0" algn="l" defTabSz="914287" rtl="0" eaLnBrk="1" latinLnBrk="0" hangingPunct="1">
              <a:lnSpc>
                <a:spcPct val="100000"/>
              </a:lnSpc>
              <a:spcBef>
                <a:spcPts val="800"/>
              </a:spcBef>
              <a:spcAft>
                <a:spcPts val="200"/>
              </a:spcAft>
              <a:buClr>
                <a:schemeClr val="bg1"/>
              </a:buClr>
              <a:buSzPct val="100000"/>
              <a:buFont typeface="Arial" panose="020B0604020202020204" pitchFamily="34" charset="0"/>
              <a:buNone/>
              <a:tabLst/>
              <a:defRPr sz="1400" kern="1200">
                <a:solidFill>
                  <a:schemeClr val="bg1"/>
                </a:solidFill>
                <a:latin typeface="Proximus Light" panose="020B0604020202020204" charset="0"/>
                <a:ea typeface="+mn-ea"/>
                <a:cs typeface="+mn-cs"/>
              </a:defRPr>
            </a:lvl1pPr>
            <a:lvl2pPr marL="176400" indent="-176192" algn="l" defTabSz="914287" rtl="0" eaLnBrk="1" latinLnBrk="0" hangingPunct="1">
              <a:spcBef>
                <a:spcPts val="200"/>
              </a:spcBef>
              <a:spcAft>
                <a:spcPts val="0"/>
              </a:spcAft>
              <a:buClr>
                <a:schemeClr val="bg1"/>
              </a:buClr>
              <a:buSzPct val="100000"/>
              <a:buFont typeface="Arial" panose="020B0604020202020204" pitchFamily="34" charset="0"/>
              <a:buChar char="•"/>
              <a:tabLst/>
              <a:defRPr sz="1100" kern="1200">
                <a:solidFill>
                  <a:srgbClr val="000000"/>
                </a:solidFill>
                <a:latin typeface="Proximus Bold" panose="00000500000000000000" pitchFamily="2" charset="0"/>
                <a:ea typeface="+mn-ea"/>
                <a:cs typeface="+mn-cs"/>
              </a:defRPr>
            </a:lvl2pPr>
            <a:lvl3pPr marL="360000" indent="-177779"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mn-lt"/>
                <a:ea typeface="+mn-ea"/>
                <a:cs typeface="+mn-cs"/>
              </a:defRPr>
            </a:lvl3pPr>
            <a:lvl4pPr marL="536400" indent="-176400" algn="l" defTabSz="914287" rtl="0" eaLnBrk="1" latinLnBrk="0" hangingPunct="1">
              <a:spcBef>
                <a:spcPts val="200"/>
              </a:spcBef>
              <a:spcAft>
                <a:spcPts val="0"/>
              </a:spcAft>
              <a:buClr>
                <a:schemeClr val="bg1"/>
              </a:buClr>
              <a:buSzPct val="100000"/>
              <a:buFont typeface="Arial" panose="020B0604020202020204" pitchFamily="34" charset="0"/>
              <a:buChar char="•"/>
              <a:tabLst/>
              <a:defRPr sz="1050" kern="1200">
                <a:solidFill>
                  <a:srgbClr val="000000"/>
                </a:solidFill>
                <a:latin typeface="Proximus Light" panose="00000400000000000000" pitchFamily="50" charset="0"/>
                <a:ea typeface="+mn-ea"/>
                <a:cs typeface="+mn-cs"/>
              </a:defRPr>
            </a:lvl4pPr>
            <a:lvl5pPr marL="0" indent="0" algn="l" defTabSz="914287" rtl="0" eaLnBrk="1" latinLnBrk="0" hangingPunct="1">
              <a:spcBef>
                <a:spcPts val="200"/>
              </a:spcBef>
              <a:spcAft>
                <a:spcPts val="0"/>
              </a:spcAft>
              <a:buClr>
                <a:schemeClr val="bg1"/>
              </a:buClr>
              <a:buSzPct val="100000"/>
              <a:buFont typeface="Arial" panose="020B0604020202020204" pitchFamily="34" charset="0"/>
              <a:buNone/>
              <a:tabLst/>
              <a:defRPr sz="1100" kern="1200">
                <a:solidFill>
                  <a:srgbClr val="000000"/>
                </a:solidFill>
                <a:latin typeface="+mn-lt"/>
                <a:ea typeface="+mn-ea"/>
                <a:cs typeface="+mn-cs"/>
              </a:defRPr>
            </a:lvl5pPr>
            <a:lvl6pPr marL="2514286"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29"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2"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2" algn="l" defTabSz="91428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0"/>
              </a:spcBef>
            </a:pPr>
            <a:r>
              <a:rPr lang="en-US" sz="1200">
                <a:solidFill>
                  <a:schemeClr val="tx1"/>
                </a:solidFill>
                <a:latin typeface="Proximus Light" pitchFamily="2" charset="77"/>
              </a:rPr>
              <a:t>Internal</a:t>
            </a:r>
          </a:p>
        </p:txBody>
      </p:sp>
    </p:spTree>
    <p:extLst>
      <p:ext uri="{BB962C8B-B14F-4D97-AF65-F5344CB8AC3E}">
        <p14:creationId xmlns:p14="http://schemas.microsoft.com/office/powerpoint/2010/main" val="2813603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APP_VERSION" val="1.5.0.0"/>
  <p:tag name="SLIDO_PRESENTATION_ID" val="8682f5ff-cd4f-44cf-a77f-3a1c0a5df86f"/>
  <p:tag name="SLIDO_EVENT_UUID" val="0e8f71c1-b467-4a51-87cb-8f0a8b75a176"/>
  <p:tag name="SLIDO_EVENT_SECTION_UUID" val="86d49e74-7811-4c92-b37f-928b1097c94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sPpfvS5Nb.HlgZmEaTX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iMn2V8BSjfKsY0G91fG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iMn2V8BSjfKsY0G91fGCg"/>
</p:tagLst>
</file>

<file path=ppt/theme/theme1.xml><?xml version="1.0" encoding="utf-8"?>
<a:theme xmlns:a="http://schemas.openxmlformats.org/drawingml/2006/main" name="PROXIMUS PPT TEMPLATE 2024">
  <a:themeElements>
    <a:clrScheme name="Custom 9">
      <a:dk1>
        <a:srgbClr val="5C2D91"/>
      </a:dk1>
      <a:lt1>
        <a:srgbClr val="FFFFFF"/>
      </a:lt1>
      <a:dk2>
        <a:srgbClr val="00BCEE"/>
      </a:dk2>
      <a:lt2>
        <a:srgbClr val="EE2E5D"/>
      </a:lt2>
      <a:accent1>
        <a:srgbClr val="FF418C"/>
      </a:accent1>
      <a:accent2>
        <a:srgbClr val="F39200"/>
      </a:accent2>
      <a:accent3>
        <a:srgbClr val="FFCA00"/>
      </a:accent3>
      <a:accent4>
        <a:srgbClr val="81C747"/>
      </a:accent4>
      <a:accent5>
        <a:srgbClr val="66D2CC"/>
      </a:accent5>
      <a:accent6>
        <a:srgbClr val="000000"/>
      </a:accent6>
      <a:hlink>
        <a:srgbClr val="0073CF"/>
      </a:hlink>
      <a:folHlink>
        <a:srgbClr val="C1C1C3"/>
      </a:folHlink>
    </a:clrScheme>
    <a:fontScheme name="Custom 15">
      <a:majorFont>
        <a:latin typeface="Proximus Bold"/>
        <a:ea typeface=""/>
        <a:cs typeface=""/>
      </a:majorFont>
      <a:minorFont>
        <a:latin typeface="Proximu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vert="horz" lIns="36000" tIns="36000" rIns="36000" bIns="72000" rtlCol="0" anchor="ctr" anchorCtr="0"/>
      <a:lstStyle>
        <a:defPPr algn="ctr" defTabSz="1218418">
          <a:defRPr sz="1400" dirty="0" err="1" smtClean="0">
            <a:solidFill>
              <a:schemeClr val="tx1"/>
            </a:solidFill>
            <a:latin typeface="Proximus Bold" panose="00000500000000000000" pitchFamily="2" charset="0"/>
            <a:cs typeface="Proximus Bold"/>
          </a:defRPr>
        </a:defPPr>
      </a:lstStyle>
      <a:style>
        <a:lnRef idx="1">
          <a:schemeClr val="accent1"/>
        </a:lnRef>
        <a:fillRef idx="3">
          <a:schemeClr val="accent1"/>
        </a:fillRef>
        <a:effectRef idx="2">
          <a:schemeClr val="accent1"/>
        </a:effectRef>
        <a:fontRef idx="minor">
          <a:schemeClr val="lt1"/>
        </a:fontRef>
      </a:style>
    </a:spDef>
    <a:lnDef>
      <a:spPr>
        <a:ln w="25400" cap="rnd">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noAutofit/>
      </a:bodyPr>
      <a:lstStyle>
        <a:defPPr algn="l" defTabSz="685800">
          <a:defRPr sz="1400" dirty="0">
            <a:solidFill>
              <a:srgbClr val="01112B"/>
            </a:solidFill>
            <a:latin typeface="Proximus Light" pitchFamily="2" charset="77"/>
          </a:defRPr>
        </a:defPPr>
      </a:lstStyle>
    </a:txDef>
  </a:objectDefaults>
  <a:extraClrSchemeLst/>
  <a:extLst>
    <a:ext uri="{05A4C25C-085E-4340-85A3-A5531E510DB2}">
      <thm15:themeFamily xmlns:thm15="http://schemas.microsoft.com/office/thememl/2012/main" name="proximus_powerpoint_template_july_2024_EXTENDED.potx" id="{28339276-52B6-457B-BEC6-DFC6C5390E5E}" vid="{46353CD0-7065-499B-9D18-05C44B559E4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2c3df29-7361-4daf-adf3-5ce298dcb979">
      <UserInfo>
        <DisplayName>DE KEYZER Baudouin (FIN/GRA)</DisplayName>
        <AccountId>214</AccountId>
        <AccountType/>
      </UserInfo>
      <UserInfo>
        <DisplayName>DE BAERDEMAEKER Tom (PSI/DSM)</DisplayName>
        <AccountId>277</AccountId>
        <AccountType/>
      </UserInfo>
      <UserInfo>
        <DisplayName>SA Cesar (DPE/DIT)</DisplayName>
        <AccountId>1650</AccountId>
        <AccountType/>
      </UserInfo>
      <UserInfo>
        <DisplayName>POTVIN Christophe (DAT/BIA)</DisplayName>
        <AccountId>16</AccountId>
        <AccountType/>
      </UserInfo>
      <UserInfo>
        <DisplayName>DEMOOR Thierry (CSC/MST)</DisplayName>
        <AccountId>2049</AccountId>
        <AccountType/>
      </UserInfo>
      <UserInfo>
        <DisplayName>GILLEMAN Kristof (DCH/SEP)</DisplayName>
        <AccountId>23</AccountId>
        <AccountType/>
      </UserInfo>
      <UserInfo>
        <DisplayName>LEBLANC Sébastien (CBU/MST)</DisplayName>
        <AccountId>570</AccountId>
        <AccountType/>
      </UserInfo>
      <UserInfo>
        <DisplayName>PINNOY Joost (DCH/DIT)</DisplayName>
        <AccountId>1610</AccountId>
        <AccountType/>
      </UserInfo>
      <UserInfo>
        <DisplayName>ZINQUE Véronique (DCH/DST)</DisplayName>
        <AccountId>19</AccountId>
        <AccountType/>
      </UserInfo>
      <UserInfo>
        <DisplayName>KELCHTERMANS Geert (EBU/MST)</DisplayName>
        <AccountId>24</AccountId>
        <AccountType/>
      </UserInfo>
      <UserInfo>
        <DisplayName>VAN LIEFDE Katrien (CMA/GMA)</DisplayName>
        <AccountId>8</AccountId>
        <AccountType/>
      </UserInfo>
      <UserInfo>
        <DisplayName>VAN DAMME Jan (DAT/BIA)</DisplayName>
        <AccountId>18</AccountId>
        <AccountType/>
      </UserInfo>
      <UserInfo>
        <DisplayName>VERWAERDE Quentin (DAT/BIA)</DisplayName>
        <AccountId>15</AccountId>
        <AccountType/>
      </UserInfo>
      <UserInfo>
        <DisplayName>VAN DER AA Britt (DAT/BIA)</DisplayName>
        <AccountId>79</AccountId>
        <AccountType/>
      </UserInfo>
      <UserInfo>
        <DisplayName>GLIBERT Samantha (DAT/BIA)</DisplayName>
        <AccountId>784</AccountId>
        <AccountType/>
      </UserInfo>
      <UserInfo>
        <DisplayName>WAGEMANS Phoebe (DAT/BIA)</DisplayName>
        <AccountId>830</AccountId>
        <AccountType/>
      </UserInfo>
      <UserInfo>
        <DisplayName>RASQUAIN Célestine (DAT/BIA)</DisplayName>
        <AccountId>1489</AccountId>
        <AccountType/>
      </UserInfo>
      <UserInfo>
        <DisplayName>BENDER Thibaut (DAG/DAN)</DisplayName>
        <AccountId>2074</AccountId>
        <AccountType/>
      </UserInfo>
      <UserInfo>
        <DisplayName>CAMPS Kristof (PIX/MST)</DisplayName>
        <AccountId>2798</AccountId>
        <AccountType/>
      </UserInfo>
      <UserInfo>
        <DisplayName>DA EIRA BOOGAARD Sylvain (PIX/MST)</DisplayName>
        <AccountId>2796</AccountId>
        <AccountType/>
      </UserInfo>
      <UserInfo>
        <DisplayName>BREUCKELAERS Jolien (IDG/CCO)</DisplayName>
        <AccountId>1845</AccountId>
        <AccountType/>
      </UserInfo>
      <UserInfo>
        <DisplayName>ROBERT Mélody (CBU/MST)</DisplayName>
        <AccountId>169</AccountId>
        <AccountType/>
      </UserInfo>
      <UserInfo>
        <DisplayName>STEVENS Arno (DTI/MST)</DisplayName>
        <AccountId>2854</AccountId>
        <AccountType/>
      </UserInfo>
      <UserInfo>
        <DisplayName>SWINNE Annick (IDG/CCO)</DisplayName>
        <AccountId>3326</AccountId>
        <AccountType/>
      </UserInfo>
      <UserInfo>
        <DisplayName>AUDOUX Jean-Marc (CUO/MST)</DisplayName>
        <AccountId>3462</AccountId>
        <AccountType/>
      </UserInfo>
      <UserInfo>
        <DisplayName>VAN DE WALLE Grégory (DAT/BIA)</DisplayName>
        <AccountId>68</AccountId>
        <AccountType/>
      </UserInfo>
    </SharedWithUsers>
    <TaxCatchAll xmlns="d2c3df29-7361-4daf-adf3-5ce298dcb979" xsi:nil="true"/>
    <lcf76f155ced4ddcb4097134ff3c332f xmlns="600a7a98-4f0a-4b33-9836-31997d223ee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52E85D166E93349AA8CA22A34DA95CB" ma:contentTypeVersion="18" ma:contentTypeDescription="Create a new document." ma:contentTypeScope="" ma:versionID="984f9af3b26da998800927264b066151">
  <xsd:schema xmlns:xsd="http://www.w3.org/2001/XMLSchema" xmlns:xs="http://www.w3.org/2001/XMLSchema" xmlns:p="http://schemas.microsoft.com/office/2006/metadata/properties" xmlns:ns2="600a7a98-4f0a-4b33-9836-31997d223ee1" xmlns:ns3="d2c3df29-7361-4daf-adf3-5ce298dcb979" targetNamespace="http://schemas.microsoft.com/office/2006/metadata/properties" ma:root="true" ma:fieldsID="abdca328df229342ff5dbab9785efdbb" ns2:_="" ns3:_="">
    <xsd:import namespace="600a7a98-4f0a-4b33-9836-31997d223ee1"/>
    <xsd:import namespace="d2c3df29-7361-4daf-adf3-5ce298dcb9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AutoKeyPoints" minOccurs="0"/>
                <xsd:element ref="ns2:MediaServiceKeyPoint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a7a98-4f0a-4b33-9836-31997d223e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d87ef712-6762-4fe1-8dee-011cac3c7593" ma:termSetId="09814cd3-568e-fe90-9814-8d621ff8fb84" ma:anchorId="fba54fb3-c3e1-fe81-a776-ca4b69148c4d" ma:open="true" ma:isKeyword="false">
      <xsd:complexType>
        <xsd:sequence>
          <xsd:element ref="pc:Terms" minOccurs="0" maxOccurs="1"/>
        </xsd:sequence>
      </xsd:complex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2c3df29-7361-4daf-adf3-5ce298dcb97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dd66c63-bbdd-4705-a26e-fbb9a01140a0}" ma:internalName="TaxCatchAll" ma:showField="CatchAllData" ma:web="d2c3df29-7361-4daf-adf3-5ce298dcb9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E81F5A-9F98-4B82-86BE-63B5DA137825}">
  <ds:schemaRefs>
    <ds:schemaRef ds:uri="http://schemas.microsoft.com/sharepoint/v3/contenttype/forms"/>
  </ds:schemaRefs>
</ds:datastoreItem>
</file>

<file path=customXml/itemProps2.xml><?xml version="1.0" encoding="utf-8"?>
<ds:datastoreItem xmlns:ds="http://schemas.openxmlformats.org/officeDocument/2006/customXml" ds:itemID="{DE46E095-903F-4B72-802E-E66A02A82A79}">
  <ds:schemaRefs>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761ce2df-bb61-45c2-b644-7e72b6fdb77b"/>
    <ds:schemaRef ds:uri="d5f69bac-297e-43e5-a603-2faf182aa439"/>
    <ds:schemaRef ds:uri="http://schemas.microsoft.com/office/infopath/2007/PartnerControls"/>
    <ds:schemaRef ds:uri="e2a18d34-138a-4fc2-9772-3e6214759376"/>
    <ds:schemaRef ds:uri="http://schemas.microsoft.com/office/2006/metadata/properties"/>
    <ds:schemaRef ds:uri="http://www.w3.org/XML/1998/namespace"/>
    <ds:schemaRef ds:uri="d2c3df29-7361-4daf-adf3-5ce298dcb979"/>
    <ds:schemaRef ds:uri="600a7a98-4f0a-4b33-9836-31997d223ee1"/>
  </ds:schemaRefs>
</ds:datastoreItem>
</file>

<file path=customXml/itemProps3.xml><?xml version="1.0" encoding="utf-8"?>
<ds:datastoreItem xmlns:ds="http://schemas.openxmlformats.org/officeDocument/2006/customXml" ds:itemID="{9A218B13-9B6B-4CAF-A6B0-C540B372AC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0a7a98-4f0a-4b33-9836-31997d223ee1"/>
    <ds:schemaRef ds:uri="d2c3df29-7361-4daf-adf3-5ce298dcb9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OXIMUS PPT TEMPLATE 2024</Template>
  <TotalTime>220</TotalTime>
  <Words>9456</Words>
  <Application>Microsoft Macintosh PowerPoint</Application>
  <PresentationFormat>On-screen Show (16:9)</PresentationFormat>
  <Paragraphs>914</Paragraphs>
  <Slides>65</Slides>
  <Notes>65</Notes>
  <HiddenSlides>0</HiddenSlides>
  <MMClips>0</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65</vt:i4>
      </vt:variant>
    </vt:vector>
  </HeadingPairs>
  <TitlesOfParts>
    <vt:vector size="81" baseType="lpstr">
      <vt:lpstr>Symbol</vt:lpstr>
      <vt:lpstr>Proximus Light</vt:lpstr>
      <vt:lpstr>Calibri</vt:lpstr>
      <vt:lpstr>Wingdings</vt:lpstr>
      <vt:lpstr>Aptos</vt:lpstr>
      <vt:lpstr>Proximus (Body)</vt:lpstr>
      <vt:lpstr>Times New Roman</vt:lpstr>
      <vt:lpstr>Proximus</vt:lpstr>
      <vt:lpstr>Courier New</vt:lpstr>
      <vt:lpstr>Arial</vt:lpstr>
      <vt:lpstr>Arial Black</vt:lpstr>
      <vt:lpstr>Montserrat</vt:lpstr>
      <vt:lpstr>Segoe UI</vt:lpstr>
      <vt:lpstr>Proximus Bold</vt:lpstr>
      <vt:lpstr>Proximus ExtraBold</vt:lpstr>
      <vt:lpstr>PROXIMUS PPT TEMPLATE 2024</vt:lpstr>
      <vt:lpstr>All NBU  Strategy  Cascade </vt:lpstr>
      <vt:lpstr>PowerPoint Presentation</vt:lpstr>
      <vt:lpstr>On  today’s  menu</vt:lpstr>
      <vt:lpstr>Scan Slido QR code for quiz &amp; Q&amp;A</vt:lpstr>
      <vt:lpstr>PowerPoint Presentation</vt:lpstr>
      <vt:lpstr>Thank you for your feedback! </vt:lpstr>
      <vt:lpstr>PowerPoint Presentation</vt:lpstr>
      <vt:lpstr>PowerPoint Presentation</vt:lpstr>
      <vt:lpstr>Challenging context</vt:lpstr>
      <vt:lpstr>PowerPoint Presentation</vt:lpstr>
      <vt:lpstr>PowerPoint Presentation</vt:lpstr>
      <vt:lpstr>PowerPoint Presentation</vt:lpstr>
      <vt:lpstr>PowerPoint Presentation</vt:lpstr>
      <vt:lpstr>Bold experiences</vt:lpstr>
      <vt:lpstr>Gigabit for all</vt:lpstr>
      <vt:lpstr>Gigabit for all</vt:lpstr>
      <vt:lpstr>What does HFC mean?</vt:lpstr>
      <vt:lpstr>Gigabit for all in 2025</vt:lpstr>
      <vt:lpstr>Mobile leadership</vt:lpstr>
      <vt:lpstr>Mobile leadership</vt:lpstr>
      <vt:lpstr>Mobile leadership in 2025</vt:lpstr>
      <vt:lpstr>PowerPoint Presentation</vt:lpstr>
      <vt:lpstr>Multi-access experience</vt:lpstr>
      <vt:lpstr>Multi-access experience in 2025</vt:lpstr>
      <vt:lpstr>PowerPoint Presentation</vt:lpstr>
      <vt:lpstr>Bold efficiency</vt:lpstr>
      <vt:lpstr>Building the path to autonomous networks</vt:lpstr>
      <vt:lpstr>Elevating efficiency through automation &amp; AI in 2025</vt:lpstr>
      <vt:lpstr>What does NASA stand for?</vt:lpstr>
      <vt:lpstr>PowerPoint Presentation</vt:lpstr>
      <vt:lpstr>Copper switch-off</vt:lpstr>
      <vt:lpstr>PowerPoint Presentation</vt:lpstr>
      <vt:lpstr>Building outphasing</vt:lpstr>
      <vt:lpstr>Building outphasing</vt:lpstr>
      <vt:lpstr>Building outphasing in 2025</vt:lpstr>
      <vt:lpstr>Evolve our NBU operating model</vt:lpstr>
      <vt:lpstr>What is GO fit light?</vt:lpstr>
      <vt:lpstr>Reviewed operational model in 2025</vt:lpstr>
      <vt:lpstr>PowerPoint Presentation</vt:lpstr>
      <vt:lpstr>PowerPoint Presentation</vt:lpstr>
      <vt:lpstr>PowerPoint Presentation</vt:lpstr>
      <vt:lpstr>PowerPoint Presentation</vt:lpstr>
      <vt:lpstr>Bold future-proofness</vt:lpstr>
      <vt:lpstr>Network foundations</vt:lpstr>
      <vt:lpstr>What does OSS stand for?</vt:lpstr>
      <vt:lpstr>Network foundations in 2025</vt:lpstr>
      <vt:lpstr>Platforms</vt:lpstr>
      <vt:lpstr>What does CNF stand for?</vt:lpstr>
      <vt:lpstr>Platforms in 2025</vt:lpstr>
      <vt:lpstr>Monetizing telco assets</vt:lpstr>
      <vt:lpstr>Monetizing telco assets in 2025</vt:lpstr>
      <vt:lpstr>PowerPoint Presentation</vt:lpstr>
      <vt:lpstr>Sustainability (focus on energy)</vt:lpstr>
      <vt:lpstr>Sustainability in 2025</vt:lpstr>
      <vt:lpstr>PowerPoint Presentation</vt:lpstr>
      <vt:lpstr>PowerPoint Presentation</vt:lpstr>
      <vt:lpstr>Bold people in 2025</vt:lpstr>
      <vt:lpstr>PowerPoint Presentation</vt:lpstr>
      <vt:lpstr>PowerPoint Presentation</vt:lpstr>
      <vt:lpstr> What we expect from you</vt:lpstr>
      <vt:lpstr> What you can expect from us</vt:lpstr>
      <vt:lpstr>PowerPoint Presentation</vt:lpstr>
      <vt:lpstr>PowerPoint Presentation</vt:lpstr>
      <vt:lpstr>PowerPoint Presentation</vt:lpstr>
      <vt:lpstr>All NBU  Strategy  Cascad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PITTE Sarah (BCM/BCS)</dc:creator>
  <cp:lastModifiedBy>Erik Hubin</cp:lastModifiedBy>
  <cp:revision>2</cp:revision>
  <cp:lastPrinted>2025-01-28T14:03:57Z</cp:lastPrinted>
  <dcterms:created xsi:type="dcterms:W3CDTF">2024-11-13T10:05:10Z</dcterms:created>
  <dcterms:modified xsi:type="dcterms:W3CDTF">2025-02-03T15:5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_personaldata">
    <vt:lpwstr/>
  </property>
  <property fmtid="{D5CDD505-2E9C-101B-9397-08002B2CF9AE}" pid="3" name="c_confidentiality">
    <vt:lpwstr/>
  </property>
  <property fmtid="{D5CDD505-2E9C-101B-9397-08002B2CF9AE}" pid="4" name="c_language">
    <vt:lpwstr/>
  </property>
  <property fmtid="{D5CDD505-2E9C-101B-9397-08002B2CF9AE}" pid="5" name="MSIP_Label_a6eba274-df3c-4a6b-9802-8e3b88401ee3_Enabled">
    <vt:lpwstr>true</vt:lpwstr>
  </property>
  <property fmtid="{D5CDD505-2E9C-101B-9397-08002B2CF9AE}" pid="6" name="MSIP_Label_a6eba274-df3c-4a6b-9802-8e3b88401ee3_SetDate">
    <vt:lpwstr>2023-05-09T08:25:51Z</vt:lpwstr>
  </property>
  <property fmtid="{D5CDD505-2E9C-101B-9397-08002B2CF9AE}" pid="7" name="MSIP_Label_a6eba274-df3c-4a6b-9802-8e3b88401ee3_Method">
    <vt:lpwstr>Privileged</vt:lpwstr>
  </property>
  <property fmtid="{D5CDD505-2E9C-101B-9397-08002B2CF9AE}" pid="8" name="MSIP_Label_a6eba274-df3c-4a6b-9802-8e3b88401ee3_Name">
    <vt:lpwstr>a6eba274-df3c-4a6b-9802-8e3b88401ee3</vt:lpwstr>
  </property>
  <property fmtid="{D5CDD505-2E9C-101B-9397-08002B2CF9AE}" pid="9" name="MSIP_Label_a6eba274-df3c-4a6b-9802-8e3b88401ee3_SiteId">
    <vt:lpwstr>e7ab81b2-1e84-4bf7-9dcb-b6fec01ed138</vt:lpwstr>
  </property>
  <property fmtid="{D5CDD505-2E9C-101B-9397-08002B2CF9AE}" pid="10" name="MSIP_Label_a6eba274-df3c-4a6b-9802-8e3b88401ee3_ActionId">
    <vt:lpwstr>69bc3b74-3a88-4bc8-8a74-5f020ac228f4</vt:lpwstr>
  </property>
  <property fmtid="{D5CDD505-2E9C-101B-9397-08002B2CF9AE}" pid="11" name="MSIP_Label_a6eba274-df3c-4a6b-9802-8e3b88401ee3_ContentBits">
    <vt:lpwstr>2</vt:lpwstr>
  </property>
  <property fmtid="{D5CDD505-2E9C-101B-9397-08002B2CF9AE}" pid="12" name="MediaServiceImageTags">
    <vt:lpwstr/>
  </property>
  <property fmtid="{D5CDD505-2E9C-101B-9397-08002B2CF9AE}" pid="13" name="ContentTypeId">
    <vt:lpwstr>0x010100852E85D166E93349AA8CA22A34DA95CB</vt:lpwstr>
  </property>
</Properties>
</file>